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slides/slide26.xml" ContentType="application/vnd.openxmlformats-officedocument.presentationml.slide+xml"/>
  <Override PartName="/ppt/presentation.xml" ContentType="application/vnd.openxmlformats-officedocument.presentationml.presentation.main+xml"/>
  <Override PartName="/ppt/slides/slide4.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2.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3.xml" ContentType="application/vnd.openxmlformats-officedocument.presentationml.slide+xml"/>
  <Override PartName="/ppt/slides/slide19.xml" ContentType="application/vnd.openxmlformats-officedocument.presentationml.slide+xml"/>
  <Override PartName="/ppt/slides/slide21.xml" ContentType="application/vnd.openxmlformats-officedocument.presentationml.slide+xml"/>
  <Override PartName="/ppt/slides/slide25.xml" ContentType="application/vnd.openxmlformats-officedocument.presentationml.slide+xml"/>
  <Override PartName="/ppt/slides/slide20.xml" ContentType="application/vnd.openxmlformats-officedocument.presentationml.slide+xml"/>
  <Override PartName="/ppt/slides/slide24.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xml" ContentType="application/vnd.openxmlformats-officedocument.presentationml.notesSlide+xml"/>
  <Override PartName="/ppt/notesSlides/notesSlide5.xml" ContentType="application/vnd.openxmlformats-officedocument.presentationml.notesSlide+xml"/>
  <Override PartName="/ppt/notesSlides/notesSlide12.xml" ContentType="application/vnd.openxmlformats-officedocument.presentationml.notesSlide+xml"/>
  <Override PartName="/ppt/slideMasters/slideMaster1.xml" ContentType="application/vnd.openxmlformats-officedocument.presentationml.slideMaster+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Layouts/slideLayout46.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18.xml" ContentType="application/vnd.openxmlformats-officedocument.presentationml.slideLayout+xml"/>
  <Override PartName="/ppt/slideLayouts/slideLayout43.xml" ContentType="application/vnd.openxmlformats-officedocument.presentationml.slideLayout+xml"/>
  <Override PartName="/ppt/slideLayouts/slideLayout36.xml" ContentType="application/vnd.openxmlformats-officedocument.presentationml.slideLayout+xml"/>
  <Override PartName="/ppt/slideLayouts/slideLayout42.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37.xml" ContentType="application/vnd.openxmlformats-officedocument.presentationml.slideLayout+xml"/>
  <Override PartName="/ppt/slideLayouts/slideLayout41.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29.xml" ContentType="application/vnd.openxmlformats-officedocument.presentationml.slideLayout+xml"/>
  <Override PartName="/ppt/slideLayouts/slideLayout35.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Override2.xml" ContentType="application/vnd.openxmlformats-officedocument.themeOverride+xml"/>
  <Override PartName="/ppt/charts/colors2.xml" ContentType="application/vnd.ms-office.chartcolorstyle+xml"/>
  <Override PartName="/ppt/charts/style2.xml" ContentType="application/vnd.ms-office.chartstyle+xml"/>
  <Override PartName="/ppt/charts/chart2.xml" ContentType="application/vnd.openxmlformats-officedocument.drawingml.chart+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olors1.xml" ContentType="application/vnd.ms-office.chartcolorstyle+xml"/>
  <Override PartName="/ppt/theme/themeOverride1.xml" ContentType="application/vnd.openxmlformats-officedocument.themeOverride+xml"/>
  <Override PartName="/ppt/charts/style1.xml" ContentType="application/vnd.ms-office.chartstyle+xml"/>
  <Override PartName="/ppt/charts/chart1.xml" ContentType="application/vnd.openxmlformats-officedocument.drawingml.chart+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1.xml" ContentType="application/vnd.openxmlformats-officedocument.presentationml.tags+xml"/>
  <Override PartName="/ppt/tags/tag2.xml" ContentType="application/vnd.openxmlformats-officedocument.presentationml.tags+xml"/>
  <Override PartName="/ppt/tags/tag4.xml" ContentType="application/vnd.openxmlformats-officedocument.presentationml.tags+xml"/>
  <Override PartName="/docProps/app.xml" ContentType="application/vnd.openxmlformats-officedocument.extended-properties+xml"/>
  <Override PartName="/ppt/tags/tag6.xml" ContentType="application/vnd.openxmlformats-officedocument.presentationml.tags+xml"/>
  <Override PartName="/docProps/core.xml" ContentType="application/vnd.openxmlformats-package.core-properties+xml"/>
  <Override PartName="/ppt/tags/tag3.xml" ContentType="application/vnd.openxmlformats-officedocument.presentationml.tags+xml"/>
  <Override PartName="/ppt/tags/tag5.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1"/>
    <p:sldMasterId id="2147483825" r:id="rId2"/>
    <p:sldMasterId id="2147483835" r:id="rId3"/>
    <p:sldMasterId id="2147483849" r:id="rId4"/>
  </p:sldMasterIdLst>
  <p:notesMasterIdLst>
    <p:notesMasterId r:id="rId31"/>
  </p:notesMasterIdLst>
  <p:handoutMasterIdLst>
    <p:handoutMasterId r:id="rId32"/>
  </p:handoutMasterIdLst>
  <p:sldIdLst>
    <p:sldId id="432" r:id="rId5"/>
    <p:sldId id="2147309597" r:id="rId6"/>
    <p:sldId id="2147309687" r:id="rId7"/>
    <p:sldId id="2147309746" r:id="rId8"/>
    <p:sldId id="2147309681" r:id="rId9"/>
    <p:sldId id="2147309770" r:id="rId10"/>
    <p:sldId id="2147309677" r:id="rId11"/>
    <p:sldId id="2147309747" r:id="rId12"/>
    <p:sldId id="2147309766" r:id="rId13"/>
    <p:sldId id="2147309765" r:id="rId14"/>
    <p:sldId id="2147309740" r:id="rId15"/>
    <p:sldId id="2147309751" r:id="rId16"/>
    <p:sldId id="2147309734" r:id="rId17"/>
    <p:sldId id="2147309759" r:id="rId18"/>
    <p:sldId id="2147309775" r:id="rId19"/>
    <p:sldId id="2147309696" r:id="rId20"/>
    <p:sldId id="2147309762" r:id="rId21"/>
    <p:sldId id="2147309774" r:id="rId22"/>
    <p:sldId id="2147309773" r:id="rId23"/>
    <p:sldId id="2147309771" r:id="rId24"/>
    <p:sldId id="2147309738" r:id="rId25"/>
    <p:sldId id="2147309756" r:id="rId26"/>
    <p:sldId id="2147309737" r:id="rId27"/>
    <p:sldId id="2147309758" r:id="rId28"/>
    <p:sldId id="2147309757" r:id="rId29"/>
    <p:sldId id="2147309772" r:id="rId30"/>
  </p:sldIdLst>
  <p:sldSz cx="12192000" cy="6858000"/>
  <p:notesSz cx="6819900" cy="9918700"/>
  <p:custDataLst>
    <p:tags r:id="rId33"/>
  </p:custDataLst>
  <p:defaultTex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09" userDrawn="1">
          <p15:clr>
            <a:srgbClr val="A4A3A4"/>
          </p15:clr>
        </p15:guide>
        <p15:guide id="2" pos="80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7BB3E4"/>
    <a:srgbClr val="FFFFFF"/>
    <a:srgbClr val="C8AF87"/>
    <a:srgbClr val="93DBDA"/>
    <a:srgbClr val="B79ADD"/>
    <a:srgbClr val="908A8A"/>
    <a:srgbClr val="F3A889"/>
    <a:srgbClr val="666666"/>
    <a:srgbClr val="FED36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6" autoAdjust="0"/>
    <p:restoredTop sz="94627" autoAdjust="0"/>
  </p:normalViewPr>
  <p:slideViewPr>
    <p:cSldViewPr snapToGrid="0" showGuides="1">
      <p:cViewPr varScale="1">
        <p:scale>
          <a:sx n="66" d="100"/>
          <a:sy n="66" d="100"/>
        </p:scale>
        <p:origin x="57" y="528"/>
      </p:cViewPr>
      <p:guideLst>
        <p:guide orient="horz" pos="709"/>
        <p:guide pos="801"/>
      </p:guideLst>
    </p:cSldViewPr>
  </p:slid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67" d="100"/>
          <a:sy n="67" d="100"/>
        </p:scale>
        <p:origin x="2550" y="27"/>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ustomXml" Target="../customXml/item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customXml" Target="../customXml/item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F80432\Documents\PMT\Copie%20de%20CAPEX%202040%20-%20V5%20(23%2003%2022).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embeddings/oleObject4.bin"/></Relationships>
</file>

<file path=ppt/charts/_rels/chart3.xml.rels><?xml version="1.0" encoding="UTF-8" standalone="yes"?>
<Relationships xmlns="http://schemas.openxmlformats.org/package/2006/relationships"><Relationship Id="rId3" Type="http://schemas.openxmlformats.org/officeDocument/2006/relationships/oleObject" Target="file:///C:\Users\J79075\AppData\Local\Microsoft\Windows\INetCache\Content.Outlook\BDBWLQ99\PMT23-27_PME_V1.5%20(002).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400" b="1" i="0" u="none" strike="noStrike" kern="1200" spc="0" baseline="0">
                <a:solidFill>
                  <a:schemeClr val="accent2"/>
                </a:solidFill>
                <a:latin typeface="+mn-lt"/>
                <a:ea typeface="+mn-ea"/>
                <a:cs typeface="+mn-cs"/>
              </a:defRPr>
            </a:pPr>
            <a:r>
              <a:rPr lang="fr-FR" sz="2400" b="1" i="0" baseline="0" dirty="0" smtClean="0">
                <a:effectLst/>
              </a:rPr>
              <a:t>Evolution du parc de véhicules électriques en France</a:t>
            </a:r>
            <a:endParaRPr lang="fr-FR" sz="2400" dirty="0">
              <a:effectLst/>
            </a:endParaRPr>
          </a:p>
        </c:rich>
      </c:tx>
      <c:layout>
        <c:manualLayout>
          <c:xMode val="edge"/>
          <c:yMode val="edge"/>
          <c:x val="0.18272556178250651"/>
          <c:y val="6.0760669483397069E-3"/>
        </c:manualLayout>
      </c:layout>
      <c:overlay val="0"/>
      <c:spPr>
        <a:solidFill>
          <a:schemeClr val="bg1"/>
        </a:solidFill>
        <a:ln>
          <a:noFill/>
        </a:ln>
        <a:effectLst>
          <a:outerShdw blurRad="50800" dist="50800" dir="5400000" algn="ctr" rotWithShape="0">
            <a:schemeClr val="bg1"/>
          </a:outerShdw>
        </a:effectLst>
      </c:spPr>
      <c:txPr>
        <a:bodyPr rot="0" spcFirstLastPara="1" vertOverflow="ellipsis" vert="horz" wrap="square" anchor="ctr" anchorCtr="1"/>
        <a:lstStyle/>
        <a:p>
          <a:pPr>
            <a:defRPr sz="2400" b="1" i="0" u="none" strike="noStrike" kern="1200" spc="0" baseline="0">
              <a:solidFill>
                <a:schemeClr val="accent2"/>
              </a:solidFill>
              <a:latin typeface="+mn-lt"/>
              <a:ea typeface="+mn-ea"/>
              <a:cs typeface="+mn-cs"/>
            </a:defRPr>
          </a:pPr>
          <a:endParaRPr lang="fr-FR"/>
        </a:p>
      </c:txPr>
    </c:title>
    <c:autoTitleDeleted val="0"/>
    <c:plotArea>
      <c:layout>
        <c:manualLayout>
          <c:layoutTarget val="inner"/>
          <c:xMode val="edge"/>
          <c:yMode val="edge"/>
          <c:x val="0.13999781277340331"/>
          <c:y val="3.2824062108463815E-2"/>
          <c:w val="0.83222440944881892"/>
          <c:h val="0.8149610619127069"/>
        </c:manualLayout>
      </c:layout>
      <c:barChart>
        <c:barDir val="col"/>
        <c:grouping val="clustered"/>
        <c:varyColors val="0"/>
        <c:ser>
          <c:idx val="0"/>
          <c:order val="0"/>
          <c:spPr>
            <a:solidFill>
              <a:srgbClr val="96CD32"/>
            </a:solidFill>
            <a:ln>
              <a:noFill/>
            </a:ln>
            <a:effectLst>
              <a:outerShdw blurRad="50800" dist="38100" dir="2700000" algn="tl" rotWithShape="0">
                <a:prstClr val="black">
                  <a:alpha val="40000"/>
                </a:prstClr>
              </a:outerShdw>
            </a:effectLst>
          </c:spPr>
          <c:invertIfNegative val="0"/>
          <c:cat>
            <c:numRef>
              <c:f>'calcul Racco'!$F$1:$V$1</c:f>
              <c:numCache>
                <c:formatCode>General</c:formatCode>
                <c:ptCount val="17"/>
                <c:pt idx="0">
                  <c:v>2019</c:v>
                </c:pt>
                <c:pt idx="1">
                  <c:v>2020</c:v>
                </c:pt>
                <c:pt idx="2">
                  <c:v>2021</c:v>
                </c:pt>
                <c:pt idx="3">
                  <c:v>2022</c:v>
                </c:pt>
                <c:pt idx="4">
                  <c:v>2023</c:v>
                </c:pt>
                <c:pt idx="5">
                  <c:v>2024</c:v>
                </c:pt>
                <c:pt idx="6">
                  <c:v>2025</c:v>
                </c:pt>
                <c:pt idx="7">
                  <c:v>2026</c:v>
                </c:pt>
                <c:pt idx="8">
                  <c:v>2027</c:v>
                </c:pt>
                <c:pt idx="9">
                  <c:v>2028</c:v>
                </c:pt>
                <c:pt idx="10">
                  <c:v>2029</c:v>
                </c:pt>
                <c:pt idx="11">
                  <c:v>2030</c:v>
                </c:pt>
                <c:pt idx="12">
                  <c:v>2031</c:v>
                </c:pt>
                <c:pt idx="13">
                  <c:v>2032</c:v>
                </c:pt>
                <c:pt idx="14">
                  <c:v>2033</c:v>
                </c:pt>
                <c:pt idx="15">
                  <c:v>2034</c:v>
                </c:pt>
                <c:pt idx="16">
                  <c:v>2035</c:v>
                </c:pt>
              </c:numCache>
            </c:numRef>
          </c:cat>
          <c:val>
            <c:numRef>
              <c:f>'calcul Racco'!$F$7:$V$7</c:f>
              <c:numCache>
                <c:formatCode>#,##0</c:formatCode>
                <c:ptCount val="17"/>
                <c:pt idx="0">
                  <c:v>250732</c:v>
                </c:pt>
                <c:pt idx="1">
                  <c:v>458000</c:v>
                </c:pt>
                <c:pt idx="2">
                  <c:v>578000</c:v>
                </c:pt>
                <c:pt idx="3">
                  <c:v>698000</c:v>
                </c:pt>
                <c:pt idx="4">
                  <c:v>1073000</c:v>
                </c:pt>
                <c:pt idx="5">
                  <c:v>1448000</c:v>
                </c:pt>
                <c:pt idx="6">
                  <c:v>2283000.0000000005</c:v>
                </c:pt>
                <c:pt idx="7">
                  <c:v>3118000</c:v>
                </c:pt>
                <c:pt idx="8">
                  <c:v>4554666.666666667</c:v>
                </c:pt>
                <c:pt idx="9">
                  <c:v>5991333.333333333</c:v>
                </c:pt>
                <c:pt idx="10">
                  <c:v>7428000</c:v>
                </c:pt>
                <c:pt idx="11">
                  <c:v>8678000</c:v>
                </c:pt>
                <c:pt idx="12">
                  <c:v>9928000</c:v>
                </c:pt>
                <c:pt idx="13">
                  <c:v>11673000</c:v>
                </c:pt>
                <c:pt idx="14">
                  <c:v>13418000</c:v>
                </c:pt>
                <c:pt idx="15">
                  <c:v>15213000</c:v>
                </c:pt>
                <c:pt idx="16">
                  <c:v>17008000</c:v>
                </c:pt>
              </c:numCache>
            </c:numRef>
          </c:val>
          <c:extLst>
            <c:ext xmlns:c16="http://schemas.microsoft.com/office/drawing/2014/chart" uri="{C3380CC4-5D6E-409C-BE32-E72D297353CC}">
              <c16:uniqueId val="{00000000-C739-466A-B849-9D7F39AE9998}"/>
            </c:ext>
          </c:extLst>
        </c:ser>
        <c:ser>
          <c:idx val="1"/>
          <c:order val="1"/>
          <c:spPr>
            <a:solidFill>
              <a:schemeClr val="accent2"/>
            </a:solidFill>
            <a:ln>
              <a:noFill/>
            </a:ln>
            <a:effectLst>
              <a:outerShdw blurRad="50800" dist="38100" dir="2700000" algn="tl" rotWithShape="0">
                <a:prstClr val="black">
                  <a:alpha val="40000"/>
                </a:prstClr>
              </a:outerShdw>
            </a:effectLst>
          </c:spPr>
          <c:invertIfNegative val="0"/>
          <c:val>
            <c:numRef>
              <c:f>'calcul Racco'!$F$2:$J$2</c:f>
              <c:numCache>
                <c:formatCode>#,##0</c:formatCode>
                <c:ptCount val="5"/>
                <c:pt idx="0">
                  <c:v>275565</c:v>
                </c:pt>
                <c:pt idx="1">
                  <c:v>470295</c:v>
                </c:pt>
                <c:pt idx="2">
                  <c:v>786274</c:v>
                </c:pt>
                <c:pt idx="3">
                  <c:v>1100000</c:v>
                </c:pt>
                <c:pt idx="4">
                  <c:v>1600000</c:v>
                </c:pt>
              </c:numCache>
            </c:numRef>
          </c:val>
          <c:extLst>
            <c:ext xmlns:c16="http://schemas.microsoft.com/office/drawing/2014/chart" uri="{C3380CC4-5D6E-409C-BE32-E72D297353CC}">
              <c16:uniqueId val="{00000001-C739-466A-B849-9D7F39AE9998}"/>
            </c:ext>
          </c:extLst>
        </c:ser>
        <c:dLbls>
          <c:showLegendKey val="0"/>
          <c:showVal val="0"/>
          <c:showCatName val="0"/>
          <c:showSerName val="0"/>
          <c:showPercent val="0"/>
          <c:showBubbleSize val="0"/>
        </c:dLbls>
        <c:gapWidth val="68"/>
        <c:axId val="377201904"/>
        <c:axId val="377200592"/>
      </c:barChart>
      <c:catAx>
        <c:axId val="377201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377200592"/>
        <c:crosses val="autoZero"/>
        <c:auto val="1"/>
        <c:lblAlgn val="ctr"/>
        <c:lblOffset val="100"/>
        <c:noMultiLvlLbl val="0"/>
      </c:catAx>
      <c:valAx>
        <c:axId val="37720059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377201904"/>
        <c:crosses val="autoZero"/>
        <c:crossBetween val="between"/>
      </c:valAx>
      <c:spPr>
        <a:noFill/>
        <a:ln>
          <a:noFill/>
        </a:ln>
        <a:effectLst/>
      </c:spPr>
    </c:plotArea>
    <c:plotVisOnly val="1"/>
    <c:dispBlanksAs val="gap"/>
    <c:showDLblsOverMax val="0"/>
  </c:chart>
  <c:spPr>
    <a:noFill/>
    <a:ln>
      <a:noFill/>
    </a:ln>
    <a:effectLst>
      <a:outerShdw blurRad="50800" dist="76200" dir="2700000" algn="tl" rotWithShape="0">
        <a:prstClr val="black">
          <a:alpha val="40000"/>
        </a:prstClr>
      </a:outerShdw>
    </a:effectLst>
  </c:spPr>
  <c:txPr>
    <a:bodyPr/>
    <a:lstStyle/>
    <a:p>
      <a:pPr>
        <a:defRPr/>
      </a:pPr>
      <a:endParaRPr lang="fr-FR"/>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v>Accessible au public</c:v>
          </c:tx>
          <c:spPr>
            <a:solidFill>
              <a:schemeClr val="accent2"/>
            </a:solidFill>
            <a:ln w="6350">
              <a:solidFill>
                <a:schemeClr val="bg1"/>
              </a:solidFill>
            </a:ln>
            <a:effectLst/>
          </c:spPr>
          <c:invertIfNegative val="0"/>
          <c:cat>
            <c:strRef>
              <c:f>'[Graphique dans Microsoft PowerPoint]Feuil1'!$A$3:$A$37</c:f>
              <c:strCache>
                <c:ptCount val="35"/>
                <c:pt idx="0">
                  <c:v>2015 T2</c:v>
                </c:pt>
                <c:pt idx="1">
                  <c:v>2015 T3</c:v>
                </c:pt>
                <c:pt idx="2">
                  <c:v>2015 T4</c:v>
                </c:pt>
                <c:pt idx="3">
                  <c:v>2016 T1</c:v>
                </c:pt>
                <c:pt idx="4">
                  <c:v>2016 T2</c:v>
                </c:pt>
                <c:pt idx="5">
                  <c:v>2016 T3</c:v>
                </c:pt>
                <c:pt idx="6">
                  <c:v>2016 T4</c:v>
                </c:pt>
                <c:pt idx="7">
                  <c:v>2017 T1</c:v>
                </c:pt>
                <c:pt idx="8">
                  <c:v>2017 T2</c:v>
                </c:pt>
                <c:pt idx="9">
                  <c:v>2017 T3</c:v>
                </c:pt>
                <c:pt idx="10">
                  <c:v>2017 T4</c:v>
                </c:pt>
                <c:pt idx="11">
                  <c:v>2018 T1</c:v>
                </c:pt>
                <c:pt idx="12">
                  <c:v>2018 T2</c:v>
                </c:pt>
                <c:pt idx="13">
                  <c:v>2018 T3</c:v>
                </c:pt>
                <c:pt idx="14">
                  <c:v>2018 T4</c:v>
                </c:pt>
                <c:pt idx="15">
                  <c:v>2019 T1</c:v>
                </c:pt>
                <c:pt idx="16">
                  <c:v>2019 T2</c:v>
                </c:pt>
                <c:pt idx="17">
                  <c:v>2019 T3</c:v>
                </c:pt>
                <c:pt idx="18">
                  <c:v>2019 T4</c:v>
                </c:pt>
                <c:pt idx="19">
                  <c:v>2020 T1</c:v>
                </c:pt>
                <c:pt idx="20">
                  <c:v>2020 T2</c:v>
                </c:pt>
                <c:pt idx="21">
                  <c:v>2020 T3</c:v>
                </c:pt>
                <c:pt idx="22">
                  <c:v>2020 T4</c:v>
                </c:pt>
                <c:pt idx="23">
                  <c:v>2021 T1</c:v>
                </c:pt>
                <c:pt idx="24">
                  <c:v>2021 T2</c:v>
                </c:pt>
                <c:pt idx="25">
                  <c:v>2021 T3</c:v>
                </c:pt>
                <c:pt idx="26">
                  <c:v>2021 T4</c:v>
                </c:pt>
                <c:pt idx="27">
                  <c:v>2022 T1</c:v>
                </c:pt>
                <c:pt idx="28">
                  <c:v>2022 T2</c:v>
                </c:pt>
                <c:pt idx="29">
                  <c:v>2022 T3</c:v>
                </c:pt>
                <c:pt idx="30">
                  <c:v>2022 T4</c:v>
                </c:pt>
                <c:pt idx="31">
                  <c:v>2023 T1</c:v>
                </c:pt>
                <c:pt idx="32">
                  <c:v>2023 T2</c:v>
                </c:pt>
                <c:pt idx="33">
                  <c:v>2023 T3</c:v>
                </c:pt>
                <c:pt idx="34">
                  <c:v>2023 T4</c:v>
                </c:pt>
              </c:strCache>
            </c:strRef>
          </c:cat>
          <c:val>
            <c:numRef>
              <c:f>'[Graphique dans Microsoft PowerPoint]Feuil1'!$B$3:$B$37</c:f>
              <c:numCache>
                <c:formatCode>#,##0</c:formatCode>
                <c:ptCount val="35"/>
                <c:pt idx="0">
                  <c:v>10086</c:v>
                </c:pt>
                <c:pt idx="1">
                  <c:v>10928</c:v>
                </c:pt>
                <c:pt idx="2">
                  <c:v>11113</c:v>
                </c:pt>
                <c:pt idx="3">
                  <c:v>12830</c:v>
                </c:pt>
                <c:pt idx="4">
                  <c:v>13861</c:v>
                </c:pt>
                <c:pt idx="5">
                  <c:v>12859</c:v>
                </c:pt>
                <c:pt idx="6">
                  <c:v>16220</c:v>
                </c:pt>
                <c:pt idx="7">
                  <c:v>17423</c:v>
                </c:pt>
                <c:pt idx="8">
                  <c:v>19750</c:v>
                </c:pt>
                <c:pt idx="9">
                  <c:v>20688</c:v>
                </c:pt>
                <c:pt idx="10">
                  <c:v>19309</c:v>
                </c:pt>
                <c:pt idx="11">
                  <c:v>26325</c:v>
                </c:pt>
                <c:pt idx="12">
                  <c:v>22283</c:v>
                </c:pt>
                <c:pt idx="13">
                  <c:v>24319</c:v>
                </c:pt>
                <c:pt idx="14">
                  <c:v>26254</c:v>
                </c:pt>
                <c:pt idx="15">
                  <c:v>27516</c:v>
                </c:pt>
                <c:pt idx="16">
                  <c:v>27668</c:v>
                </c:pt>
                <c:pt idx="17">
                  <c:v>29545</c:v>
                </c:pt>
                <c:pt idx="18">
                  <c:v>30203</c:v>
                </c:pt>
                <c:pt idx="19">
                  <c:v>31081</c:v>
                </c:pt>
                <c:pt idx="20">
                  <c:v>32648</c:v>
                </c:pt>
                <c:pt idx="21">
                  <c:v>33369</c:v>
                </c:pt>
                <c:pt idx="22">
                  <c:v>34686</c:v>
                </c:pt>
                <c:pt idx="23">
                  <c:v>37491</c:v>
                </c:pt>
                <c:pt idx="24">
                  <c:v>43699</c:v>
                </c:pt>
                <c:pt idx="25">
                  <c:v>49086</c:v>
                </c:pt>
                <c:pt idx="26">
                  <c:v>53667</c:v>
                </c:pt>
                <c:pt idx="27">
                  <c:v>57732</c:v>
                </c:pt>
                <c:pt idx="28">
                  <c:v>64546</c:v>
                </c:pt>
                <c:pt idx="29">
                  <c:v>71630</c:v>
                </c:pt>
                <c:pt idx="30">
                  <c:v>82107</c:v>
                </c:pt>
                <c:pt idx="31">
                  <c:v>95755</c:v>
                </c:pt>
                <c:pt idx="32">
                  <c:v>101681</c:v>
                </c:pt>
                <c:pt idx="33">
                  <c:v>109856</c:v>
                </c:pt>
                <c:pt idx="34">
                  <c:v>118009</c:v>
                </c:pt>
              </c:numCache>
            </c:numRef>
          </c:val>
          <c:extLst>
            <c:ext xmlns:c16="http://schemas.microsoft.com/office/drawing/2014/chart" uri="{C3380CC4-5D6E-409C-BE32-E72D297353CC}">
              <c16:uniqueId val="{00000000-38D0-4E7B-9592-303601A2636F}"/>
            </c:ext>
          </c:extLst>
        </c:ser>
        <c:ser>
          <c:idx val="1"/>
          <c:order val="1"/>
          <c:tx>
            <c:v>Résidentiel</c:v>
          </c:tx>
          <c:spPr>
            <a:solidFill>
              <a:srgbClr val="0070C0"/>
            </a:solidFill>
            <a:ln w="6350">
              <a:solidFill>
                <a:schemeClr val="bg1"/>
              </a:solidFill>
            </a:ln>
            <a:effectLst/>
          </c:spPr>
          <c:invertIfNegative val="0"/>
          <c:cat>
            <c:strRef>
              <c:f>'[Graphique dans Microsoft PowerPoint]Feuil1'!$A$3:$A$37</c:f>
              <c:strCache>
                <c:ptCount val="35"/>
                <c:pt idx="0">
                  <c:v>2015 T2</c:v>
                </c:pt>
                <c:pt idx="1">
                  <c:v>2015 T3</c:v>
                </c:pt>
                <c:pt idx="2">
                  <c:v>2015 T4</c:v>
                </c:pt>
                <c:pt idx="3">
                  <c:v>2016 T1</c:v>
                </c:pt>
                <c:pt idx="4">
                  <c:v>2016 T2</c:v>
                </c:pt>
                <c:pt idx="5">
                  <c:v>2016 T3</c:v>
                </c:pt>
                <c:pt idx="6">
                  <c:v>2016 T4</c:v>
                </c:pt>
                <c:pt idx="7">
                  <c:v>2017 T1</c:v>
                </c:pt>
                <c:pt idx="8">
                  <c:v>2017 T2</c:v>
                </c:pt>
                <c:pt idx="9">
                  <c:v>2017 T3</c:v>
                </c:pt>
                <c:pt idx="10">
                  <c:v>2017 T4</c:v>
                </c:pt>
                <c:pt idx="11">
                  <c:v>2018 T1</c:v>
                </c:pt>
                <c:pt idx="12">
                  <c:v>2018 T2</c:v>
                </c:pt>
                <c:pt idx="13">
                  <c:v>2018 T3</c:v>
                </c:pt>
                <c:pt idx="14">
                  <c:v>2018 T4</c:v>
                </c:pt>
                <c:pt idx="15">
                  <c:v>2019 T1</c:v>
                </c:pt>
                <c:pt idx="16">
                  <c:v>2019 T2</c:v>
                </c:pt>
                <c:pt idx="17">
                  <c:v>2019 T3</c:v>
                </c:pt>
                <c:pt idx="18">
                  <c:v>2019 T4</c:v>
                </c:pt>
                <c:pt idx="19">
                  <c:v>2020 T1</c:v>
                </c:pt>
                <c:pt idx="20">
                  <c:v>2020 T2</c:v>
                </c:pt>
                <c:pt idx="21">
                  <c:v>2020 T3</c:v>
                </c:pt>
                <c:pt idx="22">
                  <c:v>2020 T4</c:v>
                </c:pt>
                <c:pt idx="23">
                  <c:v>2021 T1</c:v>
                </c:pt>
                <c:pt idx="24">
                  <c:v>2021 T2</c:v>
                </c:pt>
                <c:pt idx="25">
                  <c:v>2021 T3</c:v>
                </c:pt>
                <c:pt idx="26">
                  <c:v>2021 T4</c:v>
                </c:pt>
                <c:pt idx="27">
                  <c:v>2022 T1</c:v>
                </c:pt>
                <c:pt idx="28">
                  <c:v>2022 T2</c:v>
                </c:pt>
                <c:pt idx="29">
                  <c:v>2022 T3</c:v>
                </c:pt>
                <c:pt idx="30">
                  <c:v>2022 T4</c:v>
                </c:pt>
                <c:pt idx="31">
                  <c:v>2023 T1</c:v>
                </c:pt>
                <c:pt idx="32">
                  <c:v>2023 T2</c:v>
                </c:pt>
                <c:pt idx="33">
                  <c:v>2023 T3</c:v>
                </c:pt>
                <c:pt idx="34">
                  <c:v>2023 T4</c:v>
                </c:pt>
              </c:strCache>
            </c:strRef>
          </c:cat>
          <c:val>
            <c:numRef>
              <c:f>'[Graphique dans Microsoft PowerPoint]Feuil1'!$C$3:$C$37</c:f>
              <c:numCache>
                <c:formatCode>#,##0</c:formatCode>
                <c:ptCount val="35"/>
                <c:pt idx="0">
                  <c:v>29662</c:v>
                </c:pt>
                <c:pt idx="1">
                  <c:v>32278</c:v>
                </c:pt>
                <c:pt idx="2">
                  <c:v>37448</c:v>
                </c:pt>
                <c:pt idx="3">
                  <c:v>43284</c:v>
                </c:pt>
                <c:pt idx="4">
                  <c:v>48412</c:v>
                </c:pt>
                <c:pt idx="5">
                  <c:v>52052</c:v>
                </c:pt>
                <c:pt idx="6">
                  <c:v>57039</c:v>
                </c:pt>
                <c:pt idx="7">
                  <c:v>62957</c:v>
                </c:pt>
                <c:pt idx="8">
                  <c:v>68509</c:v>
                </c:pt>
                <c:pt idx="9">
                  <c:v>73404</c:v>
                </c:pt>
                <c:pt idx="10">
                  <c:v>79807</c:v>
                </c:pt>
                <c:pt idx="11">
                  <c:v>86681</c:v>
                </c:pt>
                <c:pt idx="12">
                  <c:v>92537</c:v>
                </c:pt>
                <c:pt idx="13">
                  <c:v>97164</c:v>
                </c:pt>
                <c:pt idx="14">
                  <c:v>106839</c:v>
                </c:pt>
                <c:pt idx="15">
                  <c:v>115690</c:v>
                </c:pt>
                <c:pt idx="16">
                  <c:v>123368</c:v>
                </c:pt>
                <c:pt idx="17">
                  <c:v>132275</c:v>
                </c:pt>
                <c:pt idx="18">
                  <c:v>144123</c:v>
                </c:pt>
                <c:pt idx="19">
                  <c:v>172822</c:v>
                </c:pt>
                <c:pt idx="20">
                  <c:v>192823</c:v>
                </c:pt>
                <c:pt idx="21">
                  <c:v>222346</c:v>
                </c:pt>
                <c:pt idx="22">
                  <c:v>267371</c:v>
                </c:pt>
                <c:pt idx="23">
                  <c:v>307174</c:v>
                </c:pt>
                <c:pt idx="24">
                  <c:v>359188</c:v>
                </c:pt>
                <c:pt idx="25">
                  <c:v>402361</c:v>
                </c:pt>
                <c:pt idx="26">
                  <c:v>465424</c:v>
                </c:pt>
                <c:pt idx="27">
                  <c:v>515435</c:v>
                </c:pt>
                <c:pt idx="28">
                  <c:v>575686</c:v>
                </c:pt>
                <c:pt idx="29">
                  <c:v>623836</c:v>
                </c:pt>
                <c:pt idx="30">
                  <c:v>688060</c:v>
                </c:pt>
                <c:pt idx="31">
                  <c:v>763452</c:v>
                </c:pt>
                <c:pt idx="32">
                  <c:v>838695</c:v>
                </c:pt>
                <c:pt idx="33">
                  <c:v>906942</c:v>
                </c:pt>
                <c:pt idx="34">
                  <c:v>1006944</c:v>
                </c:pt>
              </c:numCache>
            </c:numRef>
          </c:val>
          <c:extLst>
            <c:ext xmlns:c16="http://schemas.microsoft.com/office/drawing/2014/chart" uri="{C3380CC4-5D6E-409C-BE32-E72D297353CC}">
              <c16:uniqueId val="{00000001-38D0-4E7B-9592-303601A2636F}"/>
            </c:ext>
          </c:extLst>
        </c:ser>
        <c:ser>
          <c:idx val="2"/>
          <c:order val="2"/>
          <c:tx>
            <c:v>Entreprise</c:v>
          </c:tx>
          <c:spPr>
            <a:solidFill>
              <a:schemeClr val="accent1">
                <a:lumMod val="50000"/>
              </a:schemeClr>
            </a:solidFill>
            <a:ln w="6350">
              <a:solidFill>
                <a:schemeClr val="bg1"/>
              </a:solidFill>
            </a:ln>
            <a:effectLst/>
          </c:spPr>
          <c:invertIfNegative val="0"/>
          <c:cat>
            <c:strRef>
              <c:f>'[Graphique dans Microsoft PowerPoint]Feuil1'!$A$3:$A$37</c:f>
              <c:strCache>
                <c:ptCount val="35"/>
                <c:pt idx="0">
                  <c:v>2015 T2</c:v>
                </c:pt>
                <c:pt idx="1">
                  <c:v>2015 T3</c:v>
                </c:pt>
                <c:pt idx="2">
                  <c:v>2015 T4</c:v>
                </c:pt>
                <c:pt idx="3">
                  <c:v>2016 T1</c:v>
                </c:pt>
                <c:pt idx="4">
                  <c:v>2016 T2</c:v>
                </c:pt>
                <c:pt idx="5">
                  <c:v>2016 T3</c:v>
                </c:pt>
                <c:pt idx="6">
                  <c:v>2016 T4</c:v>
                </c:pt>
                <c:pt idx="7">
                  <c:v>2017 T1</c:v>
                </c:pt>
                <c:pt idx="8">
                  <c:v>2017 T2</c:v>
                </c:pt>
                <c:pt idx="9">
                  <c:v>2017 T3</c:v>
                </c:pt>
                <c:pt idx="10">
                  <c:v>2017 T4</c:v>
                </c:pt>
                <c:pt idx="11">
                  <c:v>2018 T1</c:v>
                </c:pt>
                <c:pt idx="12">
                  <c:v>2018 T2</c:v>
                </c:pt>
                <c:pt idx="13">
                  <c:v>2018 T3</c:v>
                </c:pt>
                <c:pt idx="14">
                  <c:v>2018 T4</c:v>
                </c:pt>
                <c:pt idx="15">
                  <c:v>2019 T1</c:v>
                </c:pt>
                <c:pt idx="16">
                  <c:v>2019 T2</c:v>
                </c:pt>
                <c:pt idx="17">
                  <c:v>2019 T3</c:v>
                </c:pt>
                <c:pt idx="18">
                  <c:v>2019 T4</c:v>
                </c:pt>
                <c:pt idx="19">
                  <c:v>2020 T1</c:v>
                </c:pt>
                <c:pt idx="20">
                  <c:v>2020 T2</c:v>
                </c:pt>
                <c:pt idx="21">
                  <c:v>2020 T3</c:v>
                </c:pt>
                <c:pt idx="22">
                  <c:v>2020 T4</c:v>
                </c:pt>
                <c:pt idx="23">
                  <c:v>2021 T1</c:v>
                </c:pt>
                <c:pt idx="24">
                  <c:v>2021 T2</c:v>
                </c:pt>
                <c:pt idx="25">
                  <c:v>2021 T3</c:v>
                </c:pt>
                <c:pt idx="26">
                  <c:v>2021 T4</c:v>
                </c:pt>
                <c:pt idx="27">
                  <c:v>2022 T1</c:v>
                </c:pt>
                <c:pt idx="28">
                  <c:v>2022 T2</c:v>
                </c:pt>
                <c:pt idx="29">
                  <c:v>2022 T3</c:v>
                </c:pt>
                <c:pt idx="30">
                  <c:v>2022 T4</c:v>
                </c:pt>
                <c:pt idx="31">
                  <c:v>2023 T1</c:v>
                </c:pt>
                <c:pt idx="32">
                  <c:v>2023 T2</c:v>
                </c:pt>
                <c:pt idx="33">
                  <c:v>2023 T3</c:v>
                </c:pt>
                <c:pt idx="34">
                  <c:v>2023 T4</c:v>
                </c:pt>
              </c:strCache>
            </c:strRef>
          </c:cat>
          <c:val>
            <c:numRef>
              <c:f>'[Graphique dans Microsoft PowerPoint]Feuil1'!$D$3:$D$37</c:f>
              <c:numCache>
                <c:formatCode>#,##0</c:formatCode>
                <c:ptCount val="35"/>
                <c:pt idx="0">
                  <c:v>37933</c:v>
                </c:pt>
                <c:pt idx="1">
                  <c:v>38681</c:v>
                </c:pt>
                <c:pt idx="2">
                  <c:v>42891</c:v>
                </c:pt>
                <c:pt idx="3">
                  <c:v>48013</c:v>
                </c:pt>
                <c:pt idx="4">
                  <c:v>52015</c:v>
                </c:pt>
                <c:pt idx="5">
                  <c:v>55309</c:v>
                </c:pt>
                <c:pt idx="6">
                  <c:v>59408</c:v>
                </c:pt>
                <c:pt idx="7">
                  <c:v>63757</c:v>
                </c:pt>
                <c:pt idx="8">
                  <c:v>68930</c:v>
                </c:pt>
                <c:pt idx="9">
                  <c:v>73713</c:v>
                </c:pt>
                <c:pt idx="10">
                  <c:v>78881</c:v>
                </c:pt>
                <c:pt idx="11">
                  <c:v>84921</c:v>
                </c:pt>
                <c:pt idx="12">
                  <c:v>90950</c:v>
                </c:pt>
                <c:pt idx="13">
                  <c:v>96616</c:v>
                </c:pt>
                <c:pt idx="14">
                  <c:v>104895</c:v>
                </c:pt>
                <c:pt idx="15">
                  <c:v>113101</c:v>
                </c:pt>
                <c:pt idx="16">
                  <c:v>118974</c:v>
                </c:pt>
                <c:pt idx="17">
                  <c:v>125667</c:v>
                </c:pt>
                <c:pt idx="18">
                  <c:v>135563</c:v>
                </c:pt>
                <c:pt idx="19">
                  <c:v>167797</c:v>
                </c:pt>
                <c:pt idx="20">
                  <c:v>180499</c:v>
                </c:pt>
                <c:pt idx="21">
                  <c:v>198437</c:v>
                </c:pt>
                <c:pt idx="22">
                  <c:v>237863</c:v>
                </c:pt>
                <c:pt idx="23">
                  <c:v>269327</c:v>
                </c:pt>
                <c:pt idx="24">
                  <c:v>307269</c:v>
                </c:pt>
                <c:pt idx="25">
                  <c:v>331981</c:v>
                </c:pt>
                <c:pt idx="26">
                  <c:v>368355</c:v>
                </c:pt>
                <c:pt idx="27">
                  <c:v>392504</c:v>
                </c:pt>
                <c:pt idx="28">
                  <c:v>420774</c:v>
                </c:pt>
                <c:pt idx="29">
                  <c:v>446585</c:v>
                </c:pt>
                <c:pt idx="30">
                  <c:v>493648</c:v>
                </c:pt>
                <c:pt idx="31">
                  <c:v>540928</c:v>
                </c:pt>
                <c:pt idx="32">
                  <c:v>600186</c:v>
                </c:pt>
                <c:pt idx="33">
                  <c:v>652131</c:v>
                </c:pt>
                <c:pt idx="34">
                  <c:v>709070</c:v>
                </c:pt>
              </c:numCache>
            </c:numRef>
          </c:val>
          <c:extLst>
            <c:ext xmlns:c16="http://schemas.microsoft.com/office/drawing/2014/chart" uri="{C3380CC4-5D6E-409C-BE32-E72D297353CC}">
              <c16:uniqueId val="{00000002-38D0-4E7B-9592-303601A2636F}"/>
            </c:ext>
          </c:extLst>
        </c:ser>
        <c:dLbls>
          <c:showLegendKey val="0"/>
          <c:showVal val="0"/>
          <c:showCatName val="0"/>
          <c:showSerName val="0"/>
          <c:showPercent val="0"/>
          <c:showBubbleSize val="0"/>
        </c:dLbls>
        <c:gapWidth val="100"/>
        <c:overlap val="100"/>
        <c:axId val="494588104"/>
        <c:axId val="494587120"/>
      </c:barChart>
      <c:catAx>
        <c:axId val="494588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180000" spcFirstLastPara="1" vertOverflow="ellipsis" wrap="square" anchor="ctr" anchorCtr="1"/>
          <a:lstStyle/>
          <a:p>
            <a:pPr>
              <a:defRPr sz="400" b="0" i="0" u="none" strike="noStrike" kern="1200" baseline="0">
                <a:solidFill>
                  <a:schemeClr val="tx1">
                    <a:lumMod val="65000"/>
                    <a:lumOff val="35000"/>
                  </a:schemeClr>
                </a:solidFill>
                <a:latin typeface="+mn-lt"/>
                <a:ea typeface="+mn-ea"/>
                <a:cs typeface="+mn-cs"/>
              </a:defRPr>
            </a:pPr>
            <a:endParaRPr lang="fr-FR"/>
          </a:p>
        </c:txPr>
        <c:crossAx val="494587120"/>
        <c:crosses val="autoZero"/>
        <c:auto val="1"/>
        <c:lblAlgn val="ctr"/>
        <c:lblOffset val="100"/>
        <c:noMultiLvlLbl val="0"/>
      </c:catAx>
      <c:valAx>
        <c:axId val="494587120"/>
        <c:scaling>
          <c:orientation val="minMax"/>
        </c:scaling>
        <c:delete val="0"/>
        <c:axPos val="l"/>
        <c:majorGridlines>
          <c:spPr>
            <a:ln w="6350" cap="flat" cmpd="sng" algn="ctr">
              <a:solidFill>
                <a:schemeClr val="tx1">
                  <a:lumMod val="15000"/>
                  <a:lumOff val="85000"/>
                </a:schemeClr>
              </a:solidFill>
              <a:prstDash val="dash"/>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fr-FR"/>
          </a:p>
        </c:txPr>
        <c:crossAx val="494588104"/>
        <c:crosses val="autoZero"/>
        <c:crossBetween val="between"/>
      </c:valAx>
      <c:spPr>
        <a:noFill/>
        <a:ln>
          <a:noFill/>
        </a:ln>
        <a:effectLst>
          <a:outerShdw blurRad="50800" dist="38100" dir="2700000" algn="tl" rotWithShape="0">
            <a:prstClr val="black">
              <a:alpha val="40000"/>
            </a:prstClr>
          </a:outerShdw>
        </a:effectLst>
      </c:spPr>
    </c:plotArea>
    <c:legend>
      <c:legendPos val="b"/>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bg1"/>
      </a:solidFill>
      <a:round/>
    </a:ln>
    <a:effectLst/>
  </c:spPr>
  <c:txPr>
    <a:bodyPr/>
    <a:lstStyle/>
    <a:p>
      <a:pPr>
        <a:defRPr/>
      </a:pPr>
      <a:endParaRPr lang="fr-FR"/>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600" b="1" i="0" u="none" strike="noStrike" kern="1200" spc="0" baseline="0">
                <a:solidFill>
                  <a:schemeClr val="accent3"/>
                </a:solidFill>
                <a:latin typeface="+mj-lt"/>
                <a:ea typeface="+mn-ea"/>
                <a:cs typeface="+mn-cs"/>
              </a:defRPr>
            </a:pPr>
            <a:r>
              <a:rPr lang="fr-FR" sz="1600" b="1" dirty="0" smtClean="0">
                <a:solidFill>
                  <a:schemeClr val="accent3"/>
                </a:solidFill>
                <a:latin typeface="+mj-lt"/>
              </a:rPr>
              <a:t>Prévision</a:t>
            </a:r>
            <a:r>
              <a:rPr lang="fr-FR" sz="1600" b="1" baseline="0" dirty="0" smtClean="0">
                <a:solidFill>
                  <a:schemeClr val="accent3"/>
                </a:solidFill>
                <a:latin typeface="+mj-lt"/>
              </a:rPr>
              <a:t> du nombre de </a:t>
            </a:r>
            <a:r>
              <a:rPr lang="fr-FR" sz="1600" b="1" baseline="0" dirty="0" smtClean="0">
                <a:solidFill>
                  <a:schemeClr val="accent3"/>
                </a:solidFill>
                <a:latin typeface="+mj-lt"/>
              </a:rPr>
              <a:t>raccordements </a:t>
            </a:r>
            <a:r>
              <a:rPr lang="fr-FR" sz="1600" b="1" baseline="0" dirty="0" smtClean="0">
                <a:solidFill>
                  <a:schemeClr val="accent3"/>
                </a:solidFill>
                <a:latin typeface="+mj-lt"/>
              </a:rPr>
              <a:t>cumulés</a:t>
            </a:r>
            <a:endParaRPr lang="fr-FR" sz="1600" b="1" dirty="0" smtClean="0">
              <a:solidFill>
                <a:schemeClr val="accent3"/>
              </a:solidFill>
              <a:latin typeface="+mj-lt"/>
            </a:endParaRPr>
          </a:p>
          <a:p>
            <a:pPr algn="l">
              <a:defRPr sz="1600" b="1">
                <a:solidFill>
                  <a:schemeClr val="accent3"/>
                </a:solidFill>
                <a:latin typeface="+mj-lt"/>
              </a:defRPr>
            </a:pPr>
            <a:r>
              <a:rPr lang="fr-FR" sz="1050" b="0" i="1" dirty="0" smtClean="0">
                <a:solidFill>
                  <a:schemeClr val="tx1"/>
                </a:solidFill>
                <a:latin typeface="+mj-lt"/>
              </a:rPr>
              <a:t>Enedis</a:t>
            </a:r>
            <a:r>
              <a:rPr lang="fr-FR" sz="1050" b="0" i="1" baseline="0" dirty="0" smtClean="0">
                <a:solidFill>
                  <a:schemeClr val="tx1"/>
                </a:solidFill>
                <a:latin typeface="+mj-lt"/>
              </a:rPr>
              <a:t> </a:t>
            </a:r>
            <a:r>
              <a:rPr lang="fr-FR" sz="1050" b="0" i="1" baseline="0" dirty="0" err="1" smtClean="0">
                <a:solidFill>
                  <a:schemeClr val="tx1"/>
                </a:solidFill>
                <a:latin typeface="+mj-lt"/>
              </a:rPr>
              <a:t>forecast</a:t>
            </a:r>
            <a:endParaRPr lang="fr-FR" sz="1050" b="0" i="1" dirty="0">
              <a:solidFill>
                <a:schemeClr val="tx1"/>
              </a:solidFill>
              <a:latin typeface="+mj-lt"/>
            </a:endParaRPr>
          </a:p>
        </c:rich>
      </c:tx>
      <c:layout>
        <c:manualLayout>
          <c:xMode val="edge"/>
          <c:yMode val="edge"/>
          <c:x val="0.20793221053260444"/>
          <c:y val="6.2358307562808257E-3"/>
        </c:manualLayout>
      </c:layout>
      <c:overlay val="0"/>
      <c:spPr>
        <a:solidFill>
          <a:schemeClr val="bg1"/>
        </a:solidFill>
        <a:ln>
          <a:noFill/>
        </a:ln>
        <a:effectLst/>
      </c:spPr>
      <c:txPr>
        <a:bodyPr rot="0" spcFirstLastPara="1" vertOverflow="ellipsis" vert="horz" wrap="square" anchor="ctr" anchorCtr="1"/>
        <a:lstStyle/>
        <a:p>
          <a:pPr algn="l">
            <a:defRPr sz="1600" b="1" i="0" u="none" strike="noStrike" kern="1200" spc="0" baseline="0">
              <a:solidFill>
                <a:schemeClr val="accent3"/>
              </a:solidFill>
              <a:latin typeface="+mj-lt"/>
              <a:ea typeface="+mn-ea"/>
              <a:cs typeface="+mn-cs"/>
            </a:defRPr>
          </a:pPr>
          <a:endParaRPr lang="fr-FR"/>
        </a:p>
      </c:txPr>
    </c:title>
    <c:autoTitleDeleted val="0"/>
    <c:plotArea>
      <c:layout/>
      <c:barChart>
        <c:barDir val="col"/>
        <c:grouping val="stacked"/>
        <c:varyColors val="0"/>
        <c:ser>
          <c:idx val="0"/>
          <c:order val="0"/>
          <c:tx>
            <c:strRef>
              <c:f>Feuil1!$A$13</c:f>
              <c:strCache>
                <c:ptCount val="1"/>
                <c:pt idx="0">
                  <c:v>Grands Comptes BT sup 36 kVA (C4)</c:v>
                </c:pt>
              </c:strCache>
            </c:strRef>
          </c:tx>
          <c:spPr>
            <a:solidFill>
              <a:schemeClr val="accent6"/>
            </a:solidFill>
            <a:ln>
              <a:noFill/>
            </a:ln>
            <a:effectLst/>
          </c:spPr>
          <c:invertIfNegative val="0"/>
          <c:cat>
            <c:numRef>
              <c:f>Feuil1!$B$12:$H$12</c:f>
              <c:numCache>
                <c:formatCode>General</c:formatCode>
                <c:ptCount val="7"/>
                <c:pt idx="0">
                  <c:v>2024</c:v>
                </c:pt>
                <c:pt idx="1">
                  <c:v>2025</c:v>
                </c:pt>
                <c:pt idx="2">
                  <c:v>2026</c:v>
                </c:pt>
                <c:pt idx="3">
                  <c:v>2027</c:v>
                </c:pt>
                <c:pt idx="4">
                  <c:v>2028</c:v>
                </c:pt>
                <c:pt idx="5">
                  <c:v>2029</c:v>
                </c:pt>
                <c:pt idx="6">
                  <c:v>2030</c:v>
                </c:pt>
              </c:numCache>
            </c:numRef>
          </c:cat>
          <c:val>
            <c:numRef>
              <c:f>Feuil1!$B$13:$H$13</c:f>
              <c:numCache>
                <c:formatCode>_-* #\ ##0_-;\-* #\ ##0_-;_-* "-"??_-;_-@_-</c:formatCode>
                <c:ptCount val="7"/>
                <c:pt idx="0">
                  <c:v>3060.7999999999997</c:v>
                </c:pt>
                <c:pt idx="1">
                  <c:v>6498.7999999999993</c:v>
                </c:pt>
                <c:pt idx="2">
                  <c:v>10150.599999999999</c:v>
                </c:pt>
                <c:pt idx="3">
                  <c:v>14047.579999999998</c:v>
                </c:pt>
                <c:pt idx="4">
                  <c:v>18324.257999999998</c:v>
                </c:pt>
                <c:pt idx="5">
                  <c:v>23018.603799999997</c:v>
                </c:pt>
                <c:pt idx="6">
                  <c:v>28172.384179999997</c:v>
                </c:pt>
              </c:numCache>
            </c:numRef>
          </c:val>
          <c:extLst>
            <c:ext xmlns:c16="http://schemas.microsoft.com/office/drawing/2014/chart" uri="{C3380CC4-5D6E-409C-BE32-E72D297353CC}">
              <c16:uniqueId val="{00000000-48F2-48EB-B13B-3E421FBE0C13}"/>
            </c:ext>
          </c:extLst>
        </c:ser>
        <c:ser>
          <c:idx val="1"/>
          <c:order val="1"/>
          <c:tx>
            <c:strRef>
              <c:f>Feuil1!$A$14</c:f>
              <c:strCache>
                <c:ptCount val="1"/>
                <c:pt idx="0">
                  <c:v>Grands Comptes HTA (C1-C3)</c:v>
                </c:pt>
              </c:strCache>
            </c:strRef>
          </c:tx>
          <c:spPr>
            <a:solidFill>
              <a:schemeClr val="accent5"/>
            </a:solidFill>
            <a:ln>
              <a:noFill/>
            </a:ln>
            <a:effectLst/>
          </c:spPr>
          <c:invertIfNegative val="0"/>
          <c:cat>
            <c:numRef>
              <c:f>Feuil1!$B$12:$H$12</c:f>
              <c:numCache>
                <c:formatCode>General</c:formatCode>
                <c:ptCount val="7"/>
                <c:pt idx="0">
                  <c:v>2024</c:v>
                </c:pt>
                <c:pt idx="1">
                  <c:v>2025</c:v>
                </c:pt>
                <c:pt idx="2">
                  <c:v>2026</c:v>
                </c:pt>
                <c:pt idx="3">
                  <c:v>2027</c:v>
                </c:pt>
                <c:pt idx="4">
                  <c:v>2028</c:v>
                </c:pt>
                <c:pt idx="5">
                  <c:v>2029</c:v>
                </c:pt>
                <c:pt idx="6">
                  <c:v>2030</c:v>
                </c:pt>
              </c:numCache>
            </c:numRef>
          </c:cat>
          <c:val>
            <c:numRef>
              <c:f>Feuil1!$B$14:$H$14</c:f>
              <c:numCache>
                <c:formatCode>_-* #\ ##0_-;\-* #\ ##0_-;_-* "-"??_-;_-@_-</c:formatCode>
                <c:ptCount val="7"/>
                <c:pt idx="0">
                  <c:v>596</c:v>
                </c:pt>
                <c:pt idx="1">
                  <c:v>1250</c:v>
                </c:pt>
                <c:pt idx="2">
                  <c:v>1969.4</c:v>
                </c:pt>
                <c:pt idx="3">
                  <c:v>2760.7400000000002</c:v>
                </c:pt>
                <c:pt idx="4">
                  <c:v>3631.2140000000004</c:v>
                </c:pt>
                <c:pt idx="5">
                  <c:v>4588.7354000000005</c:v>
                </c:pt>
                <c:pt idx="6">
                  <c:v>5642.0089400000015</c:v>
                </c:pt>
              </c:numCache>
            </c:numRef>
          </c:val>
          <c:extLst>
            <c:ext xmlns:c16="http://schemas.microsoft.com/office/drawing/2014/chart" uri="{C3380CC4-5D6E-409C-BE32-E72D297353CC}">
              <c16:uniqueId val="{00000001-48F2-48EB-B13B-3E421FBE0C13}"/>
            </c:ext>
          </c:extLst>
        </c:ser>
        <c:ser>
          <c:idx val="2"/>
          <c:order val="2"/>
          <c:tx>
            <c:strRef>
              <c:f>Feuil1!$A$15</c:f>
              <c:strCache>
                <c:ptCount val="1"/>
                <c:pt idx="0">
                  <c:v>Mobilité lourde</c:v>
                </c:pt>
              </c:strCache>
            </c:strRef>
          </c:tx>
          <c:spPr>
            <a:solidFill>
              <a:schemeClr val="accent4"/>
            </a:solidFill>
            <a:ln>
              <a:noFill/>
            </a:ln>
            <a:effectLst/>
          </c:spPr>
          <c:invertIfNegative val="0"/>
          <c:cat>
            <c:numRef>
              <c:f>Feuil1!$B$12:$H$12</c:f>
              <c:numCache>
                <c:formatCode>General</c:formatCode>
                <c:ptCount val="7"/>
                <c:pt idx="0">
                  <c:v>2024</c:v>
                </c:pt>
                <c:pt idx="1">
                  <c:v>2025</c:v>
                </c:pt>
                <c:pt idx="2">
                  <c:v>2026</c:v>
                </c:pt>
                <c:pt idx="3">
                  <c:v>2027</c:v>
                </c:pt>
                <c:pt idx="4">
                  <c:v>2028</c:v>
                </c:pt>
                <c:pt idx="5">
                  <c:v>2029</c:v>
                </c:pt>
                <c:pt idx="6">
                  <c:v>2030</c:v>
                </c:pt>
              </c:numCache>
            </c:numRef>
          </c:cat>
          <c:val>
            <c:numRef>
              <c:f>Feuil1!$B$15:$H$15</c:f>
              <c:numCache>
                <c:formatCode>General</c:formatCode>
                <c:ptCount val="7"/>
                <c:pt idx="0">
                  <c:v>252</c:v>
                </c:pt>
                <c:pt idx="1">
                  <c:v>715</c:v>
                </c:pt>
                <c:pt idx="2">
                  <c:v>1599</c:v>
                </c:pt>
                <c:pt idx="3">
                  <c:v>2808</c:v>
                </c:pt>
                <c:pt idx="4">
                  <c:v>4413</c:v>
                </c:pt>
                <c:pt idx="5">
                  <c:v>6312</c:v>
                </c:pt>
                <c:pt idx="6">
                  <c:v>8403</c:v>
                </c:pt>
              </c:numCache>
            </c:numRef>
          </c:val>
          <c:extLst>
            <c:ext xmlns:c16="http://schemas.microsoft.com/office/drawing/2014/chart" uri="{C3380CC4-5D6E-409C-BE32-E72D297353CC}">
              <c16:uniqueId val="{00000002-48F2-48EB-B13B-3E421FBE0C13}"/>
            </c:ext>
          </c:extLst>
        </c:ser>
        <c:dLbls>
          <c:showLegendKey val="0"/>
          <c:showVal val="0"/>
          <c:showCatName val="0"/>
          <c:showSerName val="0"/>
          <c:showPercent val="0"/>
          <c:showBubbleSize val="0"/>
        </c:dLbls>
        <c:gapWidth val="219"/>
        <c:overlap val="100"/>
        <c:axId val="630665296"/>
        <c:axId val="630666936"/>
      </c:barChart>
      <c:lineChart>
        <c:grouping val="stacked"/>
        <c:varyColors val="0"/>
        <c:ser>
          <c:idx val="3"/>
          <c:order val="3"/>
          <c:tx>
            <c:strRef>
              <c:f>Feuil1!$A$16</c:f>
              <c:strCache>
                <c:ptCount val="1"/>
                <c:pt idx="0">
                  <c:v>Total</c:v>
                </c:pt>
              </c:strCache>
            </c:strRef>
          </c:tx>
          <c:spPr>
            <a:ln w="28575" cap="rnd">
              <a:solidFill>
                <a:schemeClr val="accent6">
                  <a:lumMod val="60000"/>
                </a:schemeClr>
              </a:solidFill>
              <a:round/>
            </a:ln>
            <a:effectLst/>
          </c:spPr>
          <c:marker>
            <c:symbol val="circle"/>
            <c:size val="5"/>
            <c:spPr>
              <a:solidFill>
                <a:schemeClr val="accent6">
                  <a:lumMod val="60000"/>
                </a:schemeClr>
              </a:solidFill>
              <a:ln w="9525">
                <a:solidFill>
                  <a:schemeClr val="accent6">
                    <a:lumMod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Feuil1!$B$12:$H$12</c:f>
              <c:numCache>
                <c:formatCode>General</c:formatCode>
                <c:ptCount val="7"/>
                <c:pt idx="0">
                  <c:v>2024</c:v>
                </c:pt>
                <c:pt idx="1">
                  <c:v>2025</c:v>
                </c:pt>
                <c:pt idx="2">
                  <c:v>2026</c:v>
                </c:pt>
                <c:pt idx="3">
                  <c:v>2027</c:v>
                </c:pt>
                <c:pt idx="4">
                  <c:v>2028</c:v>
                </c:pt>
                <c:pt idx="5">
                  <c:v>2029</c:v>
                </c:pt>
                <c:pt idx="6">
                  <c:v>2030</c:v>
                </c:pt>
              </c:numCache>
            </c:numRef>
          </c:cat>
          <c:val>
            <c:numRef>
              <c:f>Feuil1!$B$16:$H$16</c:f>
              <c:numCache>
                <c:formatCode>_-* #\ ##0_-;\-* #\ ##0_-;_-* "-"??_-;_-@_-</c:formatCode>
                <c:ptCount val="7"/>
                <c:pt idx="0">
                  <c:v>3908.7999999999997</c:v>
                </c:pt>
                <c:pt idx="1">
                  <c:v>8463.7999999999993</c:v>
                </c:pt>
                <c:pt idx="2">
                  <c:v>13718.999999999998</c:v>
                </c:pt>
                <c:pt idx="3">
                  <c:v>19616.32</c:v>
                </c:pt>
                <c:pt idx="4">
                  <c:v>26368.471999999998</c:v>
                </c:pt>
                <c:pt idx="5">
                  <c:v>33919.339200000002</c:v>
                </c:pt>
                <c:pt idx="6">
                  <c:v>42217.393120000001</c:v>
                </c:pt>
              </c:numCache>
            </c:numRef>
          </c:val>
          <c:smooth val="0"/>
          <c:extLst>
            <c:ext xmlns:c16="http://schemas.microsoft.com/office/drawing/2014/chart" uri="{C3380CC4-5D6E-409C-BE32-E72D297353CC}">
              <c16:uniqueId val="{00000003-48F2-48EB-B13B-3E421FBE0C13}"/>
            </c:ext>
          </c:extLst>
        </c:ser>
        <c:dLbls>
          <c:showLegendKey val="0"/>
          <c:showVal val="0"/>
          <c:showCatName val="0"/>
          <c:showSerName val="0"/>
          <c:showPercent val="0"/>
          <c:showBubbleSize val="0"/>
        </c:dLbls>
        <c:marker val="1"/>
        <c:smooth val="0"/>
        <c:axId val="630665296"/>
        <c:axId val="630666936"/>
      </c:lineChart>
      <c:catAx>
        <c:axId val="63066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30666936"/>
        <c:crosses val="autoZero"/>
        <c:auto val="1"/>
        <c:lblAlgn val="ctr"/>
        <c:lblOffset val="100"/>
        <c:noMultiLvlLbl val="0"/>
      </c:catAx>
      <c:valAx>
        <c:axId val="630666936"/>
        <c:scaling>
          <c:orientation val="minMax"/>
        </c:scaling>
        <c:delete val="0"/>
        <c:axPos val="l"/>
        <c:majorGridlines>
          <c:spPr>
            <a:ln w="9525" cap="flat" cmpd="sng" algn="ctr">
              <a:solidFill>
                <a:schemeClr val="tx1">
                  <a:lumMod val="15000"/>
                  <a:lumOff val="85000"/>
                </a:schemeClr>
              </a:solidFill>
              <a:round/>
            </a:ln>
            <a:effectLst/>
          </c:spPr>
        </c:majorGridlines>
        <c:numFmt formatCode="_-* #\ ##0_-;\-* #\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3066529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a:outerShdw blurRad="50800" dist="76200" dir="2700000" algn="tl" rotWithShape="0">
        <a:prstClr val="black">
          <a:alpha val="40000"/>
        </a:prstClr>
      </a:outerShdw>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7E937FF6-987F-3749-82DA-9B07C53AD111}"/>
              </a:ext>
            </a:extLst>
          </p:cNvPr>
          <p:cNvSpPr>
            <a:spLocks noGrp="1"/>
          </p:cNvSpPr>
          <p:nvPr>
            <p:ph type="hdr" sz="quarter"/>
          </p:nvPr>
        </p:nvSpPr>
        <p:spPr>
          <a:xfrm>
            <a:off x="0" y="0"/>
            <a:ext cx="2955290" cy="49765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3F8432BF-014E-3E42-933E-210DDABA18F2}"/>
              </a:ext>
            </a:extLst>
          </p:cNvPr>
          <p:cNvSpPr>
            <a:spLocks noGrp="1"/>
          </p:cNvSpPr>
          <p:nvPr>
            <p:ph type="dt" sz="quarter" idx="1"/>
          </p:nvPr>
        </p:nvSpPr>
        <p:spPr>
          <a:xfrm>
            <a:off x="3863032" y="0"/>
            <a:ext cx="2955290" cy="497658"/>
          </a:xfrm>
          <a:prstGeom prst="rect">
            <a:avLst/>
          </a:prstGeom>
        </p:spPr>
        <p:txBody>
          <a:bodyPr vert="horz" lIns="91440" tIns="45720" rIns="91440" bIns="45720" rtlCol="0"/>
          <a:lstStyle>
            <a:lvl1pPr algn="r">
              <a:defRPr sz="1200"/>
            </a:lvl1pPr>
          </a:lstStyle>
          <a:p>
            <a:fld id="{29436C93-5828-A747-A08A-5D8DC22E53B0}" type="datetimeFigureOut">
              <a:rPr lang="fr-FR" smtClean="0"/>
              <a:t>23/04/2024</a:t>
            </a:fld>
            <a:endParaRPr lang="fr-FR"/>
          </a:p>
        </p:txBody>
      </p:sp>
      <p:sp>
        <p:nvSpPr>
          <p:cNvPr id="4" name="Espace réservé du pied de page 3">
            <a:extLst>
              <a:ext uri="{FF2B5EF4-FFF2-40B4-BE49-F238E27FC236}">
                <a16:creationId xmlns:a16="http://schemas.microsoft.com/office/drawing/2014/main" id="{666C03DC-2570-BB4E-A302-795AE7F6748E}"/>
              </a:ext>
            </a:extLst>
          </p:cNvPr>
          <p:cNvSpPr>
            <a:spLocks noGrp="1"/>
          </p:cNvSpPr>
          <p:nvPr>
            <p:ph type="ftr" sz="quarter" idx="2"/>
          </p:nvPr>
        </p:nvSpPr>
        <p:spPr>
          <a:xfrm>
            <a:off x="0" y="9421044"/>
            <a:ext cx="2955290" cy="497656"/>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179FA340-6F64-914F-A9F2-3F01D01A3F75}"/>
              </a:ext>
            </a:extLst>
          </p:cNvPr>
          <p:cNvSpPr>
            <a:spLocks noGrp="1"/>
          </p:cNvSpPr>
          <p:nvPr>
            <p:ph type="sldNum" sz="quarter" idx="3"/>
          </p:nvPr>
        </p:nvSpPr>
        <p:spPr>
          <a:xfrm>
            <a:off x="3863032" y="9421044"/>
            <a:ext cx="2955290" cy="497656"/>
          </a:xfrm>
          <a:prstGeom prst="rect">
            <a:avLst/>
          </a:prstGeom>
        </p:spPr>
        <p:txBody>
          <a:bodyPr vert="horz" lIns="91440" tIns="45720" rIns="91440" bIns="45720" rtlCol="0" anchor="b"/>
          <a:lstStyle>
            <a:lvl1pPr algn="r">
              <a:defRPr sz="1200"/>
            </a:lvl1pPr>
          </a:lstStyle>
          <a:p>
            <a:fld id="{83B65584-3978-D841-B0E4-0BB7DA82D5D6}" type="slidenum">
              <a:rPr lang="fr-FR" smtClean="0"/>
              <a:t>‹N°›</a:t>
            </a:fld>
            <a:endParaRPr lang="fr-FR"/>
          </a:p>
        </p:txBody>
      </p:sp>
    </p:spTree>
    <p:extLst>
      <p:ext uri="{BB962C8B-B14F-4D97-AF65-F5344CB8AC3E}">
        <p14:creationId xmlns:p14="http://schemas.microsoft.com/office/powerpoint/2010/main" val="12182477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55290" cy="49765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63032" y="0"/>
            <a:ext cx="2955290" cy="497658"/>
          </a:xfrm>
          <a:prstGeom prst="rect">
            <a:avLst/>
          </a:prstGeom>
        </p:spPr>
        <p:txBody>
          <a:bodyPr vert="horz" lIns="91440" tIns="45720" rIns="91440" bIns="45720" rtlCol="0"/>
          <a:lstStyle>
            <a:lvl1pPr algn="r">
              <a:defRPr sz="1200"/>
            </a:lvl1pPr>
          </a:lstStyle>
          <a:p>
            <a:fld id="{DD01DDAD-6DA4-4C18-98F0-5DAE3E04A92C}" type="datetimeFigureOut">
              <a:rPr lang="fr-FR" smtClean="0"/>
              <a:t>23/04/2024</a:t>
            </a:fld>
            <a:endParaRPr lang="fr-FR"/>
          </a:p>
        </p:txBody>
      </p:sp>
      <p:sp>
        <p:nvSpPr>
          <p:cNvPr id="4" name="Espace réservé de l'image des diapositives 3"/>
          <p:cNvSpPr>
            <a:spLocks noGrp="1" noRot="1" noChangeAspect="1"/>
          </p:cNvSpPr>
          <p:nvPr>
            <p:ph type="sldImg" idx="2"/>
          </p:nvPr>
        </p:nvSpPr>
        <p:spPr>
          <a:xfrm>
            <a:off x="434975" y="1239838"/>
            <a:ext cx="5949950" cy="334803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1990" y="4773374"/>
            <a:ext cx="5455920" cy="3905488"/>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1044"/>
            <a:ext cx="2955290" cy="497656"/>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63032" y="9421044"/>
            <a:ext cx="2955290" cy="497656"/>
          </a:xfrm>
          <a:prstGeom prst="rect">
            <a:avLst/>
          </a:prstGeom>
        </p:spPr>
        <p:txBody>
          <a:bodyPr vert="horz" lIns="91440" tIns="45720" rIns="91440" bIns="45720" rtlCol="0" anchor="b"/>
          <a:lstStyle>
            <a:lvl1pPr algn="r">
              <a:defRPr sz="1200"/>
            </a:lvl1pPr>
          </a:lstStyle>
          <a:p>
            <a:fld id="{B47C7F45-C8B6-48F3-9E99-449A597CF57D}" type="slidenum">
              <a:rPr lang="fr-FR" smtClean="0"/>
              <a:t>‹N°›</a:t>
            </a:fld>
            <a:endParaRPr lang="fr-FR"/>
          </a:p>
        </p:txBody>
      </p:sp>
    </p:spTree>
    <p:extLst>
      <p:ext uri="{BB962C8B-B14F-4D97-AF65-F5344CB8AC3E}">
        <p14:creationId xmlns:p14="http://schemas.microsoft.com/office/powerpoint/2010/main" val="39213458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CAB6105-48B8-4691-ADD2-FE6B77A68D21}" type="slidenum">
              <a:rPr lang="fr-FR" smtClean="0"/>
              <a:pPr/>
              <a:t>1</a:t>
            </a:fld>
            <a:endParaRPr lang="fr-FR"/>
          </a:p>
        </p:txBody>
      </p:sp>
    </p:spTree>
    <p:extLst>
      <p:ext uri="{BB962C8B-B14F-4D97-AF65-F5344CB8AC3E}">
        <p14:creationId xmlns:p14="http://schemas.microsoft.com/office/powerpoint/2010/main" val="38727635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1" kern="1200" dirty="0" smtClean="0">
                <a:solidFill>
                  <a:schemeClr val="tx1"/>
                </a:solidFill>
                <a:effectLst/>
                <a:latin typeface="+mn-lt"/>
                <a:ea typeface="+mn-ea"/>
                <a:cs typeface="+mn-cs"/>
              </a:rPr>
              <a:t/>
            </a:r>
            <a:br>
              <a:rPr lang="fr-FR" sz="1200" b="1" kern="1200" dirty="0" smtClean="0">
                <a:solidFill>
                  <a:schemeClr val="tx1"/>
                </a:solidFill>
                <a:effectLst/>
                <a:latin typeface="+mn-lt"/>
                <a:ea typeface="+mn-ea"/>
                <a:cs typeface="+mn-cs"/>
              </a:rPr>
            </a:br>
            <a:r>
              <a:rPr lang="fr-FR" baseline="0" dirty="0" smtClean="0"/>
              <a:t>Donner la ligne de conduite sur les hypothèses (2/3 1/3 et pourquoi).</a:t>
            </a:r>
          </a:p>
          <a:p>
            <a:endParaRPr lang="fr-FR" dirty="0"/>
          </a:p>
        </p:txBody>
      </p:sp>
      <p:sp>
        <p:nvSpPr>
          <p:cNvPr id="4" name="Espace réservé du numéro de diapositive 3"/>
          <p:cNvSpPr>
            <a:spLocks noGrp="1"/>
          </p:cNvSpPr>
          <p:nvPr>
            <p:ph type="sldNum" sz="quarter" idx="10"/>
          </p:nvPr>
        </p:nvSpPr>
        <p:spPr/>
        <p:txBody>
          <a:bodyPr/>
          <a:lstStyle/>
          <a:p>
            <a:fld id="{B47C7F45-C8B6-48F3-9E99-449A597CF57D}" type="slidenum">
              <a:rPr lang="fr-FR" smtClean="0"/>
              <a:t>16</a:t>
            </a:fld>
            <a:endParaRPr lang="fr-FR"/>
          </a:p>
        </p:txBody>
      </p:sp>
    </p:spTree>
    <p:extLst>
      <p:ext uri="{BB962C8B-B14F-4D97-AF65-F5344CB8AC3E}">
        <p14:creationId xmlns:p14="http://schemas.microsoft.com/office/powerpoint/2010/main" val="35701330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normAutofit/>
          </a:bodyPr>
          <a:lstStyle/>
          <a:p>
            <a:r>
              <a:rPr lang="fr-FR" sz="1200" noProof="0" dirty="0">
                <a:solidFill>
                  <a:srgbClr val="575757"/>
                </a:solidFill>
                <a:latin typeface="+mn-lt"/>
              </a:rPr>
              <a:t>On pourrait aussi seulement faire une slide de comparaison</a:t>
            </a:r>
            <a:r>
              <a:rPr lang="fr-FR" sz="1200" baseline="0" noProof="0" dirty="0">
                <a:solidFill>
                  <a:srgbClr val="575757"/>
                </a:solidFill>
                <a:latin typeface="+mn-lt"/>
              </a:rPr>
              <a:t> entre les 2 modes de financement (donc slides 5 et 6) (un peu équivalent à ce que nous a présenté Olivier ce matin), ce qui simplifierait </a:t>
            </a:r>
            <a:r>
              <a:rPr lang="fr-FR" sz="1200" baseline="0" noProof="0" dirty="0" err="1">
                <a:solidFill>
                  <a:srgbClr val="575757"/>
                </a:solidFill>
                <a:latin typeface="+mn-lt"/>
              </a:rPr>
              <a:t>bcp</a:t>
            </a:r>
            <a:r>
              <a:rPr lang="fr-FR" sz="1200" baseline="0" noProof="0" dirty="0">
                <a:solidFill>
                  <a:srgbClr val="575757"/>
                </a:solidFill>
                <a:latin typeface="+mn-lt"/>
              </a:rPr>
              <a:t> la chose) PUIS évoquer le dispositif d’avance de financement prévu par loi Climat et résilience, on attend le décret</a:t>
            </a:r>
            <a:endParaRPr lang="fr-FR" sz="1200" noProof="0" dirty="0">
              <a:solidFill>
                <a:srgbClr val="575757"/>
              </a:solidFill>
              <a:latin typeface="+mn-lt"/>
            </a:endParaRP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930153-E03C-43B4-92E4-B93E7E53005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1820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smtClean="0"/>
              <a:t>A évoquer</a:t>
            </a:r>
            <a:r>
              <a:rPr lang="fr-FR" baseline="0" dirty="0" smtClean="0"/>
              <a:t> à l’oral : calage des interactions avec les autres fonctions centrales (DI, DIR2S)</a:t>
            </a:r>
            <a:endParaRPr lang="fr-FR" dirty="0"/>
          </a:p>
        </p:txBody>
      </p:sp>
      <p:sp>
        <p:nvSpPr>
          <p:cNvPr id="4" name="Espace réservé du numéro de diapositive 3"/>
          <p:cNvSpPr>
            <a:spLocks noGrp="1"/>
          </p:cNvSpPr>
          <p:nvPr>
            <p:ph type="sldNum" sz="quarter" idx="10"/>
          </p:nvPr>
        </p:nvSpPr>
        <p:spPr/>
        <p:txBody>
          <a:bodyPr/>
          <a:lstStyle/>
          <a:p>
            <a:fld id="{B47C7F45-C8B6-48F3-9E99-449A597CF57D}" type="slidenum">
              <a:rPr lang="fr-FR" smtClean="0"/>
              <a:t>22</a:t>
            </a:fld>
            <a:endParaRPr lang="fr-FR"/>
          </a:p>
        </p:txBody>
      </p:sp>
    </p:spTree>
    <p:extLst>
      <p:ext uri="{BB962C8B-B14F-4D97-AF65-F5344CB8AC3E}">
        <p14:creationId xmlns:p14="http://schemas.microsoft.com/office/powerpoint/2010/main" val="36507085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7C7F45-C8B6-48F3-9E99-449A597CF57D}" type="slidenum">
              <a:rPr lang="fr-FR" smtClean="0"/>
              <a:t>3</a:t>
            </a:fld>
            <a:endParaRPr lang="fr-FR"/>
          </a:p>
        </p:txBody>
      </p:sp>
    </p:spTree>
    <p:extLst>
      <p:ext uri="{BB962C8B-B14F-4D97-AF65-F5344CB8AC3E}">
        <p14:creationId xmlns:p14="http://schemas.microsoft.com/office/powerpoint/2010/main" val="3782641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7C7F45-C8B6-48F3-9E99-449A597CF57D}" type="slidenum">
              <a:rPr lang="fr-FR" smtClean="0"/>
              <a:t>4</a:t>
            </a:fld>
            <a:endParaRPr lang="fr-FR"/>
          </a:p>
        </p:txBody>
      </p:sp>
    </p:spTree>
    <p:extLst>
      <p:ext uri="{BB962C8B-B14F-4D97-AF65-F5344CB8AC3E}">
        <p14:creationId xmlns:p14="http://schemas.microsoft.com/office/powerpoint/2010/main" val="34814440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D63EE202-9ABF-424E-8F84-5D5156128826}" type="slidenum">
              <a:rPr lang="fr-FR" smtClean="0"/>
              <a:t>5</a:t>
            </a:fld>
            <a:endParaRPr lang="fr-FR"/>
          </a:p>
        </p:txBody>
      </p:sp>
    </p:spTree>
    <p:extLst>
      <p:ext uri="{BB962C8B-B14F-4D97-AF65-F5344CB8AC3E}">
        <p14:creationId xmlns:p14="http://schemas.microsoft.com/office/powerpoint/2010/main" val="679903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D63EE202-9ABF-424E-8F84-5D5156128826}" type="slidenum">
              <a:rPr lang="fr-FR" smtClean="0"/>
              <a:t>6</a:t>
            </a:fld>
            <a:endParaRPr lang="fr-FR"/>
          </a:p>
        </p:txBody>
      </p:sp>
    </p:spTree>
    <p:extLst>
      <p:ext uri="{BB962C8B-B14F-4D97-AF65-F5344CB8AC3E}">
        <p14:creationId xmlns:p14="http://schemas.microsoft.com/office/powerpoint/2010/main" val="2417548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8AA70B-071F-F14D-A37D-C4695CEECE8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20249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B47C7F45-C8B6-48F3-9E99-449A597CF57D}"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84500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7C7F45-C8B6-48F3-9E99-449A597CF57D}" type="slidenum">
              <a:rPr lang="fr-FR" smtClean="0"/>
              <a:t>12</a:t>
            </a:fld>
            <a:endParaRPr lang="fr-FR"/>
          </a:p>
        </p:txBody>
      </p:sp>
    </p:spTree>
    <p:extLst>
      <p:ext uri="{BB962C8B-B14F-4D97-AF65-F5344CB8AC3E}">
        <p14:creationId xmlns:p14="http://schemas.microsoft.com/office/powerpoint/2010/main" val="22140363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47C7F45-C8B6-48F3-9E99-449A597CF57D}" type="slidenum">
              <a:rPr lang="fr-FR" smtClean="0"/>
              <a:t>13</a:t>
            </a:fld>
            <a:endParaRPr lang="fr-FR"/>
          </a:p>
        </p:txBody>
      </p:sp>
    </p:spTree>
    <p:extLst>
      <p:ext uri="{BB962C8B-B14F-4D97-AF65-F5344CB8AC3E}">
        <p14:creationId xmlns:p14="http://schemas.microsoft.com/office/powerpoint/2010/main" val="11579163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4.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uverture 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248" y="461010"/>
            <a:ext cx="7320632" cy="2161361"/>
          </a:xfrm>
        </p:spPr>
        <p:txBody>
          <a:bodyPr anchor="b"/>
          <a:lstStyle>
            <a:lvl1pPr algn="l">
              <a:lnSpc>
                <a:spcPct val="76000"/>
              </a:lnSpc>
              <a:defRPr sz="6000">
                <a:solidFill>
                  <a:schemeClr val="tx2"/>
                </a:solidFill>
              </a:defRPr>
            </a:lvl1pPr>
          </a:lstStyle>
          <a:p>
            <a:r>
              <a:rPr lang="fr-FR"/>
              <a:t>Titre de la </a:t>
            </a:r>
            <a:br>
              <a:rPr lang="fr-FR"/>
            </a:br>
            <a:r>
              <a:rPr lang="fr-FR"/>
              <a:t>présentation </a:t>
            </a:r>
            <a:br>
              <a:rPr lang="fr-FR"/>
            </a:br>
            <a:r>
              <a:rPr lang="fr-FR"/>
              <a:t>sur trois lignes</a:t>
            </a:r>
            <a:endParaRPr lang="en-US"/>
          </a:p>
        </p:txBody>
      </p:sp>
      <p:sp>
        <p:nvSpPr>
          <p:cNvPr id="3" name="Subtitle 2"/>
          <p:cNvSpPr>
            <a:spLocks noGrp="1"/>
          </p:cNvSpPr>
          <p:nvPr>
            <p:ph type="subTitle" idx="1" hasCustomPrompt="1"/>
          </p:nvPr>
        </p:nvSpPr>
        <p:spPr>
          <a:xfrm>
            <a:off x="494948" y="2854145"/>
            <a:ext cx="6432902" cy="615553"/>
          </a:xfrm>
        </p:spPr>
        <p:txBody>
          <a:bodyPr/>
          <a:lstStyle>
            <a:lvl1pPr marL="0" indent="0" algn="l">
              <a:lnSpc>
                <a:spcPct val="80000"/>
              </a:lnSpc>
              <a:buNone/>
              <a:defRPr sz="2500">
                <a:solidFill>
                  <a:schemeClr val="tx2"/>
                </a:solidFill>
                <a:latin typeface="Enedis Light" pitchFamily="50"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Sous-titre de la présentation </a:t>
            </a:r>
            <a:br>
              <a:rPr lang="fr-FR"/>
            </a:br>
            <a:r>
              <a:rPr lang="fr-FR"/>
              <a:t>sur deux lignes</a:t>
            </a:r>
            <a:endParaRPr lang="en-US"/>
          </a:p>
        </p:txBody>
      </p:sp>
      <p:grpSp>
        <p:nvGrpSpPr>
          <p:cNvPr id="6" name="Graphique 10">
            <a:extLst>
              <a:ext uri="{FF2B5EF4-FFF2-40B4-BE49-F238E27FC236}">
                <a16:creationId xmlns:a16="http://schemas.microsoft.com/office/drawing/2014/main" id="{3270F1C2-39F4-4808-A348-572B35FDA73D}"/>
              </a:ext>
            </a:extLst>
          </p:cNvPr>
          <p:cNvGrpSpPr/>
          <p:nvPr/>
        </p:nvGrpSpPr>
        <p:grpSpPr>
          <a:xfrm>
            <a:off x="513998" y="5991475"/>
            <a:ext cx="1716673" cy="346912"/>
            <a:chOff x="513998" y="5991475"/>
            <a:chExt cx="1716673" cy="346912"/>
          </a:xfrm>
        </p:grpSpPr>
        <p:sp>
          <p:nvSpPr>
            <p:cNvPr id="7" name="Forme libre : forme 6">
              <a:extLst>
                <a:ext uri="{FF2B5EF4-FFF2-40B4-BE49-F238E27FC236}">
                  <a16:creationId xmlns:a16="http://schemas.microsoft.com/office/drawing/2014/main" id="{91D61045-1864-4893-AB9C-647365F6D11E}"/>
                </a:ext>
              </a:extLst>
            </p:cNvPr>
            <p:cNvSpPr/>
            <p:nvPr/>
          </p:nvSpPr>
          <p:spPr>
            <a:xfrm>
              <a:off x="1129494" y="5991488"/>
              <a:ext cx="373834" cy="346899"/>
            </a:xfrm>
            <a:custGeom>
              <a:avLst/>
              <a:gdLst>
                <a:gd name="connsiteX0" fmla="*/ 173802 w 373834"/>
                <a:gd name="connsiteY0" fmla="*/ 283740 h 346899"/>
                <a:gd name="connsiteX1" fmla="*/ 108846 w 373834"/>
                <a:gd name="connsiteY1" fmla="*/ 223698 h 346899"/>
                <a:gd name="connsiteX2" fmla="*/ 108987 w 373834"/>
                <a:gd name="connsiteY2" fmla="*/ 212802 h 346899"/>
                <a:gd name="connsiteX3" fmla="*/ 247493 w 373834"/>
                <a:gd name="connsiteY3" fmla="*/ 212802 h 346899"/>
                <a:gd name="connsiteX4" fmla="*/ 334413 w 373834"/>
                <a:gd name="connsiteY4" fmla="*/ 132012 h 346899"/>
                <a:gd name="connsiteX5" fmla="*/ 334413 w 373834"/>
                <a:gd name="connsiteY5" fmla="*/ 80827 h 346899"/>
                <a:gd name="connsiteX6" fmla="*/ 247493 w 373834"/>
                <a:gd name="connsiteY6" fmla="*/ 37 h 346899"/>
                <a:gd name="connsiteX7" fmla="*/ 126637 w 373834"/>
                <a:gd name="connsiteY7" fmla="*/ 37 h 346899"/>
                <a:gd name="connsiteX8" fmla="*/ 106457 w 373834"/>
                <a:gd name="connsiteY8" fmla="*/ 1579 h 346899"/>
                <a:gd name="connsiteX9" fmla="*/ 39864 w 373834"/>
                <a:gd name="connsiteY9" fmla="*/ 80827 h 346899"/>
                <a:gd name="connsiteX10" fmla="*/ 39864 w 373834"/>
                <a:gd name="connsiteY10" fmla="*/ 110539 h 346899"/>
                <a:gd name="connsiteX11" fmla="*/ 50958 w 373834"/>
                <a:gd name="connsiteY11" fmla="*/ 122881 h 346899"/>
                <a:gd name="connsiteX12" fmla="*/ 97868 w 373834"/>
                <a:gd name="connsiteY12" fmla="*/ 122881 h 346899"/>
                <a:gd name="connsiteX13" fmla="*/ 108974 w 373834"/>
                <a:gd name="connsiteY13" fmla="*/ 110539 h 346899"/>
                <a:gd name="connsiteX14" fmla="*/ 108974 w 373834"/>
                <a:gd name="connsiteY14" fmla="*/ 91359 h 346899"/>
                <a:gd name="connsiteX15" fmla="*/ 139769 w 373834"/>
                <a:gd name="connsiteY15" fmla="*/ 63240 h 346899"/>
                <a:gd name="connsiteX16" fmla="*/ 234533 w 373834"/>
                <a:gd name="connsiteY16" fmla="*/ 63240 h 346899"/>
                <a:gd name="connsiteX17" fmla="*/ 265335 w 373834"/>
                <a:gd name="connsiteY17" fmla="*/ 91359 h 346899"/>
                <a:gd name="connsiteX18" fmla="*/ 265335 w 373834"/>
                <a:gd name="connsiteY18" fmla="*/ 121741 h 346899"/>
                <a:gd name="connsiteX19" fmla="*/ 234533 w 373834"/>
                <a:gd name="connsiteY19" fmla="*/ 149834 h 346899"/>
                <a:gd name="connsiteX20" fmla="*/ 250 w 373834"/>
                <a:gd name="connsiteY20" fmla="*/ 149834 h 346899"/>
                <a:gd name="connsiteX21" fmla="*/ 250 w 373834"/>
                <a:gd name="connsiteY21" fmla="*/ 212802 h 346899"/>
                <a:gd name="connsiteX22" fmla="*/ 39698 w 373834"/>
                <a:gd name="connsiteY22" fmla="*/ 212802 h 346899"/>
                <a:gd name="connsiteX23" fmla="*/ 39698 w 373834"/>
                <a:gd name="connsiteY23" fmla="*/ 223685 h 346899"/>
                <a:gd name="connsiteX24" fmla="*/ 174031 w 373834"/>
                <a:gd name="connsiteY24" fmla="*/ 346937 h 346899"/>
                <a:gd name="connsiteX25" fmla="*/ 374084 w 373834"/>
                <a:gd name="connsiteY25" fmla="*/ 346937 h 346899"/>
                <a:gd name="connsiteX26" fmla="*/ 374084 w 373834"/>
                <a:gd name="connsiteY26" fmla="*/ 283734 h 346899"/>
                <a:gd name="connsiteX27" fmla="*/ 173802 w 373834"/>
                <a:gd name="connsiteY27" fmla="*/ 283740 h 346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3834" h="346899">
                  <a:moveTo>
                    <a:pt x="173802" y="283740"/>
                  </a:moveTo>
                  <a:cubicBezTo>
                    <a:pt x="137985" y="283740"/>
                    <a:pt x="108846" y="256991"/>
                    <a:pt x="108846" y="223698"/>
                  </a:cubicBezTo>
                  <a:lnTo>
                    <a:pt x="108987" y="212802"/>
                  </a:lnTo>
                  <a:lnTo>
                    <a:pt x="247493" y="212802"/>
                  </a:lnTo>
                  <a:cubicBezTo>
                    <a:pt x="295429" y="212802"/>
                    <a:pt x="334413" y="176564"/>
                    <a:pt x="334413" y="132012"/>
                  </a:cubicBezTo>
                  <a:lnTo>
                    <a:pt x="334413" y="80827"/>
                  </a:lnTo>
                  <a:cubicBezTo>
                    <a:pt x="334413" y="36274"/>
                    <a:pt x="295429" y="37"/>
                    <a:pt x="247493" y="37"/>
                  </a:cubicBezTo>
                  <a:lnTo>
                    <a:pt x="126637" y="37"/>
                  </a:lnTo>
                  <a:cubicBezTo>
                    <a:pt x="119921" y="37"/>
                    <a:pt x="113135" y="101"/>
                    <a:pt x="106457" y="1579"/>
                  </a:cubicBezTo>
                  <a:cubicBezTo>
                    <a:pt x="67161" y="10302"/>
                    <a:pt x="39864" y="43290"/>
                    <a:pt x="39864" y="80827"/>
                  </a:cubicBezTo>
                  <a:lnTo>
                    <a:pt x="39864" y="110539"/>
                  </a:lnTo>
                  <a:cubicBezTo>
                    <a:pt x="39864" y="117338"/>
                    <a:pt x="44834" y="122881"/>
                    <a:pt x="50958" y="122881"/>
                  </a:cubicBezTo>
                  <a:lnTo>
                    <a:pt x="97868" y="122881"/>
                  </a:lnTo>
                  <a:cubicBezTo>
                    <a:pt x="103997" y="122881"/>
                    <a:pt x="108974" y="117338"/>
                    <a:pt x="108974" y="110539"/>
                  </a:cubicBezTo>
                  <a:lnTo>
                    <a:pt x="108974" y="91359"/>
                  </a:lnTo>
                  <a:cubicBezTo>
                    <a:pt x="108974" y="75856"/>
                    <a:pt x="122788" y="63240"/>
                    <a:pt x="139769" y="63240"/>
                  </a:cubicBezTo>
                  <a:lnTo>
                    <a:pt x="234533" y="63240"/>
                  </a:lnTo>
                  <a:cubicBezTo>
                    <a:pt x="251520" y="63240"/>
                    <a:pt x="265335" y="75856"/>
                    <a:pt x="265335" y="91359"/>
                  </a:cubicBezTo>
                  <a:lnTo>
                    <a:pt x="265335" y="121741"/>
                  </a:lnTo>
                  <a:cubicBezTo>
                    <a:pt x="265335" y="137231"/>
                    <a:pt x="251520" y="149834"/>
                    <a:pt x="234533" y="149834"/>
                  </a:cubicBezTo>
                  <a:lnTo>
                    <a:pt x="250" y="149834"/>
                  </a:lnTo>
                  <a:lnTo>
                    <a:pt x="250" y="212802"/>
                  </a:lnTo>
                  <a:lnTo>
                    <a:pt x="39698" y="212802"/>
                  </a:lnTo>
                  <a:lnTo>
                    <a:pt x="39698" y="223685"/>
                  </a:lnTo>
                  <a:cubicBezTo>
                    <a:pt x="39698" y="291871"/>
                    <a:pt x="100130" y="346937"/>
                    <a:pt x="174031" y="346937"/>
                  </a:cubicBezTo>
                  <a:lnTo>
                    <a:pt x="374084" y="346937"/>
                  </a:lnTo>
                  <a:lnTo>
                    <a:pt x="374084" y="283734"/>
                  </a:lnTo>
                  <a:lnTo>
                    <a:pt x="173802" y="283740"/>
                  </a:lnTo>
                  <a:close/>
                </a:path>
              </a:pathLst>
            </a:custGeom>
            <a:solidFill>
              <a:srgbClr val="96CD32"/>
            </a:solidFill>
            <a:ln w="6362" cap="flat">
              <a:noFill/>
              <a:prstDash val="solid"/>
              <a:round/>
            </a:ln>
          </p:spPr>
          <p:txBody>
            <a:bodyPr rtlCol="0" anchor="ctr"/>
            <a:lstStyle/>
            <a:p>
              <a:endParaRPr lang="fr-FR"/>
            </a:p>
          </p:txBody>
        </p:sp>
        <p:sp>
          <p:nvSpPr>
            <p:cNvPr id="8" name="Forme libre : forme 7">
              <a:extLst>
                <a:ext uri="{FF2B5EF4-FFF2-40B4-BE49-F238E27FC236}">
                  <a16:creationId xmlns:a16="http://schemas.microsoft.com/office/drawing/2014/main" id="{90266735-E994-4E7C-84F7-3430D095B16A}"/>
                </a:ext>
              </a:extLst>
            </p:cNvPr>
            <p:cNvSpPr/>
            <p:nvPr/>
          </p:nvSpPr>
          <p:spPr>
            <a:xfrm>
              <a:off x="513998" y="5991475"/>
              <a:ext cx="1716673" cy="346905"/>
            </a:xfrm>
            <a:custGeom>
              <a:avLst/>
              <a:gdLst>
                <a:gd name="connsiteX0" fmla="*/ 1386323 w 1716673"/>
                <a:gd name="connsiteY0" fmla="*/ 26425 h 346905"/>
                <a:gd name="connsiteX1" fmla="*/ 1386221 w 1716673"/>
                <a:gd name="connsiteY1" fmla="*/ 12407 h 346905"/>
                <a:gd name="connsiteX2" fmla="*/ 1375114 w 1716673"/>
                <a:gd name="connsiteY2" fmla="*/ 78 h 346905"/>
                <a:gd name="connsiteX3" fmla="*/ 1328351 w 1716673"/>
                <a:gd name="connsiteY3" fmla="*/ 78 h 346905"/>
                <a:gd name="connsiteX4" fmla="*/ 1317245 w 1716673"/>
                <a:gd name="connsiteY4" fmla="*/ 12407 h 346905"/>
                <a:gd name="connsiteX5" fmla="*/ 1317245 w 1716673"/>
                <a:gd name="connsiteY5" fmla="*/ 26425 h 346905"/>
                <a:gd name="connsiteX6" fmla="*/ 1317251 w 1716673"/>
                <a:gd name="connsiteY6" fmla="*/ 26425 h 346905"/>
                <a:gd name="connsiteX7" fmla="*/ 1317353 w 1716673"/>
                <a:gd name="connsiteY7" fmla="*/ 50976 h 346905"/>
                <a:gd name="connsiteX8" fmla="*/ 1328459 w 1716673"/>
                <a:gd name="connsiteY8" fmla="*/ 63306 h 346905"/>
                <a:gd name="connsiteX9" fmla="*/ 1375223 w 1716673"/>
                <a:gd name="connsiteY9" fmla="*/ 63306 h 346905"/>
                <a:gd name="connsiteX10" fmla="*/ 1386329 w 1716673"/>
                <a:gd name="connsiteY10" fmla="*/ 50976 h 346905"/>
                <a:gd name="connsiteX11" fmla="*/ 1386329 w 1716673"/>
                <a:gd name="connsiteY11" fmla="*/ 26425 h 346905"/>
                <a:gd name="connsiteX12" fmla="*/ 1386323 w 1716673"/>
                <a:gd name="connsiteY12" fmla="*/ 26425 h 346905"/>
                <a:gd name="connsiteX13" fmla="*/ 1386323 w 1716673"/>
                <a:gd name="connsiteY13" fmla="*/ 218602 h 346905"/>
                <a:gd name="connsiteX14" fmla="*/ 1386221 w 1716673"/>
                <a:gd name="connsiteY14" fmla="*/ 102640 h 346905"/>
                <a:gd name="connsiteX15" fmla="*/ 1375114 w 1716673"/>
                <a:gd name="connsiteY15" fmla="*/ 90310 h 346905"/>
                <a:gd name="connsiteX16" fmla="*/ 1328351 w 1716673"/>
                <a:gd name="connsiteY16" fmla="*/ 90310 h 346905"/>
                <a:gd name="connsiteX17" fmla="*/ 1317245 w 1716673"/>
                <a:gd name="connsiteY17" fmla="*/ 102640 h 346905"/>
                <a:gd name="connsiteX18" fmla="*/ 1317245 w 1716673"/>
                <a:gd name="connsiteY18" fmla="*/ 218602 h 346905"/>
                <a:gd name="connsiteX19" fmla="*/ 1317251 w 1716673"/>
                <a:gd name="connsiteY19" fmla="*/ 218602 h 346905"/>
                <a:gd name="connsiteX20" fmla="*/ 1317353 w 1716673"/>
                <a:gd name="connsiteY20" fmla="*/ 334558 h 346905"/>
                <a:gd name="connsiteX21" fmla="*/ 1328459 w 1716673"/>
                <a:gd name="connsiteY21" fmla="*/ 346888 h 346905"/>
                <a:gd name="connsiteX22" fmla="*/ 1375223 w 1716673"/>
                <a:gd name="connsiteY22" fmla="*/ 346888 h 346905"/>
                <a:gd name="connsiteX23" fmla="*/ 1386329 w 1716673"/>
                <a:gd name="connsiteY23" fmla="*/ 334558 h 346905"/>
                <a:gd name="connsiteX24" fmla="*/ 1386329 w 1716673"/>
                <a:gd name="connsiteY24" fmla="*/ 218602 h 346905"/>
                <a:gd name="connsiteX25" fmla="*/ 1386323 w 1716673"/>
                <a:gd name="connsiteY25" fmla="*/ 218602 h 346905"/>
                <a:gd name="connsiteX26" fmla="*/ 1151339 w 1716673"/>
                <a:gd name="connsiteY26" fmla="*/ 78 h 346905"/>
                <a:gd name="connsiteX27" fmla="*/ 1000796 w 1716673"/>
                <a:gd name="connsiteY27" fmla="*/ 78 h 346905"/>
                <a:gd name="connsiteX28" fmla="*/ 989683 w 1716673"/>
                <a:gd name="connsiteY28" fmla="*/ 12439 h 346905"/>
                <a:gd name="connsiteX29" fmla="*/ 989683 w 1716673"/>
                <a:gd name="connsiteY29" fmla="*/ 216448 h 346905"/>
                <a:gd name="connsiteX30" fmla="*/ 1000776 w 1716673"/>
                <a:gd name="connsiteY30" fmla="*/ 228791 h 346905"/>
                <a:gd name="connsiteX31" fmla="*/ 1047636 w 1716673"/>
                <a:gd name="connsiteY31" fmla="*/ 228791 h 346905"/>
                <a:gd name="connsiteX32" fmla="*/ 1058742 w 1716673"/>
                <a:gd name="connsiteY32" fmla="*/ 216448 h 346905"/>
                <a:gd name="connsiteX33" fmla="*/ 1058806 w 1716673"/>
                <a:gd name="connsiteY33" fmla="*/ 63274 h 346905"/>
                <a:gd name="connsiteX34" fmla="*/ 1143597 w 1716673"/>
                <a:gd name="connsiteY34" fmla="*/ 63306 h 346905"/>
                <a:gd name="connsiteX35" fmla="*/ 1208559 w 1716673"/>
                <a:gd name="connsiteY35" fmla="*/ 123731 h 346905"/>
                <a:gd name="connsiteX36" fmla="*/ 1208559 w 1716673"/>
                <a:gd name="connsiteY36" fmla="*/ 235124 h 346905"/>
                <a:gd name="connsiteX37" fmla="*/ 1143597 w 1716673"/>
                <a:gd name="connsiteY37" fmla="*/ 283634 h 346905"/>
                <a:gd name="connsiteX38" fmla="*/ 989683 w 1716673"/>
                <a:gd name="connsiteY38" fmla="*/ 283793 h 346905"/>
                <a:gd name="connsiteX39" fmla="*/ 989683 w 1716673"/>
                <a:gd name="connsiteY39" fmla="*/ 346983 h 346905"/>
                <a:gd name="connsiteX40" fmla="*/ 1143597 w 1716673"/>
                <a:gd name="connsiteY40" fmla="*/ 346888 h 346905"/>
                <a:gd name="connsiteX41" fmla="*/ 1277624 w 1716673"/>
                <a:gd name="connsiteY41" fmla="*/ 235124 h 346905"/>
                <a:gd name="connsiteX42" fmla="*/ 1277624 w 1716673"/>
                <a:gd name="connsiteY42" fmla="*/ 123004 h 346905"/>
                <a:gd name="connsiteX43" fmla="*/ 1151339 w 1716673"/>
                <a:gd name="connsiteY43" fmla="*/ 78 h 346905"/>
                <a:gd name="connsiteX44" fmla="*/ 1717026 w 1716673"/>
                <a:gd name="connsiteY44" fmla="*/ 227440 h 346905"/>
                <a:gd name="connsiteX45" fmla="*/ 1716694 w 1716673"/>
                <a:gd name="connsiteY45" fmla="*/ 217608 h 346905"/>
                <a:gd name="connsiteX46" fmla="*/ 1631712 w 1716673"/>
                <a:gd name="connsiteY46" fmla="*/ 149881 h 346905"/>
                <a:gd name="connsiteX47" fmla="*/ 1527881 w 1716673"/>
                <a:gd name="connsiteY47" fmla="*/ 149881 h 346905"/>
                <a:gd name="connsiteX48" fmla="*/ 1525218 w 1716673"/>
                <a:gd name="connsiteY48" fmla="*/ 149875 h 346905"/>
                <a:gd name="connsiteX49" fmla="*/ 1495066 w 1716673"/>
                <a:gd name="connsiteY49" fmla="*/ 117040 h 346905"/>
                <a:gd name="connsiteX50" fmla="*/ 1495168 w 1716673"/>
                <a:gd name="connsiteY50" fmla="*/ 93477 h 346905"/>
                <a:gd name="connsiteX51" fmla="*/ 1528002 w 1716673"/>
                <a:gd name="connsiteY51" fmla="*/ 63331 h 346905"/>
                <a:gd name="connsiteX52" fmla="*/ 1568980 w 1716673"/>
                <a:gd name="connsiteY52" fmla="*/ 63331 h 346905"/>
                <a:gd name="connsiteX53" fmla="*/ 1569382 w 1716673"/>
                <a:gd name="connsiteY53" fmla="*/ 63344 h 346905"/>
                <a:gd name="connsiteX54" fmla="*/ 1672932 w 1716673"/>
                <a:gd name="connsiteY54" fmla="*/ 63344 h 346905"/>
                <a:gd name="connsiteX55" fmla="*/ 1684599 w 1716673"/>
                <a:gd name="connsiteY55" fmla="*/ 55666 h 346905"/>
                <a:gd name="connsiteX56" fmla="*/ 1685261 w 1716673"/>
                <a:gd name="connsiteY56" fmla="*/ 52238 h 346905"/>
                <a:gd name="connsiteX57" fmla="*/ 1685261 w 1716673"/>
                <a:gd name="connsiteY57" fmla="*/ 11184 h 346905"/>
                <a:gd name="connsiteX58" fmla="*/ 1672932 w 1716673"/>
                <a:gd name="connsiteY58" fmla="*/ 90 h 346905"/>
                <a:gd name="connsiteX59" fmla="*/ 1511391 w 1716673"/>
                <a:gd name="connsiteY59" fmla="*/ 109 h 346905"/>
                <a:gd name="connsiteX60" fmla="*/ 1425943 w 1716673"/>
                <a:gd name="connsiteY60" fmla="*/ 78841 h 346905"/>
                <a:gd name="connsiteX61" fmla="*/ 1425950 w 1716673"/>
                <a:gd name="connsiteY61" fmla="*/ 127955 h 346905"/>
                <a:gd name="connsiteX62" fmla="*/ 1504707 w 1716673"/>
                <a:gd name="connsiteY62" fmla="*/ 212855 h 346905"/>
                <a:gd name="connsiteX63" fmla="*/ 1617904 w 1716673"/>
                <a:gd name="connsiteY63" fmla="*/ 212855 h 346905"/>
                <a:gd name="connsiteX64" fmla="*/ 1647896 w 1716673"/>
                <a:gd name="connsiteY64" fmla="*/ 245695 h 346905"/>
                <a:gd name="connsiteX65" fmla="*/ 1647896 w 1716673"/>
                <a:gd name="connsiteY65" fmla="*/ 253571 h 346905"/>
                <a:gd name="connsiteX66" fmla="*/ 1615221 w 1716673"/>
                <a:gd name="connsiteY66" fmla="*/ 283710 h 346905"/>
                <a:gd name="connsiteX67" fmla="*/ 1438279 w 1716673"/>
                <a:gd name="connsiteY67" fmla="*/ 283710 h 346905"/>
                <a:gd name="connsiteX68" fmla="*/ 1426625 w 1716673"/>
                <a:gd name="connsiteY68" fmla="*/ 291344 h 346905"/>
                <a:gd name="connsiteX69" fmla="*/ 1425937 w 1716673"/>
                <a:gd name="connsiteY69" fmla="*/ 294804 h 346905"/>
                <a:gd name="connsiteX70" fmla="*/ 1425937 w 1716673"/>
                <a:gd name="connsiteY70" fmla="*/ 335858 h 346905"/>
                <a:gd name="connsiteX71" fmla="*/ 1438279 w 1716673"/>
                <a:gd name="connsiteY71" fmla="*/ 346964 h 346905"/>
                <a:gd name="connsiteX72" fmla="*/ 1583113 w 1716673"/>
                <a:gd name="connsiteY72" fmla="*/ 346964 h 346905"/>
                <a:gd name="connsiteX73" fmla="*/ 1632241 w 1716673"/>
                <a:gd name="connsiteY73" fmla="*/ 346939 h 346905"/>
                <a:gd name="connsiteX74" fmla="*/ 1717026 w 1716673"/>
                <a:gd name="connsiteY74" fmla="*/ 268169 h 346905"/>
                <a:gd name="connsiteX75" fmla="*/ 1717026 w 1716673"/>
                <a:gd name="connsiteY75" fmla="*/ 227440 h 346905"/>
                <a:gd name="connsiteX76" fmla="*/ 94179 w 1716673"/>
                <a:gd name="connsiteY76" fmla="*/ 63306 h 346905"/>
                <a:gd name="connsiteX77" fmla="*/ 276199 w 1716673"/>
                <a:gd name="connsiteY77" fmla="*/ 63306 h 346905"/>
                <a:gd name="connsiteX78" fmla="*/ 288293 w 1716673"/>
                <a:gd name="connsiteY78" fmla="*/ 52423 h 346905"/>
                <a:gd name="connsiteX79" fmla="*/ 288293 w 1716673"/>
                <a:gd name="connsiteY79" fmla="*/ 10999 h 346905"/>
                <a:gd name="connsiteX80" fmla="*/ 276199 w 1716673"/>
                <a:gd name="connsiteY80" fmla="*/ 78 h 346905"/>
                <a:gd name="connsiteX81" fmla="*/ 92911 w 1716673"/>
                <a:gd name="connsiteY81" fmla="*/ 78 h 346905"/>
                <a:gd name="connsiteX82" fmla="*/ 352 w 1716673"/>
                <a:gd name="connsiteY82" fmla="*/ 85346 h 346905"/>
                <a:gd name="connsiteX83" fmla="*/ 352 w 1716673"/>
                <a:gd name="connsiteY83" fmla="*/ 261721 h 346905"/>
                <a:gd name="connsiteX84" fmla="*/ 92911 w 1716673"/>
                <a:gd name="connsiteY84" fmla="*/ 346983 h 346905"/>
                <a:gd name="connsiteX85" fmla="*/ 276199 w 1716673"/>
                <a:gd name="connsiteY85" fmla="*/ 346983 h 346905"/>
                <a:gd name="connsiteX86" fmla="*/ 288293 w 1716673"/>
                <a:gd name="connsiteY86" fmla="*/ 336094 h 346905"/>
                <a:gd name="connsiteX87" fmla="*/ 288293 w 1716673"/>
                <a:gd name="connsiteY87" fmla="*/ 294670 h 346905"/>
                <a:gd name="connsiteX88" fmla="*/ 276199 w 1716673"/>
                <a:gd name="connsiteY88" fmla="*/ 283793 h 346905"/>
                <a:gd name="connsiteX89" fmla="*/ 94179 w 1716673"/>
                <a:gd name="connsiteY89" fmla="*/ 283793 h 346905"/>
                <a:gd name="connsiteX90" fmla="*/ 69475 w 1716673"/>
                <a:gd name="connsiteY90" fmla="*/ 260631 h 346905"/>
                <a:gd name="connsiteX91" fmla="*/ 69475 w 1716673"/>
                <a:gd name="connsiteY91" fmla="*/ 212230 h 346905"/>
                <a:gd name="connsiteX92" fmla="*/ 178333 w 1716673"/>
                <a:gd name="connsiteY92" fmla="*/ 212230 h 346905"/>
                <a:gd name="connsiteX93" fmla="*/ 190420 w 1716673"/>
                <a:gd name="connsiteY93" fmla="*/ 201334 h 346905"/>
                <a:gd name="connsiteX94" fmla="*/ 190420 w 1716673"/>
                <a:gd name="connsiteY94" fmla="*/ 160790 h 346905"/>
                <a:gd name="connsiteX95" fmla="*/ 178333 w 1716673"/>
                <a:gd name="connsiteY95" fmla="*/ 149881 h 346905"/>
                <a:gd name="connsiteX96" fmla="*/ 69475 w 1716673"/>
                <a:gd name="connsiteY96" fmla="*/ 149881 h 346905"/>
                <a:gd name="connsiteX97" fmla="*/ 69475 w 1716673"/>
                <a:gd name="connsiteY97" fmla="*/ 86481 h 346905"/>
                <a:gd name="connsiteX98" fmla="*/ 94179 w 1716673"/>
                <a:gd name="connsiteY98" fmla="*/ 63306 h 346905"/>
                <a:gd name="connsiteX99" fmla="*/ 397068 w 1716673"/>
                <a:gd name="connsiteY99" fmla="*/ 63312 h 346905"/>
                <a:gd name="connsiteX100" fmla="*/ 397068 w 1716673"/>
                <a:gd name="connsiteY100" fmla="*/ 334647 h 346905"/>
                <a:gd name="connsiteX101" fmla="*/ 385943 w 1716673"/>
                <a:gd name="connsiteY101" fmla="*/ 346977 h 346905"/>
                <a:gd name="connsiteX102" fmla="*/ 339026 w 1716673"/>
                <a:gd name="connsiteY102" fmla="*/ 346977 h 346905"/>
                <a:gd name="connsiteX103" fmla="*/ 327914 w 1716673"/>
                <a:gd name="connsiteY103" fmla="*/ 334647 h 346905"/>
                <a:gd name="connsiteX104" fmla="*/ 327914 w 1716673"/>
                <a:gd name="connsiteY104" fmla="*/ 12439 h 346905"/>
                <a:gd name="connsiteX105" fmla="*/ 339026 w 1716673"/>
                <a:gd name="connsiteY105" fmla="*/ 90 h 346905"/>
                <a:gd name="connsiteX106" fmla="*/ 481840 w 1716673"/>
                <a:gd name="connsiteY106" fmla="*/ 90 h 346905"/>
                <a:gd name="connsiteX107" fmla="*/ 615855 w 1716673"/>
                <a:gd name="connsiteY107" fmla="*/ 123756 h 346905"/>
                <a:gd name="connsiteX108" fmla="*/ 615855 w 1716673"/>
                <a:gd name="connsiteY108" fmla="*/ 335883 h 346905"/>
                <a:gd name="connsiteX109" fmla="*/ 603519 w 1716673"/>
                <a:gd name="connsiteY109" fmla="*/ 346977 h 346905"/>
                <a:gd name="connsiteX110" fmla="*/ 559119 w 1716673"/>
                <a:gd name="connsiteY110" fmla="*/ 346977 h 346905"/>
                <a:gd name="connsiteX111" fmla="*/ 546789 w 1716673"/>
                <a:gd name="connsiteY111" fmla="*/ 335883 h 346905"/>
                <a:gd name="connsiteX112" fmla="*/ 546789 w 1716673"/>
                <a:gd name="connsiteY112" fmla="*/ 123756 h 346905"/>
                <a:gd name="connsiteX113" fmla="*/ 481840 w 1716673"/>
                <a:gd name="connsiteY113" fmla="*/ 63344 h 346905"/>
                <a:gd name="connsiteX114" fmla="*/ 397068 w 1716673"/>
                <a:gd name="connsiteY114" fmla="*/ 63312 h 34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716673" h="346905">
                  <a:moveTo>
                    <a:pt x="1386323" y="26425"/>
                  </a:moveTo>
                  <a:lnTo>
                    <a:pt x="1386221" y="12407"/>
                  </a:lnTo>
                  <a:cubicBezTo>
                    <a:pt x="1386221" y="5608"/>
                    <a:pt x="1381238" y="78"/>
                    <a:pt x="1375114" y="78"/>
                  </a:cubicBezTo>
                  <a:lnTo>
                    <a:pt x="1328351" y="78"/>
                  </a:lnTo>
                  <a:cubicBezTo>
                    <a:pt x="1322234" y="78"/>
                    <a:pt x="1317245" y="5608"/>
                    <a:pt x="1317245" y="12407"/>
                  </a:cubicBezTo>
                  <a:lnTo>
                    <a:pt x="1317245" y="26425"/>
                  </a:lnTo>
                  <a:lnTo>
                    <a:pt x="1317251" y="26425"/>
                  </a:lnTo>
                  <a:lnTo>
                    <a:pt x="1317353" y="50976"/>
                  </a:lnTo>
                  <a:cubicBezTo>
                    <a:pt x="1317353" y="57775"/>
                    <a:pt x="1322329" y="63306"/>
                    <a:pt x="1328459" y="63306"/>
                  </a:cubicBezTo>
                  <a:lnTo>
                    <a:pt x="1375223" y="63306"/>
                  </a:lnTo>
                  <a:cubicBezTo>
                    <a:pt x="1381340" y="63306"/>
                    <a:pt x="1386329" y="57775"/>
                    <a:pt x="1386329" y="50976"/>
                  </a:cubicBezTo>
                  <a:lnTo>
                    <a:pt x="1386329" y="26425"/>
                  </a:lnTo>
                  <a:lnTo>
                    <a:pt x="1386323" y="26425"/>
                  </a:lnTo>
                  <a:close/>
                  <a:moveTo>
                    <a:pt x="1386323" y="218602"/>
                  </a:moveTo>
                  <a:lnTo>
                    <a:pt x="1386221" y="102640"/>
                  </a:lnTo>
                  <a:cubicBezTo>
                    <a:pt x="1386221" y="95835"/>
                    <a:pt x="1381238" y="90310"/>
                    <a:pt x="1375114" y="90310"/>
                  </a:cubicBezTo>
                  <a:lnTo>
                    <a:pt x="1328351" y="90310"/>
                  </a:lnTo>
                  <a:cubicBezTo>
                    <a:pt x="1322234" y="90310"/>
                    <a:pt x="1317245" y="95835"/>
                    <a:pt x="1317245" y="102640"/>
                  </a:cubicBezTo>
                  <a:lnTo>
                    <a:pt x="1317245" y="218602"/>
                  </a:lnTo>
                  <a:lnTo>
                    <a:pt x="1317251" y="218602"/>
                  </a:lnTo>
                  <a:lnTo>
                    <a:pt x="1317353" y="334558"/>
                  </a:lnTo>
                  <a:cubicBezTo>
                    <a:pt x="1317353" y="341357"/>
                    <a:pt x="1322329" y="346888"/>
                    <a:pt x="1328459" y="346888"/>
                  </a:cubicBezTo>
                  <a:lnTo>
                    <a:pt x="1375223" y="346888"/>
                  </a:lnTo>
                  <a:cubicBezTo>
                    <a:pt x="1381340" y="346888"/>
                    <a:pt x="1386329" y="341357"/>
                    <a:pt x="1386329" y="334558"/>
                  </a:cubicBezTo>
                  <a:lnTo>
                    <a:pt x="1386329" y="218602"/>
                  </a:lnTo>
                  <a:lnTo>
                    <a:pt x="1386323" y="218602"/>
                  </a:lnTo>
                  <a:close/>
                  <a:moveTo>
                    <a:pt x="1151339" y="78"/>
                  </a:moveTo>
                  <a:lnTo>
                    <a:pt x="1000796" y="78"/>
                  </a:lnTo>
                  <a:cubicBezTo>
                    <a:pt x="994666" y="78"/>
                    <a:pt x="989683" y="5627"/>
                    <a:pt x="989683" y="12439"/>
                  </a:cubicBezTo>
                  <a:lnTo>
                    <a:pt x="989683" y="216448"/>
                  </a:lnTo>
                  <a:cubicBezTo>
                    <a:pt x="989683" y="223260"/>
                    <a:pt x="994659" y="228791"/>
                    <a:pt x="1000776" y="228791"/>
                  </a:cubicBezTo>
                  <a:lnTo>
                    <a:pt x="1047636" y="228791"/>
                  </a:lnTo>
                  <a:cubicBezTo>
                    <a:pt x="1053765" y="228791"/>
                    <a:pt x="1058742" y="223260"/>
                    <a:pt x="1058742" y="216448"/>
                  </a:cubicBezTo>
                  <a:lnTo>
                    <a:pt x="1058806" y="63274"/>
                  </a:lnTo>
                  <a:lnTo>
                    <a:pt x="1143597" y="63306"/>
                  </a:lnTo>
                  <a:cubicBezTo>
                    <a:pt x="1179420" y="63306"/>
                    <a:pt x="1208559" y="90412"/>
                    <a:pt x="1208559" y="123731"/>
                  </a:cubicBezTo>
                  <a:lnTo>
                    <a:pt x="1208559" y="235124"/>
                  </a:lnTo>
                  <a:cubicBezTo>
                    <a:pt x="1208559" y="268430"/>
                    <a:pt x="1179420" y="283634"/>
                    <a:pt x="1143597" y="283634"/>
                  </a:cubicBezTo>
                  <a:lnTo>
                    <a:pt x="989683" y="283793"/>
                  </a:lnTo>
                  <a:lnTo>
                    <a:pt x="989683" y="346983"/>
                  </a:lnTo>
                  <a:lnTo>
                    <a:pt x="1143597" y="346888"/>
                  </a:lnTo>
                  <a:cubicBezTo>
                    <a:pt x="1217498" y="346888"/>
                    <a:pt x="1277624" y="303310"/>
                    <a:pt x="1277624" y="235124"/>
                  </a:cubicBezTo>
                  <a:lnTo>
                    <a:pt x="1277624" y="123004"/>
                  </a:lnTo>
                  <a:cubicBezTo>
                    <a:pt x="1277624" y="57578"/>
                    <a:pt x="1222730" y="78"/>
                    <a:pt x="1151339" y="78"/>
                  </a:cubicBezTo>
                  <a:moveTo>
                    <a:pt x="1717026" y="227440"/>
                  </a:moveTo>
                  <a:cubicBezTo>
                    <a:pt x="1717026" y="224305"/>
                    <a:pt x="1717000" y="221094"/>
                    <a:pt x="1716694" y="217608"/>
                  </a:cubicBezTo>
                  <a:cubicBezTo>
                    <a:pt x="1713285" y="179077"/>
                    <a:pt x="1673575" y="149881"/>
                    <a:pt x="1631712" y="149881"/>
                  </a:cubicBezTo>
                  <a:lnTo>
                    <a:pt x="1527881" y="149881"/>
                  </a:lnTo>
                  <a:lnTo>
                    <a:pt x="1525218" y="149875"/>
                  </a:lnTo>
                  <a:cubicBezTo>
                    <a:pt x="1508587" y="149875"/>
                    <a:pt x="1495066" y="135137"/>
                    <a:pt x="1495066" y="117040"/>
                  </a:cubicBezTo>
                  <a:lnTo>
                    <a:pt x="1495168" y="93477"/>
                  </a:lnTo>
                  <a:cubicBezTo>
                    <a:pt x="1495168" y="76859"/>
                    <a:pt x="1509900" y="63331"/>
                    <a:pt x="1528002" y="63331"/>
                  </a:cubicBezTo>
                  <a:lnTo>
                    <a:pt x="1568980" y="63331"/>
                  </a:lnTo>
                  <a:lnTo>
                    <a:pt x="1569382" y="63344"/>
                  </a:lnTo>
                  <a:lnTo>
                    <a:pt x="1672932" y="63344"/>
                  </a:lnTo>
                  <a:cubicBezTo>
                    <a:pt x="1678227" y="63344"/>
                    <a:pt x="1682917" y="60260"/>
                    <a:pt x="1684599" y="55666"/>
                  </a:cubicBezTo>
                  <a:cubicBezTo>
                    <a:pt x="1685045" y="54443"/>
                    <a:pt x="1685261" y="53321"/>
                    <a:pt x="1685261" y="52238"/>
                  </a:cubicBezTo>
                  <a:lnTo>
                    <a:pt x="1685261" y="11184"/>
                  </a:lnTo>
                  <a:cubicBezTo>
                    <a:pt x="1685261" y="5054"/>
                    <a:pt x="1679731" y="90"/>
                    <a:pt x="1672932" y="90"/>
                  </a:cubicBezTo>
                  <a:lnTo>
                    <a:pt x="1511391" y="109"/>
                  </a:lnTo>
                  <a:cubicBezTo>
                    <a:pt x="1464583" y="109"/>
                    <a:pt x="1425943" y="35442"/>
                    <a:pt x="1425943" y="78841"/>
                  </a:cubicBezTo>
                  <a:lnTo>
                    <a:pt x="1425950" y="127955"/>
                  </a:lnTo>
                  <a:cubicBezTo>
                    <a:pt x="1425950" y="174770"/>
                    <a:pt x="1461276" y="212855"/>
                    <a:pt x="1504707" y="212855"/>
                  </a:cubicBezTo>
                  <a:lnTo>
                    <a:pt x="1617904" y="212855"/>
                  </a:lnTo>
                  <a:cubicBezTo>
                    <a:pt x="1634522" y="212855"/>
                    <a:pt x="1647896" y="227587"/>
                    <a:pt x="1647896" y="245695"/>
                  </a:cubicBezTo>
                  <a:lnTo>
                    <a:pt x="1647896" y="253571"/>
                  </a:lnTo>
                  <a:cubicBezTo>
                    <a:pt x="1647896" y="270195"/>
                    <a:pt x="1633324" y="283710"/>
                    <a:pt x="1615221" y="283710"/>
                  </a:cubicBezTo>
                  <a:lnTo>
                    <a:pt x="1438279" y="283710"/>
                  </a:lnTo>
                  <a:cubicBezTo>
                    <a:pt x="1432978" y="283710"/>
                    <a:pt x="1428288" y="286775"/>
                    <a:pt x="1426625" y="291344"/>
                  </a:cubicBezTo>
                  <a:cubicBezTo>
                    <a:pt x="1426160" y="292593"/>
                    <a:pt x="1425937" y="293727"/>
                    <a:pt x="1425937" y="294804"/>
                  </a:cubicBezTo>
                  <a:lnTo>
                    <a:pt x="1425937" y="335858"/>
                  </a:lnTo>
                  <a:cubicBezTo>
                    <a:pt x="1425937" y="341981"/>
                    <a:pt x="1431474" y="346964"/>
                    <a:pt x="1438279" y="346964"/>
                  </a:cubicBezTo>
                  <a:lnTo>
                    <a:pt x="1583113" y="346964"/>
                  </a:lnTo>
                  <a:lnTo>
                    <a:pt x="1632241" y="346939"/>
                  </a:lnTo>
                  <a:cubicBezTo>
                    <a:pt x="1679036" y="346939"/>
                    <a:pt x="1717026" y="311613"/>
                    <a:pt x="1717026" y="268169"/>
                  </a:cubicBezTo>
                  <a:lnTo>
                    <a:pt x="1717026" y="227440"/>
                  </a:lnTo>
                  <a:close/>
                  <a:moveTo>
                    <a:pt x="94179" y="63306"/>
                  </a:moveTo>
                  <a:lnTo>
                    <a:pt x="276199" y="63306"/>
                  </a:lnTo>
                  <a:cubicBezTo>
                    <a:pt x="282864" y="63306"/>
                    <a:pt x="288293" y="58425"/>
                    <a:pt x="288293" y="52423"/>
                  </a:cubicBezTo>
                  <a:lnTo>
                    <a:pt x="288293" y="10999"/>
                  </a:lnTo>
                  <a:cubicBezTo>
                    <a:pt x="288293" y="4984"/>
                    <a:pt x="283119" y="78"/>
                    <a:pt x="276199" y="78"/>
                  </a:cubicBezTo>
                  <a:lnTo>
                    <a:pt x="92911" y="78"/>
                  </a:lnTo>
                  <a:cubicBezTo>
                    <a:pt x="41878" y="78"/>
                    <a:pt x="352" y="38283"/>
                    <a:pt x="352" y="85346"/>
                  </a:cubicBezTo>
                  <a:lnTo>
                    <a:pt x="352" y="261721"/>
                  </a:lnTo>
                  <a:cubicBezTo>
                    <a:pt x="352" y="308765"/>
                    <a:pt x="41878" y="346983"/>
                    <a:pt x="92911" y="346983"/>
                  </a:cubicBezTo>
                  <a:lnTo>
                    <a:pt x="276199" y="346983"/>
                  </a:lnTo>
                  <a:cubicBezTo>
                    <a:pt x="282864" y="346983"/>
                    <a:pt x="288293" y="342096"/>
                    <a:pt x="288293" y="336094"/>
                  </a:cubicBezTo>
                  <a:lnTo>
                    <a:pt x="288293" y="294670"/>
                  </a:lnTo>
                  <a:cubicBezTo>
                    <a:pt x="288293" y="288668"/>
                    <a:pt x="282864" y="283793"/>
                    <a:pt x="276199" y="283793"/>
                  </a:cubicBezTo>
                  <a:lnTo>
                    <a:pt x="94179" y="283793"/>
                  </a:lnTo>
                  <a:cubicBezTo>
                    <a:pt x="80791" y="283793"/>
                    <a:pt x="69475" y="273184"/>
                    <a:pt x="69475" y="260631"/>
                  </a:cubicBezTo>
                  <a:lnTo>
                    <a:pt x="69475" y="212230"/>
                  </a:lnTo>
                  <a:lnTo>
                    <a:pt x="178333" y="212230"/>
                  </a:lnTo>
                  <a:cubicBezTo>
                    <a:pt x="184998" y="212230"/>
                    <a:pt x="190420" y="207337"/>
                    <a:pt x="190420" y="201334"/>
                  </a:cubicBezTo>
                  <a:lnTo>
                    <a:pt x="190420" y="160790"/>
                  </a:lnTo>
                  <a:cubicBezTo>
                    <a:pt x="190420" y="154775"/>
                    <a:pt x="184998" y="149881"/>
                    <a:pt x="178333" y="149881"/>
                  </a:cubicBezTo>
                  <a:lnTo>
                    <a:pt x="69475" y="149881"/>
                  </a:lnTo>
                  <a:lnTo>
                    <a:pt x="69475" y="86481"/>
                  </a:lnTo>
                  <a:cubicBezTo>
                    <a:pt x="69475" y="73915"/>
                    <a:pt x="80791" y="63306"/>
                    <a:pt x="94179" y="63306"/>
                  </a:cubicBezTo>
                  <a:moveTo>
                    <a:pt x="397068" y="63312"/>
                  </a:moveTo>
                  <a:lnTo>
                    <a:pt x="397068" y="334647"/>
                  </a:lnTo>
                  <a:cubicBezTo>
                    <a:pt x="397068" y="341446"/>
                    <a:pt x="392073" y="346977"/>
                    <a:pt x="385943" y="346977"/>
                  </a:cubicBezTo>
                  <a:lnTo>
                    <a:pt x="339026" y="346977"/>
                  </a:lnTo>
                  <a:cubicBezTo>
                    <a:pt x="332897" y="346977"/>
                    <a:pt x="327914" y="341446"/>
                    <a:pt x="327914" y="334647"/>
                  </a:cubicBezTo>
                  <a:lnTo>
                    <a:pt x="327914" y="12439"/>
                  </a:lnTo>
                  <a:cubicBezTo>
                    <a:pt x="327914" y="5627"/>
                    <a:pt x="332897" y="90"/>
                    <a:pt x="339026" y="90"/>
                  </a:cubicBezTo>
                  <a:lnTo>
                    <a:pt x="481840" y="90"/>
                  </a:lnTo>
                  <a:cubicBezTo>
                    <a:pt x="555736" y="90"/>
                    <a:pt x="615855" y="55558"/>
                    <a:pt x="615855" y="123756"/>
                  </a:cubicBezTo>
                  <a:lnTo>
                    <a:pt x="615855" y="335883"/>
                  </a:lnTo>
                  <a:cubicBezTo>
                    <a:pt x="615855" y="342007"/>
                    <a:pt x="610324" y="346977"/>
                    <a:pt x="603519" y="346977"/>
                  </a:cubicBezTo>
                  <a:lnTo>
                    <a:pt x="559119" y="346977"/>
                  </a:lnTo>
                  <a:cubicBezTo>
                    <a:pt x="552320" y="346977"/>
                    <a:pt x="546789" y="342007"/>
                    <a:pt x="546789" y="335883"/>
                  </a:cubicBezTo>
                  <a:lnTo>
                    <a:pt x="546789" y="123756"/>
                  </a:lnTo>
                  <a:cubicBezTo>
                    <a:pt x="546789" y="90450"/>
                    <a:pt x="517657" y="63344"/>
                    <a:pt x="481840" y="63344"/>
                  </a:cubicBezTo>
                  <a:lnTo>
                    <a:pt x="397068" y="63312"/>
                  </a:lnTo>
                  <a:close/>
                </a:path>
              </a:pathLst>
            </a:custGeom>
            <a:solidFill>
              <a:schemeClr val="tx2"/>
            </a:solidFill>
            <a:ln w="6362" cap="flat">
              <a:noFill/>
              <a:prstDash val="solid"/>
              <a:round/>
            </a:ln>
          </p:spPr>
          <p:txBody>
            <a:bodyPr rtlCol="0" anchor="ctr"/>
            <a:lstStyle/>
            <a:p>
              <a:endParaRPr lang="fr-FR"/>
            </a:p>
          </p:txBody>
        </p:sp>
      </p:grpSp>
      <p:sp>
        <p:nvSpPr>
          <p:cNvPr id="13" name="Espace réservé du texte 12">
            <a:extLst>
              <a:ext uri="{FF2B5EF4-FFF2-40B4-BE49-F238E27FC236}">
                <a16:creationId xmlns:a16="http://schemas.microsoft.com/office/drawing/2014/main" id="{F9B6F8A9-9A1E-478A-8B80-2A55B884E0AE}"/>
              </a:ext>
            </a:extLst>
          </p:cNvPr>
          <p:cNvSpPr>
            <a:spLocks noGrp="1"/>
          </p:cNvSpPr>
          <p:nvPr>
            <p:ph type="body" sz="quarter" idx="13" hasCustomPrompt="1"/>
          </p:nvPr>
        </p:nvSpPr>
        <p:spPr>
          <a:xfrm>
            <a:off x="9058786" y="6168695"/>
            <a:ext cx="2636837" cy="207749"/>
          </a:xfrm>
        </p:spPr>
        <p:txBody>
          <a:bodyPr/>
          <a:lstStyle>
            <a:lvl1pPr algn="r">
              <a:defRPr sz="1500">
                <a:solidFill>
                  <a:schemeClr val="tx2"/>
                </a:solidFill>
                <a:latin typeface="Enedis Light" pitchFamily="50" charset="0"/>
              </a:defRPr>
            </a:lvl1pPr>
          </a:lstStyle>
          <a:p>
            <a:pPr lvl="0"/>
            <a:r>
              <a:rPr lang="fr-FR"/>
              <a:t>00 / 00 / 2021</a:t>
            </a:r>
          </a:p>
        </p:txBody>
      </p:sp>
      <p:pic>
        <p:nvPicPr>
          <p:cNvPr id="12" name="Graphique 11">
            <a:extLst>
              <a:ext uri="{FF2B5EF4-FFF2-40B4-BE49-F238E27FC236}">
                <a16:creationId xmlns:a16="http://schemas.microsoft.com/office/drawing/2014/main" id="{B8B49D24-AAE8-4F13-AFEA-073C45BC55A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0" y="3702273"/>
            <a:ext cx="12192000" cy="1714054"/>
          </a:xfrm>
          <a:prstGeom prst="rect">
            <a:avLst/>
          </a:prstGeom>
        </p:spPr>
      </p:pic>
    </p:spTree>
    <p:extLst>
      <p:ext uri="{BB962C8B-B14F-4D97-AF65-F5344CB8AC3E}">
        <p14:creationId xmlns:p14="http://schemas.microsoft.com/office/powerpoint/2010/main" val="2043964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anifesto  B">
    <p:bg>
      <p:bgPr>
        <a:solidFill>
          <a:schemeClr val="bg1"/>
        </a:solidFill>
        <a:effectLst/>
      </p:bgPr>
    </p:bg>
    <p:spTree>
      <p:nvGrpSpPr>
        <p:cNvPr id="1" name=""/>
        <p:cNvGrpSpPr/>
        <p:nvPr/>
      </p:nvGrpSpPr>
      <p:grpSpPr>
        <a:xfrm>
          <a:off x="0" y="0"/>
          <a:ext cx="0" cy="0"/>
          <a:chOff x="0" y="0"/>
          <a:chExt cx="0" cy="0"/>
        </a:xfrm>
      </p:grpSpPr>
      <p:sp>
        <p:nvSpPr>
          <p:cNvPr id="10" name="Espace réservé de la date 9">
            <a:extLst>
              <a:ext uri="{FF2B5EF4-FFF2-40B4-BE49-F238E27FC236}">
                <a16:creationId xmlns:a16="http://schemas.microsoft.com/office/drawing/2014/main" id="{506D7A77-3261-4789-90AF-4391ECC68EB7}"/>
              </a:ext>
            </a:extLst>
          </p:cNvPr>
          <p:cNvSpPr>
            <a:spLocks noGrp="1"/>
          </p:cNvSpPr>
          <p:nvPr>
            <p:ph type="dt" sz="half" idx="19"/>
          </p:nvPr>
        </p:nvSpPr>
        <p:spPr/>
        <p:txBody>
          <a:bodyPr/>
          <a:lstStyle>
            <a:lvl1pPr>
              <a:defRPr>
                <a:solidFill>
                  <a:schemeClr val="tx2"/>
                </a:solidFill>
              </a:defRPr>
            </a:lvl1pPr>
          </a:lstStyle>
          <a:p>
            <a:r>
              <a:rPr lang="fr-FR" smtClean="0"/>
              <a:t>25 mai 2022</a:t>
            </a:r>
            <a:endParaRPr lang="fr-FR"/>
          </a:p>
        </p:txBody>
      </p:sp>
      <p:sp>
        <p:nvSpPr>
          <p:cNvPr id="11" name="Espace réservé du pied de page 10">
            <a:extLst>
              <a:ext uri="{FF2B5EF4-FFF2-40B4-BE49-F238E27FC236}">
                <a16:creationId xmlns:a16="http://schemas.microsoft.com/office/drawing/2014/main" id="{05070C08-0C4F-480C-A4AD-38AC3DBE4AC8}"/>
              </a:ext>
            </a:extLst>
          </p:cNvPr>
          <p:cNvSpPr>
            <a:spLocks noGrp="1"/>
          </p:cNvSpPr>
          <p:nvPr>
            <p:ph type="ftr" sz="quarter" idx="20"/>
          </p:nvPr>
        </p:nvSpPr>
        <p:spPr>
          <a:xfrm>
            <a:off x="1626384" y="6469013"/>
            <a:ext cx="4812515" cy="226714"/>
          </a:xfrm>
          <a:prstGeom prst="rect">
            <a:avLst/>
          </a:prstGeom>
        </p:spPr>
        <p:txBody>
          <a:bodyPr/>
          <a:lstStyle>
            <a:lvl1pPr>
              <a:defRPr>
                <a:solidFill>
                  <a:schemeClr val="tx2"/>
                </a:solidFill>
              </a:defRPr>
            </a:lvl1pPr>
          </a:lstStyle>
          <a:p>
            <a:r>
              <a:rPr lang="fr-FR" smtClean="0"/>
              <a:t>Stratégie Mobilité Electrique Enedis</a:t>
            </a:r>
            <a:endParaRPr lang="fr-FR"/>
          </a:p>
        </p:txBody>
      </p:sp>
      <p:sp>
        <p:nvSpPr>
          <p:cNvPr id="12" name="Espace réservé du numéro de diapositive 11">
            <a:extLst>
              <a:ext uri="{FF2B5EF4-FFF2-40B4-BE49-F238E27FC236}">
                <a16:creationId xmlns:a16="http://schemas.microsoft.com/office/drawing/2014/main" id="{A20B3F73-B7A3-4D47-82E4-C5AA9E80D66F}"/>
              </a:ext>
            </a:extLst>
          </p:cNvPr>
          <p:cNvSpPr>
            <a:spLocks noGrp="1"/>
          </p:cNvSpPr>
          <p:nvPr>
            <p:ph type="sldNum" sz="quarter" idx="21"/>
          </p:nvPr>
        </p:nvSpPr>
        <p:spPr/>
        <p:txBody>
          <a:bodyPr/>
          <a:lstStyle>
            <a:lvl1pPr>
              <a:defRPr>
                <a:solidFill>
                  <a:schemeClr val="tx2"/>
                </a:solidFill>
              </a:defRPr>
            </a:lvl1pPr>
          </a:lstStyle>
          <a:p>
            <a:fld id="{6B54B0F7-55DD-40D6-B7F4-70B586885C0B}" type="slidenum">
              <a:rPr lang="fr-FR" smtClean="0"/>
              <a:pPr/>
              <a:t>‹N°›</a:t>
            </a:fld>
            <a:endParaRPr lang="fr-FR"/>
          </a:p>
        </p:txBody>
      </p:sp>
      <p:sp>
        <p:nvSpPr>
          <p:cNvPr id="16" name="Titre 8">
            <a:extLst>
              <a:ext uri="{FF2B5EF4-FFF2-40B4-BE49-F238E27FC236}">
                <a16:creationId xmlns:a16="http://schemas.microsoft.com/office/drawing/2014/main" id="{EC6C1856-89A9-40CF-B4C0-D16A188E2C62}"/>
              </a:ext>
            </a:extLst>
          </p:cNvPr>
          <p:cNvSpPr>
            <a:spLocks noGrp="1"/>
          </p:cNvSpPr>
          <p:nvPr>
            <p:ph type="title" hasCustomPrompt="1"/>
          </p:nvPr>
        </p:nvSpPr>
        <p:spPr>
          <a:xfrm>
            <a:off x="508230" y="764205"/>
            <a:ext cx="11175540" cy="1240981"/>
          </a:xfrm>
        </p:spPr>
        <p:txBody>
          <a:bodyPr anchor="b"/>
          <a:lstStyle>
            <a:lvl1pPr algn="ctr">
              <a:lnSpc>
                <a:spcPct val="84000"/>
              </a:lnSpc>
              <a:defRPr sz="4800">
                <a:solidFill>
                  <a:schemeClr val="tx2"/>
                </a:solidFill>
              </a:defRPr>
            </a:lvl1pPr>
          </a:lstStyle>
          <a:p>
            <a:r>
              <a:rPr lang="fr-FR"/>
              <a:t>Lorem ipsum </a:t>
            </a:r>
            <a:r>
              <a:rPr lang="fr-FR" err="1"/>
              <a:t>dolor</a:t>
            </a:r>
            <a:r>
              <a:rPr lang="fr-FR"/>
              <a:t> </a:t>
            </a:r>
            <a:r>
              <a:rPr lang="fr-FR" err="1"/>
              <a:t>sit</a:t>
            </a:r>
            <a:r>
              <a:rPr lang="fr-FR"/>
              <a:t> </a:t>
            </a:r>
            <a:r>
              <a:rPr lang="fr-FR" err="1"/>
              <a:t>amet</a:t>
            </a:r>
            <a:r>
              <a:rPr lang="fr-FR"/>
              <a:t>, </a:t>
            </a:r>
            <a:br>
              <a:rPr lang="fr-FR"/>
            </a:br>
            <a:r>
              <a:rPr lang="fr-FR" err="1"/>
              <a:t>consectetuer</a:t>
            </a:r>
            <a:r>
              <a:rPr lang="fr-FR"/>
              <a:t> </a:t>
            </a:r>
            <a:r>
              <a:rPr lang="fr-FR" err="1"/>
              <a:t>adipiscing</a:t>
            </a:r>
            <a:r>
              <a:rPr lang="fr-FR"/>
              <a:t> </a:t>
            </a:r>
          </a:p>
        </p:txBody>
      </p:sp>
      <p:pic>
        <p:nvPicPr>
          <p:cNvPr id="8" name="Image 7">
            <a:extLst>
              <a:ext uri="{FF2B5EF4-FFF2-40B4-BE49-F238E27FC236}">
                <a16:creationId xmlns:a16="http://schemas.microsoft.com/office/drawing/2014/main" id="{268CC851-B4DD-4473-BCFC-BFF1A95A79F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2581275"/>
            <a:ext cx="12192000" cy="4276725"/>
          </a:xfrm>
          <a:prstGeom prst="rect">
            <a:avLst/>
          </a:prstGeom>
        </p:spPr>
      </p:pic>
    </p:spTree>
    <p:extLst>
      <p:ext uri="{BB962C8B-B14F-4D97-AF65-F5344CB8AC3E}">
        <p14:creationId xmlns:p14="http://schemas.microsoft.com/office/powerpoint/2010/main" val="2412237048"/>
      </p:ext>
    </p:extLst>
  </p:cSld>
  <p:clrMapOvr>
    <a:masterClrMapping/>
  </p:clrMapOvr>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nifesto D">
    <p:bg>
      <p:bgPr>
        <a:solidFill>
          <a:schemeClr val="bg1"/>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C722BB2F-C0D5-4A5B-8CD8-7C18263BD46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752136"/>
            <a:ext cx="12192000" cy="3372346"/>
          </a:xfrm>
          <a:prstGeom prst="rect">
            <a:avLst/>
          </a:prstGeom>
        </p:spPr>
      </p:pic>
      <p:sp>
        <p:nvSpPr>
          <p:cNvPr id="10" name="Espace réservé de la date 9">
            <a:extLst>
              <a:ext uri="{FF2B5EF4-FFF2-40B4-BE49-F238E27FC236}">
                <a16:creationId xmlns:a16="http://schemas.microsoft.com/office/drawing/2014/main" id="{506D7A77-3261-4789-90AF-4391ECC68EB7}"/>
              </a:ext>
            </a:extLst>
          </p:cNvPr>
          <p:cNvSpPr>
            <a:spLocks noGrp="1"/>
          </p:cNvSpPr>
          <p:nvPr>
            <p:ph type="dt" sz="half" idx="19"/>
          </p:nvPr>
        </p:nvSpPr>
        <p:spPr/>
        <p:txBody>
          <a:bodyPr/>
          <a:lstStyle>
            <a:lvl1pPr>
              <a:defRPr>
                <a:solidFill>
                  <a:schemeClr val="tx2"/>
                </a:solidFill>
              </a:defRPr>
            </a:lvl1pPr>
          </a:lstStyle>
          <a:p>
            <a:r>
              <a:rPr lang="fr-FR" smtClean="0"/>
              <a:t>25 mai 2022</a:t>
            </a:r>
            <a:endParaRPr lang="fr-FR"/>
          </a:p>
        </p:txBody>
      </p:sp>
      <p:sp>
        <p:nvSpPr>
          <p:cNvPr id="11" name="Espace réservé du pied de page 10">
            <a:extLst>
              <a:ext uri="{FF2B5EF4-FFF2-40B4-BE49-F238E27FC236}">
                <a16:creationId xmlns:a16="http://schemas.microsoft.com/office/drawing/2014/main" id="{05070C08-0C4F-480C-A4AD-38AC3DBE4AC8}"/>
              </a:ext>
            </a:extLst>
          </p:cNvPr>
          <p:cNvSpPr>
            <a:spLocks noGrp="1"/>
          </p:cNvSpPr>
          <p:nvPr>
            <p:ph type="ftr" sz="quarter" idx="20"/>
          </p:nvPr>
        </p:nvSpPr>
        <p:spPr>
          <a:xfrm>
            <a:off x="1626384" y="6469013"/>
            <a:ext cx="4812515" cy="226714"/>
          </a:xfrm>
          <a:prstGeom prst="rect">
            <a:avLst/>
          </a:prstGeom>
        </p:spPr>
        <p:txBody>
          <a:bodyPr/>
          <a:lstStyle>
            <a:lvl1pPr>
              <a:defRPr>
                <a:solidFill>
                  <a:schemeClr val="tx2"/>
                </a:solidFill>
              </a:defRPr>
            </a:lvl1pPr>
          </a:lstStyle>
          <a:p>
            <a:r>
              <a:rPr lang="fr-FR" smtClean="0"/>
              <a:t>Stratégie Mobilité Electrique Enedis</a:t>
            </a:r>
            <a:endParaRPr lang="fr-FR"/>
          </a:p>
        </p:txBody>
      </p:sp>
      <p:sp>
        <p:nvSpPr>
          <p:cNvPr id="12" name="Espace réservé du numéro de diapositive 11">
            <a:extLst>
              <a:ext uri="{FF2B5EF4-FFF2-40B4-BE49-F238E27FC236}">
                <a16:creationId xmlns:a16="http://schemas.microsoft.com/office/drawing/2014/main" id="{A20B3F73-B7A3-4D47-82E4-C5AA9E80D66F}"/>
              </a:ext>
            </a:extLst>
          </p:cNvPr>
          <p:cNvSpPr>
            <a:spLocks noGrp="1"/>
          </p:cNvSpPr>
          <p:nvPr>
            <p:ph type="sldNum" sz="quarter" idx="21"/>
          </p:nvPr>
        </p:nvSpPr>
        <p:spPr/>
        <p:txBody>
          <a:bodyPr/>
          <a:lstStyle>
            <a:lvl1pPr>
              <a:defRPr>
                <a:solidFill>
                  <a:schemeClr val="tx2"/>
                </a:solidFill>
              </a:defRPr>
            </a:lvl1pPr>
          </a:lstStyle>
          <a:p>
            <a:fld id="{6B54B0F7-55DD-40D6-B7F4-70B586885C0B}" type="slidenum">
              <a:rPr lang="fr-FR" smtClean="0"/>
              <a:pPr/>
              <a:t>‹N°›</a:t>
            </a:fld>
            <a:endParaRPr lang="fr-FR"/>
          </a:p>
        </p:txBody>
      </p:sp>
      <p:sp>
        <p:nvSpPr>
          <p:cNvPr id="22" name="Espace réservé du texte 27">
            <a:extLst>
              <a:ext uri="{FF2B5EF4-FFF2-40B4-BE49-F238E27FC236}">
                <a16:creationId xmlns:a16="http://schemas.microsoft.com/office/drawing/2014/main" id="{3468FDD1-723F-4D50-9059-33EBA0CD9153}"/>
              </a:ext>
            </a:extLst>
          </p:cNvPr>
          <p:cNvSpPr>
            <a:spLocks noGrp="1" noChangeAspect="1"/>
          </p:cNvSpPr>
          <p:nvPr>
            <p:ph type="body" sz="quarter" idx="26" hasCustomPrompt="1"/>
          </p:nvPr>
        </p:nvSpPr>
        <p:spPr>
          <a:xfrm>
            <a:off x="3111443" y="1804688"/>
            <a:ext cx="5969114" cy="3419475"/>
          </a:xfrm>
          <a:prstGeom prst="rect">
            <a:avLst/>
          </a:prstGeom>
          <a:noFill/>
        </p:spPr>
        <p:txBody>
          <a:bodyPr wrap="square" lIns="0" tIns="108000" anchor="t" anchorCtr="1">
            <a:noAutofit/>
          </a:bodyPr>
          <a:lstStyle>
            <a:lvl1pPr algn="ctr">
              <a:defRPr sz="3200">
                <a:solidFill>
                  <a:schemeClr val="tx2"/>
                </a:solidFill>
                <a:latin typeface="Enedis Medium" pitchFamily="50" charset="0"/>
              </a:defRPr>
            </a:lvl1pPr>
            <a:lvl2pPr marL="0" indent="0" algn="ctr">
              <a:spcAft>
                <a:spcPts val="1200"/>
              </a:spcAft>
              <a:buNone/>
              <a:defRPr sz="11000" b="1">
                <a:solidFill>
                  <a:schemeClr val="tx2"/>
                </a:solidFill>
                <a:latin typeface="Enedis Black" pitchFamily="50" charset="0"/>
              </a:defRPr>
            </a:lvl2pPr>
            <a:lvl3pPr algn="ctr">
              <a:defRPr/>
            </a:lvl3pPr>
            <a:lvl5pPr>
              <a:defRPr/>
            </a:lvl5pPr>
          </a:lstStyle>
          <a:p>
            <a:pPr lvl="0"/>
            <a:r>
              <a:rPr lang="fr-FR"/>
              <a:t>Lorem ipsum </a:t>
            </a:r>
          </a:p>
          <a:p>
            <a:pPr lvl="1"/>
            <a:r>
              <a:rPr lang="fr-FR"/>
              <a:t>56%</a:t>
            </a:r>
          </a:p>
        </p:txBody>
      </p:sp>
    </p:spTree>
    <p:extLst>
      <p:ext uri="{BB962C8B-B14F-4D97-AF65-F5344CB8AC3E}">
        <p14:creationId xmlns:p14="http://schemas.microsoft.com/office/powerpoint/2010/main" val="981067790"/>
      </p:ext>
    </p:extLst>
  </p:cSld>
  <p:clrMapOvr>
    <a:masterClrMapping/>
  </p:clrMapOvr>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anifesto 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965C269-8A53-4E11-8071-5D18F973B4C1}"/>
              </a:ext>
            </a:extLst>
          </p:cNvPr>
          <p:cNvSpPr/>
          <p:nvPr userDrawn="1"/>
        </p:nvSpPr>
        <p:spPr>
          <a:xfrm>
            <a:off x="0" y="0"/>
            <a:ext cx="592836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de la date 9">
            <a:extLst>
              <a:ext uri="{FF2B5EF4-FFF2-40B4-BE49-F238E27FC236}">
                <a16:creationId xmlns:a16="http://schemas.microsoft.com/office/drawing/2014/main" id="{506D7A77-3261-4789-90AF-4391ECC68EB7}"/>
              </a:ext>
            </a:extLst>
          </p:cNvPr>
          <p:cNvSpPr>
            <a:spLocks noGrp="1"/>
          </p:cNvSpPr>
          <p:nvPr>
            <p:ph type="dt" sz="half" idx="19"/>
          </p:nvPr>
        </p:nvSpPr>
        <p:spPr/>
        <p:txBody>
          <a:bodyPr/>
          <a:lstStyle>
            <a:lvl1pPr>
              <a:defRPr>
                <a:solidFill>
                  <a:schemeClr val="tx2"/>
                </a:solidFill>
              </a:defRPr>
            </a:lvl1pPr>
          </a:lstStyle>
          <a:p>
            <a:r>
              <a:rPr lang="fr-FR" smtClean="0"/>
              <a:t>25 mai 2022</a:t>
            </a:r>
            <a:endParaRPr lang="fr-FR"/>
          </a:p>
        </p:txBody>
      </p:sp>
      <p:sp>
        <p:nvSpPr>
          <p:cNvPr id="11" name="Espace réservé du pied de page 10">
            <a:extLst>
              <a:ext uri="{FF2B5EF4-FFF2-40B4-BE49-F238E27FC236}">
                <a16:creationId xmlns:a16="http://schemas.microsoft.com/office/drawing/2014/main" id="{05070C08-0C4F-480C-A4AD-38AC3DBE4AC8}"/>
              </a:ext>
            </a:extLst>
          </p:cNvPr>
          <p:cNvSpPr>
            <a:spLocks noGrp="1"/>
          </p:cNvSpPr>
          <p:nvPr>
            <p:ph type="ftr" sz="quarter" idx="20"/>
          </p:nvPr>
        </p:nvSpPr>
        <p:spPr>
          <a:xfrm>
            <a:off x="1626384" y="6469013"/>
            <a:ext cx="4812515" cy="226714"/>
          </a:xfrm>
          <a:prstGeom prst="rect">
            <a:avLst/>
          </a:prstGeom>
        </p:spPr>
        <p:txBody>
          <a:bodyPr/>
          <a:lstStyle>
            <a:lvl1pPr>
              <a:defRPr>
                <a:solidFill>
                  <a:schemeClr val="bg1"/>
                </a:solidFill>
              </a:defRPr>
            </a:lvl1pPr>
          </a:lstStyle>
          <a:p>
            <a:r>
              <a:rPr lang="fr-FR" smtClean="0"/>
              <a:t>Stratégie Mobilité Electrique Enedis</a:t>
            </a:r>
            <a:endParaRPr lang="fr-FR"/>
          </a:p>
        </p:txBody>
      </p:sp>
      <p:sp>
        <p:nvSpPr>
          <p:cNvPr id="12" name="Espace réservé du numéro de diapositive 11">
            <a:extLst>
              <a:ext uri="{FF2B5EF4-FFF2-40B4-BE49-F238E27FC236}">
                <a16:creationId xmlns:a16="http://schemas.microsoft.com/office/drawing/2014/main" id="{A20B3F73-B7A3-4D47-82E4-C5AA9E80D66F}"/>
              </a:ext>
            </a:extLst>
          </p:cNvPr>
          <p:cNvSpPr>
            <a:spLocks noGrp="1"/>
          </p:cNvSpPr>
          <p:nvPr>
            <p:ph type="sldNum" sz="quarter" idx="21"/>
          </p:nvPr>
        </p:nvSpPr>
        <p:spPr/>
        <p:txBody>
          <a:bodyPr/>
          <a:lstStyle>
            <a:lvl1pPr>
              <a:defRPr>
                <a:solidFill>
                  <a:schemeClr val="tx2"/>
                </a:solidFill>
              </a:defRPr>
            </a:lvl1pPr>
          </a:lstStyle>
          <a:p>
            <a:fld id="{6B54B0F7-55DD-40D6-B7F4-70B586885C0B}" type="slidenum">
              <a:rPr lang="fr-FR" smtClean="0"/>
              <a:pPr/>
              <a:t>‹N°›</a:t>
            </a:fld>
            <a:endParaRPr lang="fr-FR"/>
          </a:p>
        </p:txBody>
      </p:sp>
      <p:grpSp>
        <p:nvGrpSpPr>
          <p:cNvPr id="15" name="Groupe 14">
            <a:extLst>
              <a:ext uri="{FF2B5EF4-FFF2-40B4-BE49-F238E27FC236}">
                <a16:creationId xmlns:a16="http://schemas.microsoft.com/office/drawing/2014/main" id="{C19A4B2A-8736-4B82-A793-007180C52A50}"/>
              </a:ext>
            </a:extLst>
          </p:cNvPr>
          <p:cNvGrpSpPr>
            <a:grpSpLocks noChangeAspect="1"/>
          </p:cNvGrpSpPr>
          <p:nvPr userDrawn="1"/>
        </p:nvGrpSpPr>
        <p:grpSpPr>
          <a:xfrm>
            <a:off x="518307" y="6473033"/>
            <a:ext cx="767567" cy="155112"/>
            <a:chOff x="3231832" y="7185063"/>
            <a:chExt cx="5132298" cy="1037158"/>
          </a:xfrm>
        </p:grpSpPr>
        <p:sp>
          <p:nvSpPr>
            <p:cNvPr id="17" name="Forme libre : forme 16">
              <a:extLst>
                <a:ext uri="{FF2B5EF4-FFF2-40B4-BE49-F238E27FC236}">
                  <a16:creationId xmlns:a16="http://schemas.microsoft.com/office/drawing/2014/main" id="{E84B3FD2-F691-45FF-87E5-C621BA65D5B6}"/>
                </a:ext>
              </a:extLst>
            </p:cNvPr>
            <p:cNvSpPr/>
            <p:nvPr/>
          </p:nvSpPr>
          <p:spPr>
            <a:xfrm>
              <a:off x="5071966" y="7185101"/>
              <a:ext cx="1117644" cy="1037120"/>
            </a:xfrm>
            <a:custGeom>
              <a:avLst/>
              <a:gdLst>
                <a:gd name="connsiteX0" fmla="*/ 519115 w 1117644"/>
                <a:gd name="connsiteY0" fmla="*/ 848219 h 1037120"/>
                <a:gd name="connsiteX1" fmla="*/ 324919 w 1117644"/>
                <a:gd name="connsiteY1" fmla="*/ 668711 h 1037120"/>
                <a:gd name="connsiteX2" fmla="*/ 325338 w 1117644"/>
                <a:gd name="connsiteY2" fmla="*/ 636136 h 1037120"/>
                <a:gd name="connsiteX3" fmla="*/ 739428 w 1117644"/>
                <a:gd name="connsiteY3" fmla="*/ 636136 h 1037120"/>
                <a:gd name="connsiteX4" fmla="*/ 999289 w 1117644"/>
                <a:gd name="connsiteY4" fmla="*/ 394601 h 1037120"/>
                <a:gd name="connsiteX5" fmla="*/ 999289 w 1117644"/>
                <a:gd name="connsiteY5" fmla="*/ 241572 h 1037120"/>
                <a:gd name="connsiteX6" fmla="*/ 739428 w 1117644"/>
                <a:gd name="connsiteY6" fmla="*/ 37 h 1037120"/>
                <a:gd name="connsiteX7" fmla="*/ 378107 w 1117644"/>
                <a:gd name="connsiteY7" fmla="*/ 37 h 1037120"/>
                <a:gd name="connsiteX8" fmla="*/ 317775 w 1117644"/>
                <a:gd name="connsiteY8" fmla="*/ 4647 h 1037120"/>
                <a:gd name="connsiteX9" fmla="*/ 118684 w 1117644"/>
                <a:gd name="connsiteY9" fmla="*/ 241572 h 1037120"/>
                <a:gd name="connsiteX10" fmla="*/ 118684 w 1117644"/>
                <a:gd name="connsiteY10" fmla="*/ 330402 h 1037120"/>
                <a:gd name="connsiteX11" fmla="*/ 151850 w 1117644"/>
                <a:gd name="connsiteY11" fmla="*/ 367302 h 1037120"/>
                <a:gd name="connsiteX12" fmla="*/ 292096 w 1117644"/>
                <a:gd name="connsiteY12" fmla="*/ 367302 h 1037120"/>
                <a:gd name="connsiteX13" fmla="*/ 325300 w 1117644"/>
                <a:gd name="connsiteY13" fmla="*/ 330402 h 1037120"/>
                <a:gd name="connsiteX14" fmla="*/ 325300 w 1117644"/>
                <a:gd name="connsiteY14" fmla="*/ 273062 h 1037120"/>
                <a:gd name="connsiteX15" fmla="*/ 417369 w 1117644"/>
                <a:gd name="connsiteY15" fmla="*/ 188994 h 1037120"/>
                <a:gd name="connsiteX16" fmla="*/ 700680 w 1117644"/>
                <a:gd name="connsiteY16" fmla="*/ 188994 h 1037120"/>
                <a:gd name="connsiteX17" fmla="*/ 792768 w 1117644"/>
                <a:gd name="connsiteY17" fmla="*/ 273062 h 1037120"/>
                <a:gd name="connsiteX18" fmla="*/ 792768 w 1117644"/>
                <a:gd name="connsiteY18" fmla="*/ 363892 h 1037120"/>
                <a:gd name="connsiteX19" fmla="*/ 700680 w 1117644"/>
                <a:gd name="connsiteY19" fmla="*/ 447884 h 1037120"/>
                <a:gd name="connsiteX20" fmla="*/ 250 w 1117644"/>
                <a:gd name="connsiteY20" fmla="*/ 447884 h 1037120"/>
                <a:gd name="connsiteX21" fmla="*/ 250 w 1117644"/>
                <a:gd name="connsiteY21" fmla="*/ 636136 h 1037120"/>
                <a:gd name="connsiteX22" fmla="*/ 118188 w 1117644"/>
                <a:gd name="connsiteY22" fmla="*/ 636136 h 1037120"/>
                <a:gd name="connsiteX23" fmla="*/ 118188 w 1117644"/>
                <a:gd name="connsiteY23" fmla="*/ 668673 h 1037120"/>
                <a:gd name="connsiteX24" fmla="*/ 519800 w 1117644"/>
                <a:gd name="connsiteY24" fmla="*/ 1037157 h 1037120"/>
                <a:gd name="connsiteX25" fmla="*/ 1117894 w 1117644"/>
                <a:gd name="connsiteY25" fmla="*/ 1037157 h 1037120"/>
                <a:gd name="connsiteX26" fmla="*/ 1117894 w 1117644"/>
                <a:gd name="connsiteY26" fmla="*/ 848200 h 1037120"/>
                <a:gd name="connsiteX27" fmla="*/ 519115 w 1117644"/>
                <a:gd name="connsiteY27" fmla="*/ 848219 h 103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17644" h="1037120">
                  <a:moveTo>
                    <a:pt x="519115" y="848219"/>
                  </a:moveTo>
                  <a:cubicBezTo>
                    <a:pt x="412035" y="848219"/>
                    <a:pt x="324919" y="768248"/>
                    <a:pt x="324919" y="668711"/>
                  </a:cubicBezTo>
                  <a:lnTo>
                    <a:pt x="325338" y="636136"/>
                  </a:lnTo>
                  <a:lnTo>
                    <a:pt x="739428" y="636136"/>
                  </a:lnTo>
                  <a:cubicBezTo>
                    <a:pt x="882741" y="636136"/>
                    <a:pt x="999289" y="527798"/>
                    <a:pt x="999289" y="394601"/>
                  </a:cubicBezTo>
                  <a:lnTo>
                    <a:pt x="999289" y="241572"/>
                  </a:lnTo>
                  <a:cubicBezTo>
                    <a:pt x="999289" y="108375"/>
                    <a:pt x="882741" y="37"/>
                    <a:pt x="739428" y="37"/>
                  </a:cubicBezTo>
                  <a:lnTo>
                    <a:pt x="378107" y="37"/>
                  </a:lnTo>
                  <a:cubicBezTo>
                    <a:pt x="358028" y="37"/>
                    <a:pt x="337740" y="228"/>
                    <a:pt x="317775" y="4647"/>
                  </a:cubicBezTo>
                  <a:cubicBezTo>
                    <a:pt x="200294" y="30727"/>
                    <a:pt x="118684" y="129349"/>
                    <a:pt x="118684" y="241572"/>
                  </a:cubicBezTo>
                  <a:lnTo>
                    <a:pt x="118684" y="330402"/>
                  </a:lnTo>
                  <a:cubicBezTo>
                    <a:pt x="118684" y="350729"/>
                    <a:pt x="133543" y="367302"/>
                    <a:pt x="151850" y="367302"/>
                  </a:cubicBezTo>
                  <a:lnTo>
                    <a:pt x="292096" y="367302"/>
                  </a:lnTo>
                  <a:cubicBezTo>
                    <a:pt x="310422" y="367302"/>
                    <a:pt x="325300" y="350729"/>
                    <a:pt x="325300" y="330402"/>
                  </a:cubicBezTo>
                  <a:lnTo>
                    <a:pt x="325300" y="273062"/>
                  </a:lnTo>
                  <a:cubicBezTo>
                    <a:pt x="325300" y="226713"/>
                    <a:pt x="366600" y="188994"/>
                    <a:pt x="417369" y="188994"/>
                  </a:cubicBezTo>
                  <a:lnTo>
                    <a:pt x="700680" y="188994"/>
                  </a:lnTo>
                  <a:cubicBezTo>
                    <a:pt x="751467" y="188994"/>
                    <a:pt x="792768" y="226713"/>
                    <a:pt x="792768" y="273062"/>
                  </a:cubicBezTo>
                  <a:lnTo>
                    <a:pt x="792768" y="363892"/>
                  </a:lnTo>
                  <a:cubicBezTo>
                    <a:pt x="792768" y="410203"/>
                    <a:pt x="751467" y="447884"/>
                    <a:pt x="700680" y="447884"/>
                  </a:cubicBezTo>
                  <a:lnTo>
                    <a:pt x="250" y="447884"/>
                  </a:lnTo>
                  <a:lnTo>
                    <a:pt x="250" y="636136"/>
                  </a:lnTo>
                  <a:lnTo>
                    <a:pt x="118188" y="636136"/>
                  </a:lnTo>
                  <a:lnTo>
                    <a:pt x="118188" y="668673"/>
                  </a:lnTo>
                  <a:cubicBezTo>
                    <a:pt x="118188" y="872527"/>
                    <a:pt x="298859" y="1037157"/>
                    <a:pt x="519800" y="1037157"/>
                  </a:cubicBezTo>
                  <a:lnTo>
                    <a:pt x="1117894" y="1037157"/>
                  </a:lnTo>
                  <a:lnTo>
                    <a:pt x="1117894" y="848200"/>
                  </a:lnTo>
                  <a:lnTo>
                    <a:pt x="519115" y="848219"/>
                  </a:lnTo>
                  <a:close/>
                </a:path>
              </a:pathLst>
            </a:custGeom>
            <a:solidFill>
              <a:srgbClr val="96CD32"/>
            </a:solidFill>
            <a:ln w="19050" cap="flat">
              <a:noFill/>
              <a:prstDash val="solid"/>
              <a:round/>
            </a:ln>
          </p:spPr>
          <p:txBody>
            <a:bodyPr rtlCol="0" anchor="ctr"/>
            <a:lstStyle/>
            <a:p>
              <a:endParaRPr lang="fr-FR"/>
            </a:p>
          </p:txBody>
        </p:sp>
        <p:sp>
          <p:nvSpPr>
            <p:cNvPr id="18" name="Forme libre : forme 17">
              <a:extLst>
                <a:ext uri="{FF2B5EF4-FFF2-40B4-BE49-F238E27FC236}">
                  <a16:creationId xmlns:a16="http://schemas.microsoft.com/office/drawing/2014/main" id="{140C30BB-7156-4C7C-9EA1-A28421DBB5B2}"/>
                </a:ext>
              </a:extLst>
            </p:cNvPr>
            <p:cNvSpPr/>
            <p:nvPr/>
          </p:nvSpPr>
          <p:spPr>
            <a:xfrm>
              <a:off x="3231832" y="7185063"/>
              <a:ext cx="5132298" cy="1037139"/>
            </a:xfrm>
            <a:custGeom>
              <a:avLst/>
              <a:gdLst>
                <a:gd name="connsiteX0" fmla="*/ 4143956 w 5132298"/>
                <a:gd name="connsiteY0" fmla="*/ 78849 h 1037139"/>
                <a:gd name="connsiteX1" fmla="*/ 4143651 w 5132298"/>
                <a:gd name="connsiteY1" fmla="*/ 36939 h 1037139"/>
                <a:gd name="connsiteX2" fmla="*/ 4110447 w 5132298"/>
                <a:gd name="connsiteY2" fmla="*/ 78 h 1037139"/>
                <a:gd name="connsiteX3" fmla="*/ 3970639 w 5132298"/>
                <a:gd name="connsiteY3" fmla="*/ 78 h 1037139"/>
                <a:gd name="connsiteX4" fmla="*/ 3937435 w 5132298"/>
                <a:gd name="connsiteY4" fmla="*/ 36939 h 1037139"/>
                <a:gd name="connsiteX5" fmla="*/ 3937435 w 5132298"/>
                <a:gd name="connsiteY5" fmla="*/ 78849 h 1037139"/>
                <a:gd name="connsiteX6" fmla="*/ 3937454 w 5132298"/>
                <a:gd name="connsiteY6" fmla="*/ 78849 h 1037139"/>
                <a:gd name="connsiteX7" fmla="*/ 3937759 w 5132298"/>
                <a:gd name="connsiteY7" fmla="*/ 152249 h 1037139"/>
                <a:gd name="connsiteX8" fmla="*/ 3970963 w 5132298"/>
                <a:gd name="connsiteY8" fmla="*/ 189111 h 1037139"/>
                <a:gd name="connsiteX9" fmla="*/ 4110771 w 5132298"/>
                <a:gd name="connsiteY9" fmla="*/ 189111 h 1037139"/>
                <a:gd name="connsiteX10" fmla="*/ 4143975 w 5132298"/>
                <a:gd name="connsiteY10" fmla="*/ 152249 h 1037139"/>
                <a:gd name="connsiteX11" fmla="*/ 4143975 w 5132298"/>
                <a:gd name="connsiteY11" fmla="*/ 78849 h 1037139"/>
                <a:gd name="connsiteX12" fmla="*/ 4143956 w 5132298"/>
                <a:gd name="connsiteY12" fmla="*/ 78849 h 1037139"/>
                <a:gd name="connsiteX13" fmla="*/ 4143956 w 5132298"/>
                <a:gd name="connsiteY13" fmla="*/ 653397 h 1037139"/>
                <a:gd name="connsiteX14" fmla="*/ 4143651 w 5132298"/>
                <a:gd name="connsiteY14" fmla="*/ 306706 h 1037139"/>
                <a:gd name="connsiteX15" fmla="*/ 4110447 w 5132298"/>
                <a:gd name="connsiteY15" fmla="*/ 269845 h 1037139"/>
                <a:gd name="connsiteX16" fmla="*/ 3970639 w 5132298"/>
                <a:gd name="connsiteY16" fmla="*/ 269845 h 1037139"/>
                <a:gd name="connsiteX17" fmla="*/ 3937435 w 5132298"/>
                <a:gd name="connsiteY17" fmla="*/ 306706 h 1037139"/>
                <a:gd name="connsiteX18" fmla="*/ 3937435 w 5132298"/>
                <a:gd name="connsiteY18" fmla="*/ 653397 h 1037139"/>
                <a:gd name="connsiteX19" fmla="*/ 3937454 w 5132298"/>
                <a:gd name="connsiteY19" fmla="*/ 653397 h 1037139"/>
                <a:gd name="connsiteX20" fmla="*/ 3937759 w 5132298"/>
                <a:gd name="connsiteY20" fmla="*/ 1000069 h 1037139"/>
                <a:gd name="connsiteX21" fmla="*/ 3970963 w 5132298"/>
                <a:gd name="connsiteY21" fmla="*/ 1036931 h 1037139"/>
                <a:gd name="connsiteX22" fmla="*/ 4110771 w 5132298"/>
                <a:gd name="connsiteY22" fmla="*/ 1036931 h 1037139"/>
                <a:gd name="connsiteX23" fmla="*/ 4143975 w 5132298"/>
                <a:gd name="connsiteY23" fmla="*/ 1000069 h 1037139"/>
                <a:gd name="connsiteX24" fmla="*/ 4143975 w 5132298"/>
                <a:gd name="connsiteY24" fmla="*/ 653397 h 1037139"/>
                <a:gd name="connsiteX25" fmla="*/ 4143956 w 5132298"/>
                <a:gd name="connsiteY25" fmla="*/ 653397 h 1037139"/>
                <a:gd name="connsiteX26" fmla="*/ 3441430 w 5132298"/>
                <a:gd name="connsiteY26" fmla="*/ 78 h 1037139"/>
                <a:gd name="connsiteX27" fmla="*/ 2991355 w 5132298"/>
                <a:gd name="connsiteY27" fmla="*/ 78 h 1037139"/>
                <a:gd name="connsiteX28" fmla="*/ 2958131 w 5132298"/>
                <a:gd name="connsiteY28" fmla="*/ 37035 h 1037139"/>
                <a:gd name="connsiteX29" fmla="*/ 2958131 w 5132298"/>
                <a:gd name="connsiteY29" fmla="*/ 646958 h 1037139"/>
                <a:gd name="connsiteX30" fmla="*/ 2991297 w 5132298"/>
                <a:gd name="connsiteY30" fmla="*/ 683858 h 1037139"/>
                <a:gd name="connsiteX31" fmla="*/ 3131391 w 5132298"/>
                <a:gd name="connsiteY31" fmla="*/ 683858 h 1037139"/>
                <a:gd name="connsiteX32" fmla="*/ 3164595 w 5132298"/>
                <a:gd name="connsiteY32" fmla="*/ 646958 h 1037139"/>
                <a:gd name="connsiteX33" fmla="*/ 3164786 w 5132298"/>
                <a:gd name="connsiteY33" fmla="*/ 189015 h 1037139"/>
                <a:gd name="connsiteX34" fmla="*/ 3418284 w 5132298"/>
                <a:gd name="connsiteY34" fmla="*/ 189111 h 1037139"/>
                <a:gd name="connsiteX35" fmla="*/ 3612499 w 5132298"/>
                <a:gd name="connsiteY35" fmla="*/ 369762 h 1037139"/>
                <a:gd name="connsiteX36" fmla="*/ 3612499 w 5132298"/>
                <a:gd name="connsiteY36" fmla="*/ 702794 h 1037139"/>
                <a:gd name="connsiteX37" fmla="*/ 3418284 w 5132298"/>
                <a:gd name="connsiteY37" fmla="*/ 847822 h 1037139"/>
                <a:gd name="connsiteX38" fmla="*/ 2958131 w 5132298"/>
                <a:gd name="connsiteY38" fmla="*/ 848298 h 1037139"/>
                <a:gd name="connsiteX39" fmla="*/ 2958131 w 5132298"/>
                <a:gd name="connsiteY39" fmla="*/ 1037217 h 1037139"/>
                <a:gd name="connsiteX40" fmla="*/ 3418284 w 5132298"/>
                <a:gd name="connsiteY40" fmla="*/ 1036931 h 1037139"/>
                <a:gd name="connsiteX41" fmla="*/ 3818982 w 5132298"/>
                <a:gd name="connsiteY41" fmla="*/ 702794 h 1037139"/>
                <a:gd name="connsiteX42" fmla="*/ 3818982 w 5132298"/>
                <a:gd name="connsiteY42" fmla="*/ 367590 h 1037139"/>
                <a:gd name="connsiteX43" fmla="*/ 3441430 w 5132298"/>
                <a:gd name="connsiteY43" fmla="*/ 78 h 1037139"/>
                <a:gd name="connsiteX44" fmla="*/ 5132651 w 5132298"/>
                <a:gd name="connsiteY44" fmla="*/ 679820 h 1037139"/>
                <a:gd name="connsiteX45" fmla="*/ 5131660 w 5132298"/>
                <a:gd name="connsiteY45" fmla="*/ 650425 h 1037139"/>
                <a:gd name="connsiteX46" fmla="*/ 4877591 w 5132298"/>
                <a:gd name="connsiteY46" fmla="*/ 447943 h 1037139"/>
                <a:gd name="connsiteX47" fmla="*/ 4567171 w 5132298"/>
                <a:gd name="connsiteY47" fmla="*/ 447943 h 1037139"/>
                <a:gd name="connsiteX48" fmla="*/ 4559208 w 5132298"/>
                <a:gd name="connsiteY48" fmla="*/ 447924 h 1037139"/>
                <a:gd name="connsiteX49" fmla="*/ 4469063 w 5132298"/>
                <a:gd name="connsiteY49" fmla="*/ 349759 h 1037139"/>
                <a:gd name="connsiteX50" fmla="*/ 4469368 w 5132298"/>
                <a:gd name="connsiteY50" fmla="*/ 279312 h 1037139"/>
                <a:gd name="connsiteX51" fmla="*/ 4567533 w 5132298"/>
                <a:gd name="connsiteY51" fmla="*/ 189187 h 1037139"/>
                <a:gd name="connsiteX52" fmla="*/ 4690043 w 5132298"/>
                <a:gd name="connsiteY52" fmla="*/ 189187 h 1037139"/>
                <a:gd name="connsiteX53" fmla="*/ 4691243 w 5132298"/>
                <a:gd name="connsiteY53" fmla="*/ 189225 h 1037139"/>
                <a:gd name="connsiteX54" fmla="*/ 5000825 w 5132298"/>
                <a:gd name="connsiteY54" fmla="*/ 189225 h 1037139"/>
                <a:gd name="connsiteX55" fmla="*/ 5035706 w 5132298"/>
                <a:gd name="connsiteY55" fmla="*/ 166270 h 1037139"/>
                <a:gd name="connsiteX56" fmla="*/ 5037687 w 5132298"/>
                <a:gd name="connsiteY56" fmla="*/ 156021 h 1037139"/>
                <a:gd name="connsiteX57" fmla="*/ 5037687 w 5132298"/>
                <a:gd name="connsiteY57" fmla="*/ 33282 h 1037139"/>
                <a:gd name="connsiteX58" fmla="*/ 5000825 w 5132298"/>
                <a:gd name="connsiteY58" fmla="*/ 116 h 1037139"/>
                <a:gd name="connsiteX59" fmla="*/ 4517869 w 5132298"/>
                <a:gd name="connsiteY59" fmla="*/ 173 h 1037139"/>
                <a:gd name="connsiteX60" fmla="*/ 4262409 w 5132298"/>
                <a:gd name="connsiteY60" fmla="*/ 235555 h 1037139"/>
                <a:gd name="connsiteX61" fmla="*/ 4262428 w 5132298"/>
                <a:gd name="connsiteY61" fmla="*/ 382392 h 1037139"/>
                <a:gd name="connsiteX62" fmla="*/ 4497886 w 5132298"/>
                <a:gd name="connsiteY62" fmla="*/ 636214 h 1037139"/>
                <a:gd name="connsiteX63" fmla="*/ 4836309 w 5132298"/>
                <a:gd name="connsiteY63" fmla="*/ 636214 h 1037139"/>
                <a:gd name="connsiteX64" fmla="*/ 4925977 w 5132298"/>
                <a:gd name="connsiteY64" fmla="*/ 734398 h 1037139"/>
                <a:gd name="connsiteX65" fmla="*/ 4925977 w 5132298"/>
                <a:gd name="connsiteY65" fmla="*/ 757944 h 1037139"/>
                <a:gd name="connsiteX66" fmla="*/ 4828289 w 5132298"/>
                <a:gd name="connsiteY66" fmla="*/ 848050 h 1037139"/>
                <a:gd name="connsiteX67" fmla="*/ 4299290 w 5132298"/>
                <a:gd name="connsiteY67" fmla="*/ 848050 h 1037139"/>
                <a:gd name="connsiteX68" fmla="*/ 4264447 w 5132298"/>
                <a:gd name="connsiteY68" fmla="*/ 870872 h 1037139"/>
                <a:gd name="connsiteX69" fmla="*/ 4262390 w 5132298"/>
                <a:gd name="connsiteY69" fmla="*/ 881216 h 1037139"/>
                <a:gd name="connsiteX70" fmla="*/ 4262390 w 5132298"/>
                <a:gd name="connsiteY70" fmla="*/ 1003955 h 1037139"/>
                <a:gd name="connsiteX71" fmla="*/ 4299290 w 5132298"/>
                <a:gd name="connsiteY71" fmla="*/ 1037160 h 1037139"/>
                <a:gd name="connsiteX72" fmla="*/ 4732296 w 5132298"/>
                <a:gd name="connsiteY72" fmla="*/ 1037160 h 1037139"/>
                <a:gd name="connsiteX73" fmla="*/ 4879172 w 5132298"/>
                <a:gd name="connsiteY73" fmla="*/ 1037083 h 1037139"/>
                <a:gd name="connsiteX74" fmla="*/ 5132651 w 5132298"/>
                <a:gd name="connsiteY74" fmla="*/ 801587 h 1037139"/>
                <a:gd name="connsiteX75" fmla="*/ 5132651 w 5132298"/>
                <a:gd name="connsiteY75" fmla="*/ 679820 h 1037139"/>
                <a:gd name="connsiteX76" fmla="*/ 280863 w 5132298"/>
                <a:gd name="connsiteY76" fmla="*/ 189111 h 1037139"/>
                <a:gd name="connsiteX77" fmla="*/ 825046 w 5132298"/>
                <a:gd name="connsiteY77" fmla="*/ 189111 h 1037139"/>
                <a:gd name="connsiteX78" fmla="*/ 861203 w 5132298"/>
                <a:gd name="connsiteY78" fmla="*/ 156573 h 1037139"/>
                <a:gd name="connsiteX79" fmla="*/ 861203 w 5132298"/>
                <a:gd name="connsiteY79" fmla="*/ 32729 h 1037139"/>
                <a:gd name="connsiteX80" fmla="*/ 825046 w 5132298"/>
                <a:gd name="connsiteY80" fmla="*/ 78 h 1037139"/>
                <a:gd name="connsiteX81" fmla="*/ 277073 w 5132298"/>
                <a:gd name="connsiteY81" fmla="*/ 78 h 1037139"/>
                <a:gd name="connsiteX82" fmla="*/ 352 w 5132298"/>
                <a:gd name="connsiteY82" fmla="*/ 255005 h 1037139"/>
                <a:gd name="connsiteX83" fmla="*/ 352 w 5132298"/>
                <a:gd name="connsiteY83" fmla="*/ 782309 h 1037139"/>
                <a:gd name="connsiteX84" fmla="*/ 277073 w 5132298"/>
                <a:gd name="connsiteY84" fmla="*/ 1037217 h 1037139"/>
                <a:gd name="connsiteX85" fmla="*/ 825046 w 5132298"/>
                <a:gd name="connsiteY85" fmla="*/ 1037217 h 1037139"/>
                <a:gd name="connsiteX86" fmla="*/ 861203 w 5132298"/>
                <a:gd name="connsiteY86" fmla="*/ 1004660 h 1037139"/>
                <a:gd name="connsiteX87" fmla="*/ 861203 w 5132298"/>
                <a:gd name="connsiteY87" fmla="*/ 880816 h 1037139"/>
                <a:gd name="connsiteX88" fmla="*/ 825046 w 5132298"/>
                <a:gd name="connsiteY88" fmla="*/ 848298 h 1037139"/>
                <a:gd name="connsiteX89" fmla="*/ 280863 w 5132298"/>
                <a:gd name="connsiteY89" fmla="*/ 848298 h 1037139"/>
                <a:gd name="connsiteX90" fmla="*/ 207006 w 5132298"/>
                <a:gd name="connsiteY90" fmla="*/ 779051 h 1037139"/>
                <a:gd name="connsiteX91" fmla="*/ 207006 w 5132298"/>
                <a:gd name="connsiteY91" fmla="*/ 634347 h 1037139"/>
                <a:gd name="connsiteX92" fmla="*/ 532457 w 5132298"/>
                <a:gd name="connsiteY92" fmla="*/ 634347 h 1037139"/>
                <a:gd name="connsiteX93" fmla="*/ 568595 w 5132298"/>
                <a:gd name="connsiteY93" fmla="*/ 601772 h 1037139"/>
                <a:gd name="connsiteX94" fmla="*/ 568595 w 5132298"/>
                <a:gd name="connsiteY94" fmla="*/ 480557 h 1037139"/>
                <a:gd name="connsiteX95" fmla="*/ 532457 w 5132298"/>
                <a:gd name="connsiteY95" fmla="*/ 447943 h 1037139"/>
                <a:gd name="connsiteX96" fmla="*/ 207006 w 5132298"/>
                <a:gd name="connsiteY96" fmla="*/ 447943 h 1037139"/>
                <a:gd name="connsiteX97" fmla="*/ 207006 w 5132298"/>
                <a:gd name="connsiteY97" fmla="*/ 258395 h 1037139"/>
                <a:gd name="connsiteX98" fmla="*/ 280863 w 5132298"/>
                <a:gd name="connsiteY98" fmla="*/ 189111 h 1037139"/>
                <a:gd name="connsiteX99" fmla="*/ 1186405 w 5132298"/>
                <a:gd name="connsiteY99" fmla="*/ 189130 h 1037139"/>
                <a:gd name="connsiteX100" fmla="*/ 1186405 w 5132298"/>
                <a:gd name="connsiteY100" fmla="*/ 1000336 h 1037139"/>
                <a:gd name="connsiteX101" fmla="*/ 1153144 w 5132298"/>
                <a:gd name="connsiteY101" fmla="*/ 1037198 h 1037139"/>
                <a:gd name="connsiteX102" fmla="*/ 1012879 w 5132298"/>
                <a:gd name="connsiteY102" fmla="*/ 1037198 h 1037139"/>
                <a:gd name="connsiteX103" fmla="*/ 979656 w 5132298"/>
                <a:gd name="connsiteY103" fmla="*/ 1000336 h 1037139"/>
                <a:gd name="connsiteX104" fmla="*/ 979656 w 5132298"/>
                <a:gd name="connsiteY104" fmla="*/ 37035 h 1037139"/>
                <a:gd name="connsiteX105" fmla="*/ 1012879 w 5132298"/>
                <a:gd name="connsiteY105" fmla="*/ 116 h 1037139"/>
                <a:gd name="connsiteX106" fmla="*/ 1439846 w 5132298"/>
                <a:gd name="connsiteY106" fmla="*/ 116 h 1037139"/>
                <a:gd name="connsiteX107" fmla="*/ 1840506 w 5132298"/>
                <a:gd name="connsiteY107" fmla="*/ 369838 h 1037139"/>
                <a:gd name="connsiteX108" fmla="*/ 1840506 w 5132298"/>
                <a:gd name="connsiteY108" fmla="*/ 1004032 h 1037139"/>
                <a:gd name="connsiteX109" fmla="*/ 1803625 w 5132298"/>
                <a:gd name="connsiteY109" fmla="*/ 1037198 h 1037139"/>
                <a:gd name="connsiteX110" fmla="*/ 1670885 w 5132298"/>
                <a:gd name="connsiteY110" fmla="*/ 1037198 h 1037139"/>
                <a:gd name="connsiteX111" fmla="*/ 1634023 w 5132298"/>
                <a:gd name="connsiteY111" fmla="*/ 1004032 h 1037139"/>
                <a:gd name="connsiteX112" fmla="*/ 1634023 w 5132298"/>
                <a:gd name="connsiteY112" fmla="*/ 369838 h 1037139"/>
                <a:gd name="connsiteX113" fmla="*/ 1439846 w 5132298"/>
                <a:gd name="connsiteY113" fmla="*/ 189225 h 1037139"/>
                <a:gd name="connsiteX114" fmla="*/ 1186405 w 5132298"/>
                <a:gd name="connsiteY114" fmla="*/ 189130 h 103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132298" h="1037139">
                  <a:moveTo>
                    <a:pt x="4143956" y="78849"/>
                  </a:moveTo>
                  <a:lnTo>
                    <a:pt x="4143651" y="36939"/>
                  </a:lnTo>
                  <a:cubicBezTo>
                    <a:pt x="4143651" y="16613"/>
                    <a:pt x="4128754" y="78"/>
                    <a:pt x="4110447" y="78"/>
                  </a:cubicBezTo>
                  <a:lnTo>
                    <a:pt x="3970639" y="78"/>
                  </a:lnTo>
                  <a:cubicBezTo>
                    <a:pt x="3952351" y="78"/>
                    <a:pt x="3937435" y="16613"/>
                    <a:pt x="3937435" y="36939"/>
                  </a:cubicBezTo>
                  <a:lnTo>
                    <a:pt x="3937435" y="78849"/>
                  </a:lnTo>
                  <a:lnTo>
                    <a:pt x="3937454" y="78849"/>
                  </a:lnTo>
                  <a:lnTo>
                    <a:pt x="3937759" y="152249"/>
                  </a:lnTo>
                  <a:cubicBezTo>
                    <a:pt x="3937759" y="172575"/>
                    <a:pt x="3952637" y="189111"/>
                    <a:pt x="3970963" y="189111"/>
                  </a:cubicBezTo>
                  <a:lnTo>
                    <a:pt x="4110771" y="189111"/>
                  </a:lnTo>
                  <a:cubicBezTo>
                    <a:pt x="4129059" y="189111"/>
                    <a:pt x="4143975" y="172575"/>
                    <a:pt x="4143975" y="152249"/>
                  </a:cubicBezTo>
                  <a:lnTo>
                    <a:pt x="4143975" y="78849"/>
                  </a:lnTo>
                  <a:lnTo>
                    <a:pt x="4143956" y="78849"/>
                  </a:lnTo>
                  <a:close/>
                  <a:moveTo>
                    <a:pt x="4143956" y="653397"/>
                  </a:moveTo>
                  <a:lnTo>
                    <a:pt x="4143651" y="306706"/>
                  </a:lnTo>
                  <a:cubicBezTo>
                    <a:pt x="4143651" y="286361"/>
                    <a:pt x="4128754" y="269845"/>
                    <a:pt x="4110447" y="269845"/>
                  </a:cubicBezTo>
                  <a:lnTo>
                    <a:pt x="3970639" y="269845"/>
                  </a:lnTo>
                  <a:cubicBezTo>
                    <a:pt x="3952351" y="269845"/>
                    <a:pt x="3937435" y="286361"/>
                    <a:pt x="3937435" y="306706"/>
                  </a:cubicBezTo>
                  <a:lnTo>
                    <a:pt x="3937435" y="653397"/>
                  </a:lnTo>
                  <a:lnTo>
                    <a:pt x="3937454" y="653397"/>
                  </a:lnTo>
                  <a:lnTo>
                    <a:pt x="3937759" y="1000069"/>
                  </a:lnTo>
                  <a:cubicBezTo>
                    <a:pt x="3937759" y="1020396"/>
                    <a:pt x="3952637" y="1036931"/>
                    <a:pt x="3970963" y="1036931"/>
                  </a:cubicBezTo>
                  <a:lnTo>
                    <a:pt x="4110771" y="1036931"/>
                  </a:lnTo>
                  <a:cubicBezTo>
                    <a:pt x="4129059" y="1036931"/>
                    <a:pt x="4143975" y="1020396"/>
                    <a:pt x="4143975" y="1000069"/>
                  </a:cubicBezTo>
                  <a:lnTo>
                    <a:pt x="4143975" y="653397"/>
                  </a:lnTo>
                  <a:lnTo>
                    <a:pt x="4143956" y="653397"/>
                  </a:lnTo>
                  <a:close/>
                  <a:moveTo>
                    <a:pt x="3441430" y="78"/>
                  </a:moveTo>
                  <a:lnTo>
                    <a:pt x="2991355" y="78"/>
                  </a:lnTo>
                  <a:cubicBezTo>
                    <a:pt x="2973029" y="78"/>
                    <a:pt x="2958131" y="16670"/>
                    <a:pt x="2958131" y="37035"/>
                  </a:cubicBezTo>
                  <a:lnTo>
                    <a:pt x="2958131" y="646958"/>
                  </a:lnTo>
                  <a:cubicBezTo>
                    <a:pt x="2958131" y="667323"/>
                    <a:pt x="2973009" y="683858"/>
                    <a:pt x="2991297" y="683858"/>
                  </a:cubicBezTo>
                  <a:lnTo>
                    <a:pt x="3131391" y="683858"/>
                  </a:lnTo>
                  <a:cubicBezTo>
                    <a:pt x="3149717" y="683858"/>
                    <a:pt x="3164595" y="667323"/>
                    <a:pt x="3164595" y="646958"/>
                  </a:cubicBezTo>
                  <a:lnTo>
                    <a:pt x="3164786" y="189015"/>
                  </a:lnTo>
                  <a:lnTo>
                    <a:pt x="3418284" y="189111"/>
                  </a:lnTo>
                  <a:cubicBezTo>
                    <a:pt x="3525383" y="189111"/>
                    <a:pt x="3612499" y="270149"/>
                    <a:pt x="3612499" y="369762"/>
                  </a:cubicBezTo>
                  <a:lnTo>
                    <a:pt x="3612499" y="702794"/>
                  </a:lnTo>
                  <a:cubicBezTo>
                    <a:pt x="3612499" y="802368"/>
                    <a:pt x="3525383" y="847822"/>
                    <a:pt x="3418284" y="847822"/>
                  </a:cubicBezTo>
                  <a:lnTo>
                    <a:pt x="2958131" y="848298"/>
                  </a:lnTo>
                  <a:lnTo>
                    <a:pt x="2958131" y="1037217"/>
                  </a:lnTo>
                  <a:lnTo>
                    <a:pt x="3418284" y="1036931"/>
                  </a:lnTo>
                  <a:cubicBezTo>
                    <a:pt x="3639226" y="1036931"/>
                    <a:pt x="3818982" y="906648"/>
                    <a:pt x="3818982" y="702794"/>
                  </a:cubicBezTo>
                  <a:lnTo>
                    <a:pt x="3818982" y="367590"/>
                  </a:lnTo>
                  <a:cubicBezTo>
                    <a:pt x="3818982" y="171985"/>
                    <a:pt x="3654866" y="78"/>
                    <a:pt x="3441430" y="78"/>
                  </a:cubicBezTo>
                  <a:moveTo>
                    <a:pt x="5132651" y="679820"/>
                  </a:moveTo>
                  <a:cubicBezTo>
                    <a:pt x="5132651" y="670447"/>
                    <a:pt x="5132575" y="660846"/>
                    <a:pt x="5131660" y="650425"/>
                  </a:cubicBezTo>
                  <a:cubicBezTo>
                    <a:pt x="5121469" y="535230"/>
                    <a:pt x="5002749" y="447943"/>
                    <a:pt x="4877591" y="447943"/>
                  </a:cubicBezTo>
                  <a:lnTo>
                    <a:pt x="4567171" y="447943"/>
                  </a:lnTo>
                  <a:lnTo>
                    <a:pt x="4559208" y="447924"/>
                  </a:lnTo>
                  <a:cubicBezTo>
                    <a:pt x="4509487" y="447924"/>
                    <a:pt x="4469063" y="403861"/>
                    <a:pt x="4469063" y="349759"/>
                  </a:cubicBezTo>
                  <a:lnTo>
                    <a:pt x="4469368" y="279312"/>
                  </a:lnTo>
                  <a:cubicBezTo>
                    <a:pt x="4469368" y="229630"/>
                    <a:pt x="4513412" y="189187"/>
                    <a:pt x="4567533" y="189187"/>
                  </a:cubicBezTo>
                  <a:lnTo>
                    <a:pt x="4690043" y="189187"/>
                  </a:lnTo>
                  <a:lnTo>
                    <a:pt x="4691243" y="189225"/>
                  </a:lnTo>
                  <a:lnTo>
                    <a:pt x="5000825" y="189225"/>
                  </a:lnTo>
                  <a:cubicBezTo>
                    <a:pt x="5016656" y="189225"/>
                    <a:pt x="5030676" y="180005"/>
                    <a:pt x="5035706" y="166270"/>
                  </a:cubicBezTo>
                  <a:cubicBezTo>
                    <a:pt x="5037039" y="162612"/>
                    <a:pt x="5037687" y="159259"/>
                    <a:pt x="5037687" y="156021"/>
                  </a:cubicBezTo>
                  <a:lnTo>
                    <a:pt x="5037687" y="33282"/>
                  </a:lnTo>
                  <a:cubicBezTo>
                    <a:pt x="5037687" y="14956"/>
                    <a:pt x="5021151" y="116"/>
                    <a:pt x="5000825" y="116"/>
                  </a:cubicBezTo>
                  <a:lnTo>
                    <a:pt x="4517869" y="173"/>
                  </a:lnTo>
                  <a:cubicBezTo>
                    <a:pt x="4377928" y="173"/>
                    <a:pt x="4262409" y="105805"/>
                    <a:pt x="4262409" y="235555"/>
                  </a:cubicBezTo>
                  <a:lnTo>
                    <a:pt x="4262428" y="382392"/>
                  </a:lnTo>
                  <a:cubicBezTo>
                    <a:pt x="4262428" y="522352"/>
                    <a:pt x="4368041" y="636214"/>
                    <a:pt x="4497886" y="636214"/>
                  </a:cubicBezTo>
                  <a:lnTo>
                    <a:pt x="4836309" y="636214"/>
                  </a:lnTo>
                  <a:cubicBezTo>
                    <a:pt x="4885992" y="636214"/>
                    <a:pt x="4925977" y="680258"/>
                    <a:pt x="4925977" y="734398"/>
                  </a:cubicBezTo>
                  <a:lnTo>
                    <a:pt x="4925977" y="757944"/>
                  </a:lnTo>
                  <a:cubicBezTo>
                    <a:pt x="4925977" y="807645"/>
                    <a:pt x="4882410" y="848050"/>
                    <a:pt x="4828289" y="848050"/>
                  </a:cubicBezTo>
                  <a:lnTo>
                    <a:pt x="4299290" y="848050"/>
                  </a:lnTo>
                  <a:cubicBezTo>
                    <a:pt x="4283440" y="848050"/>
                    <a:pt x="4269419" y="857213"/>
                    <a:pt x="4264447" y="870872"/>
                  </a:cubicBezTo>
                  <a:cubicBezTo>
                    <a:pt x="4263057" y="874606"/>
                    <a:pt x="4262390" y="877997"/>
                    <a:pt x="4262390" y="881216"/>
                  </a:cubicBezTo>
                  <a:lnTo>
                    <a:pt x="4262390" y="1003955"/>
                  </a:lnTo>
                  <a:cubicBezTo>
                    <a:pt x="4262390" y="1022262"/>
                    <a:pt x="4278944" y="1037160"/>
                    <a:pt x="4299290" y="1037160"/>
                  </a:cubicBezTo>
                  <a:lnTo>
                    <a:pt x="4732296" y="1037160"/>
                  </a:lnTo>
                  <a:lnTo>
                    <a:pt x="4879172" y="1037083"/>
                  </a:lnTo>
                  <a:cubicBezTo>
                    <a:pt x="5019075" y="1037083"/>
                    <a:pt x="5132651" y="931470"/>
                    <a:pt x="5132651" y="801587"/>
                  </a:cubicBezTo>
                  <a:lnTo>
                    <a:pt x="5132651" y="679820"/>
                  </a:lnTo>
                  <a:close/>
                  <a:moveTo>
                    <a:pt x="280863" y="189111"/>
                  </a:moveTo>
                  <a:lnTo>
                    <a:pt x="825046" y="189111"/>
                  </a:lnTo>
                  <a:cubicBezTo>
                    <a:pt x="844972" y="189111"/>
                    <a:pt x="861203" y="174518"/>
                    <a:pt x="861203" y="156573"/>
                  </a:cubicBezTo>
                  <a:lnTo>
                    <a:pt x="861203" y="32729"/>
                  </a:lnTo>
                  <a:cubicBezTo>
                    <a:pt x="861203" y="14746"/>
                    <a:pt x="845734" y="78"/>
                    <a:pt x="825046" y="78"/>
                  </a:cubicBezTo>
                  <a:lnTo>
                    <a:pt x="277073" y="78"/>
                  </a:lnTo>
                  <a:cubicBezTo>
                    <a:pt x="124501" y="78"/>
                    <a:pt x="352" y="114301"/>
                    <a:pt x="352" y="255005"/>
                  </a:cubicBezTo>
                  <a:lnTo>
                    <a:pt x="352" y="782309"/>
                  </a:lnTo>
                  <a:cubicBezTo>
                    <a:pt x="352" y="922955"/>
                    <a:pt x="124501" y="1037217"/>
                    <a:pt x="277073" y="1037217"/>
                  </a:cubicBezTo>
                  <a:lnTo>
                    <a:pt x="825046" y="1037217"/>
                  </a:lnTo>
                  <a:cubicBezTo>
                    <a:pt x="844972" y="1037217"/>
                    <a:pt x="861203" y="1022605"/>
                    <a:pt x="861203" y="1004660"/>
                  </a:cubicBezTo>
                  <a:lnTo>
                    <a:pt x="861203" y="880816"/>
                  </a:lnTo>
                  <a:cubicBezTo>
                    <a:pt x="861203" y="862871"/>
                    <a:pt x="844972" y="848298"/>
                    <a:pt x="825046" y="848298"/>
                  </a:cubicBezTo>
                  <a:lnTo>
                    <a:pt x="280863" y="848298"/>
                  </a:lnTo>
                  <a:cubicBezTo>
                    <a:pt x="240839" y="848298"/>
                    <a:pt x="207006" y="816580"/>
                    <a:pt x="207006" y="779051"/>
                  </a:cubicBezTo>
                  <a:lnTo>
                    <a:pt x="207006" y="634347"/>
                  </a:lnTo>
                  <a:lnTo>
                    <a:pt x="532457" y="634347"/>
                  </a:lnTo>
                  <a:cubicBezTo>
                    <a:pt x="552383" y="634347"/>
                    <a:pt x="568595" y="619717"/>
                    <a:pt x="568595" y="601772"/>
                  </a:cubicBezTo>
                  <a:lnTo>
                    <a:pt x="568595" y="480557"/>
                  </a:lnTo>
                  <a:cubicBezTo>
                    <a:pt x="568595" y="462573"/>
                    <a:pt x="552383" y="447943"/>
                    <a:pt x="532457" y="447943"/>
                  </a:cubicBezTo>
                  <a:lnTo>
                    <a:pt x="207006" y="447943"/>
                  </a:lnTo>
                  <a:lnTo>
                    <a:pt x="207006" y="258395"/>
                  </a:lnTo>
                  <a:cubicBezTo>
                    <a:pt x="207006" y="220829"/>
                    <a:pt x="240839" y="189111"/>
                    <a:pt x="280863" y="189111"/>
                  </a:cubicBezTo>
                  <a:moveTo>
                    <a:pt x="1186405" y="189130"/>
                  </a:moveTo>
                  <a:lnTo>
                    <a:pt x="1186405" y="1000336"/>
                  </a:lnTo>
                  <a:cubicBezTo>
                    <a:pt x="1186405" y="1020662"/>
                    <a:pt x="1171470" y="1037198"/>
                    <a:pt x="1153144" y="1037198"/>
                  </a:cubicBezTo>
                  <a:lnTo>
                    <a:pt x="1012879" y="1037198"/>
                  </a:lnTo>
                  <a:cubicBezTo>
                    <a:pt x="994553" y="1037198"/>
                    <a:pt x="979656" y="1020662"/>
                    <a:pt x="979656" y="1000336"/>
                  </a:cubicBezTo>
                  <a:lnTo>
                    <a:pt x="979656" y="37035"/>
                  </a:lnTo>
                  <a:cubicBezTo>
                    <a:pt x="979656" y="16670"/>
                    <a:pt x="994553" y="116"/>
                    <a:pt x="1012879" y="116"/>
                  </a:cubicBezTo>
                  <a:lnTo>
                    <a:pt x="1439846" y="116"/>
                  </a:lnTo>
                  <a:cubicBezTo>
                    <a:pt x="1660769" y="116"/>
                    <a:pt x="1840506" y="165946"/>
                    <a:pt x="1840506" y="369838"/>
                  </a:cubicBezTo>
                  <a:lnTo>
                    <a:pt x="1840506" y="1004032"/>
                  </a:lnTo>
                  <a:cubicBezTo>
                    <a:pt x="1840506" y="1022339"/>
                    <a:pt x="1823971" y="1037198"/>
                    <a:pt x="1803625" y="1037198"/>
                  </a:cubicBezTo>
                  <a:lnTo>
                    <a:pt x="1670885" y="1037198"/>
                  </a:lnTo>
                  <a:cubicBezTo>
                    <a:pt x="1650559" y="1037198"/>
                    <a:pt x="1634023" y="1022339"/>
                    <a:pt x="1634023" y="1004032"/>
                  </a:cubicBezTo>
                  <a:lnTo>
                    <a:pt x="1634023" y="369838"/>
                  </a:lnTo>
                  <a:cubicBezTo>
                    <a:pt x="1634023" y="270264"/>
                    <a:pt x="1546926" y="189225"/>
                    <a:pt x="1439846" y="189225"/>
                  </a:cubicBezTo>
                  <a:lnTo>
                    <a:pt x="1186405" y="189130"/>
                  </a:lnTo>
                  <a:close/>
                </a:path>
              </a:pathLst>
            </a:custGeom>
            <a:solidFill>
              <a:schemeClr val="bg1"/>
            </a:solidFill>
            <a:ln w="19050" cap="flat">
              <a:noFill/>
              <a:prstDash val="solid"/>
              <a:round/>
            </a:ln>
          </p:spPr>
          <p:txBody>
            <a:bodyPr rtlCol="0" anchor="ctr"/>
            <a:lstStyle/>
            <a:p>
              <a:endParaRPr lang="fr-FR"/>
            </a:p>
          </p:txBody>
        </p:sp>
      </p:grpSp>
      <p:sp>
        <p:nvSpPr>
          <p:cNvPr id="19" name="Titre 8">
            <a:extLst>
              <a:ext uri="{FF2B5EF4-FFF2-40B4-BE49-F238E27FC236}">
                <a16:creationId xmlns:a16="http://schemas.microsoft.com/office/drawing/2014/main" id="{9AEF1246-482F-408E-8822-C4BE15A416FA}"/>
              </a:ext>
            </a:extLst>
          </p:cNvPr>
          <p:cNvSpPr>
            <a:spLocks noGrp="1"/>
          </p:cNvSpPr>
          <p:nvPr>
            <p:ph type="title" hasCustomPrompt="1"/>
          </p:nvPr>
        </p:nvSpPr>
        <p:spPr>
          <a:xfrm>
            <a:off x="6150777" y="2283274"/>
            <a:ext cx="5575304" cy="2229778"/>
          </a:xfrm>
        </p:spPr>
        <p:txBody>
          <a:bodyPr anchor="ctr"/>
          <a:lstStyle>
            <a:lvl1pPr algn="ctr">
              <a:lnSpc>
                <a:spcPct val="84000"/>
              </a:lnSpc>
              <a:defRPr sz="3450"/>
            </a:lvl1pPr>
          </a:lstStyle>
          <a:p>
            <a:r>
              <a:rPr lang="fr-FR" err="1"/>
              <a:t>Enim</a:t>
            </a:r>
            <a:r>
              <a:rPr lang="fr-FR"/>
              <a:t> ad </a:t>
            </a:r>
            <a:r>
              <a:rPr lang="fr-FR" err="1"/>
              <a:t>minim</a:t>
            </a:r>
            <a:r>
              <a:rPr lang="fr-FR"/>
              <a:t> </a:t>
            </a:r>
            <a:r>
              <a:rPr lang="fr-FR" err="1"/>
              <a:t>veniam</a:t>
            </a:r>
            <a:r>
              <a:rPr lang="fr-FR"/>
              <a:t>,</a:t>
            </a:r>
            <a:br>
              <a:rPr lang="fr-FR"/>
            </a:br>
            <a:r>
              <a:rPr lang="fr-FR" err="1"/>
              <a:t>quis</a:t>
            </a:r>
            <a:r>
              <a:rPr lang="fr-FR"/>
              <a:t> </a:t>
            </a:r>
            <a:r>
              <a:rPr lang="fr-FR" err="1"/>
              <a:t>nostrud</a:t>
            </a:r>
            <a:r>
              <a:rPr lang="fr-FR"/>
              <a:t> </a:t>
            </a:r>
            <a:r>
              <a:rPr lang="fr-FR" err="1"/>
              <a:t>exerci</a:t>
            </a:r>
            <a:r>
              <a:rPr lang="fr-FR"/>
              <a:t> </a:t>
            </a:r>
            <a:r>
              <a:rPr lang="fr-FR" err="1"/>
              <a:t>tation</a:t>
            </a:r>
            <a:r>
              <a:rPr lang="fr-FR"/>
              <a:t/>
            </a:r>
            <a:br>
              <a:rPr lang="fr-FR"/>
            </a:br>
            <a:r>
              <a:rPr lang="fr-FR" err="1"/>
              <a:t>ullamcorper</a:t>
            </a:r>
            <a:r>
              <a:rPr lang="fr-FR"/>
              <a:t> </a:t>
            </a:r>
            <a:r>
              <a:rPr lang="fr-FR" err="1"/>
              <a:t>suscipit</a:t>
            </a:r>
            <a:r>
              <a:rPr lang="fr-FR"/>
              <a:t/>
            </a:r>
            <a:br>
              <a:rPr lang="fr-FR"/>
            </a:br>
            <a:r>
              <a:rPr lang="fr-FR" err="1"/>
              <a:t>lobortis</a:t>
            </a:r>
            <a:r>
              <a:rPr lang="fr-FR"/>
              <a:t> </a:t>
            </a:r>
            <a:r>
              <a:rPr lang="fr-FR" err="1"/>
              <a:t>nisl</a:t>
            </a:r>
            <a:r>
              <a:rPr lang="fr-FR"/>
              <a:t> ut </a:t>
            </a:r>
            <a:r>
              <a:rPr lang="fr-FR" err="1"/>
              <a:t>aliquip</a:t>
            </a:r>
            <a:r>
              <a:rPr lang="fr-FR"/>
              <a:t> ex</a:t>
            </a:r>
            <a:br>
              <a:rPr lang="fr-FR"/>
            </a:br>
            <a:r>
              <a:rPr lang="fr-FR" err="1"/>
              <a:t>ea</a:t>
            </a:r>
            <a:r>
              <a:rPr lang="fr-FR"/>
              <a:t> commodo </a:t>
            </a:r>
            <a:r>
              <a:rPr lang="fr-FR" err="1"/>
              <a:t>consequat</a:t>
            </a:r>
            <a:endParaRPr lang="fr-FR"/>
          </a:p>
        </p:txBody>
      </p:sp>
      <p:pic>
        <p:nvPicPr>
          <p:cNvPr id="3" name="Image 2">
            <a:extLst>
              <a:ext uri="{FF2B5EF4-FFF2-40B4-BE49-F238E27FC236}">
                <a16:creationId xmlns:a16="http://schemas.microsoft.com/office/drawing/2014/main" id="{48F4E6D2-0E71-4207-8EB5-9C3A4B00D29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458760"/>
            <a:ext cx="5928360" cy="5940000"/>
          </a:xfrm>
          <a:prstGeom prst="rect">
            <a:avLst/>
          </a:prstGeom>
        </p:spPr>
      </p:pic>
      <p:sp>
        <p:nvSpPr>
          <p:cNvPr id="20" name="Espace réservé pour une image  9">
            <a:extLst>
              <a:ext uri="{FF2B5EF4-FFF2-40B4-BE49-F238E27FC236}">
                <a16:creationId xmlns:a16="http://schemas.microsoft.com/office/drawing/2014/main" id="{4EDB4946-B460-497E-A07B-A78E4FAD3CC5}"/>
              </a:ext>
            </a:extLst>
          </p:cNvPr>
          <p:cNvSpPr>
            <a:spLocks noGrp="1"/>
          </p:cNvSpPr>
          <p:nvPr>
            <p:ph type="pic" sz="quarter" idx="17"/>
          </p:nvPr>
        </p:nvSpPr>
        <p:spPr>
          <a:xfrm>
            <a:off x="953041" y="1100375"/>
            <a:ext cx="4022819" cy="4652726"/>
          </a:xfrm>
        </p:spPr>
        <p:txBody>
          <a:bodyPr>
            <a:noAutofit/>
          </a:bodyPr>
          <a:lstStyle>
            <a:lvl1pPr>
              <a:defRPr>
                <a:noFill/>
              </a:defRPr>
            </a:lvl1pPr>
          </a:lstStyle>
          <a:p>
            <a:endParaRPr lang="fr-FR"/>
          </a:p>
        </p:txBody>
      </p:sp>
    </p:spTree>
    <p:extLst>
      <p:ext uri="{BB962C8B-B14F-4D97-AF65-F5344CB8AC3E}">
        <p14:creationId xmlns:p14="http://schemas.microsoft.com/office/powerpoint/2010/main" val="2005676578"/>
      </p:ext>
    </p:extLst>
  </p:cSld>
  <p:clrMapOvr>
    <a:masterClrMapping/>
  </p:clrMapOvr>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anifesto F">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965C269-8A53-4E11-8071-5D18F973B4C1}"/>
              </a:ext>
            </a:extLst>
          </p:cNvPr>
          <p:cNvSpPr/>
          <p:nvPr userDrawn="1"/>
        </p:nvSpPr>
        <p:spPr>
          <a:xfrm>
            <a:off x="0" y="0"/>
            <a:ext cx="592836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de la date 9">
            <a:extLst>
              <a:ext uri="{FF2B5EF4-FFF2-40B4-BE49-F238E27FC236}">
                <a16:creationId xmlns:a16="http://schemas.microsoft.com/office/drawing/2014/main" id="{506D7A77-3261-4789-90AF-4391ECC68EB7}"/>
              </a:ext>
            </a:extLst>
          </p:cNvPr>
          <p:cNvSpPr>
            <a:spLocks noGrp="1"/>
          </p:cNvSpPr>
          <p:nvPr>
            <p:ph type="dt" sz="half" idx="19"/>
          </p:nvPr>
        </p:nvSpPr>
        <p:spPr/>
        <p:txBody>
          <a:bodyPr/>
          <a:lstStyle>
            <a:lvl1pPr>
              <a:defRPr>
                <a:solidFill>
                  <a:schemeClr val="bg1"/>
                </a:solidFill>
              </a:defRPr>
            </a:lvl1pPr>
          </a:lstStyle>
          <a:p>
            <a:r>
              <a:rPr lang="fr-FR" smtClean="0"/>
              <a:t>25 mai 2022</a:t>
            </a:r>
            <a:endParaRPr lang="fr-FR"/>
          </a:p>
        </p:txBody>
      </p:sp>
      <p:sp>
        <p:nvSpPr>
          <p:cNvPr id="11" name="Espace réservé du pied de page 10">
            <a:extLst>
              <a:ext uri="{FF2B5EF4-FFF2-40B4-BE49-F238E27FC236}">
                <a16:creationId xmlns:a16="http://schemas.microsoft.com/office/drawing/2014/main" id="{05070C08-0C4F-480C-A4AD-38AC3DBE4AC8}"/>
              </a:ext>
            </a:extLst>
          </p:cNvPr>
          <p:cNvSpPr>
            <a:spLocks noGrp="1"/>
          </p:cNvSpPr>
          <p:nvPr>
            <p:ph type="ftr" sz="quarter" idx="20"/>
          </p:nvPr>
        </p:nvSpPr>
        <p:spPr>
          <a:xfrm>
            <a:off x="1626384" y="6469013"/>
            <a:ext cx="4812515" cy="226714"/>
          </a:xfrm>
          <a:prstGeom prst="rect">
            <a:avLst/>
          </a:prstGeom>
        </p:spPr>
        <p:txBody>
          <a:bodyPr/>
          <a:lstStyle>
            <a:lvl1pPr>
              <a:defRPr>
                <a:solidFill>
                  <a:schemeClr val="bg1"/>
                </a:solidFill>
              </a:defRPr>
            </a:lvl1pPr>
          </a:lstStyle>
          <a:p>
            <a:r>
              <a:rPr lang="fr-FR" smtClean="0"/>
              <a:t>Stratégie Mobilité Electrique Enedis</a:t>
            </a:r>
            <a:endParaRPr lang="fr-FR"/>
          </a:p>
        </p:txBody>
      </p:sp>
      <p:sp>
        <p:nvSpPr>
          <p:cNvPr id="12" name="Espace réservé du numéro de diapositive 11">
            <a:extLst>
              <a:ext uri="{FF2B5EF4-FFF2-40B4-BE49-F238E27FC236}">
                <a16:creationId xmlns:a16="http://schemas.microsoft.com/office/drawing/2014/main" id="{A20B3F73-B7A3-4D47-82E4-C5AA9E80D66F}"/>
              </a:ext>
            </a:extLst>
          </p:cNvPr>
          <p:cNvSpPr>
            <a:spLocks noGrp="1"/>
          </p:cNvSpPr>
          <p:nvPr>
            <p:ph type="sldNum" sz="quarter" idx="21"/>
          </p:nvPr>
        </p:nvSpPr>
        <p:spPr/>
        <p:txBody>
          <a:bodyPr/>
          <a:lstStyle>
            <a:lvl1pPr>
              <a:defRPr>
                <a:solidFill>
                  <a:schemeClr val="bg1"/>
                </a:solidFill>
              </a:defRPr>
            </a:lvl1pPr>
          </a:lstStyle>
          <a:p>
            <a:fld id="{6B54B0F7-55DD-40D6-B7F4-70B586885C0B}" type="slidenum">
              <a:rPr lang="fr-FR" smtClean="0"/>
              <a:pPr/>
              <a:t>‹N°›</a:t>
            </a:fld>
            <a:endParaRPr lang="fr-FR"/>
          </a:p>
        </p:txBody>
      </p:sp>
      <p:grpSp>
        <p:nvGrpSpPr>
          <p:cNvPr id="15" name="Groupe 14">
            <a:extLst>
              <a:ext uri="{FF2B5EF4-FFF2-40B4-BE49-F238E27FC236}">
                <a16:creationId xmlns:a16="http://schemas.microsoft.com/office/drawing/2014/main" id="{C19A4B2A-8736-4B82-A793-007180C52A50}"/>
              </a:ext>
            </a:extLst>
          </p:cNvPr>
          <p:cNvGrpSpPr>
            <a:grpSpLocks noChangeAspect="1"/>
          </p:cNvGrpSpPr>
          <p:nvPr userDrawn="1"/>
        </p:nvGrpSpPr>
        <p:grpSpPr>
          <a:xfrm>
            <a:off x="518307" y="6473033"/>
            <a:ext cx="767567" cy="155112"/>
            <a:chOff x="3231832" y="7185063"/>
            <a:chExt cx="5132298" cy="1037158"/>
          </a:xfrm>
        </p:grpSpPr>
        <p:sp>
          <p:nvSpPr>
            <p:cNvPr id="17" name="Forme libre : forme 16">
              <a:extLst>
                <a:ext uri="{FF2B5EF4-FFF2-40B4-BE49-F238E27FC236}">
                  <a16:creationId xmlns:a16="http://schemas.microsoft.com/office/drawing/2014/main" id="{E84B3FD2-F691-45FF-87E5-C621BA65D5B6}"/>
                </a:ext>
              </a:extLst>
            </p:cNvPr>
            <p:cNvSpPr/>
            <p:nvPr/>
          </p:nvSpPr>
          <p:spPr>
            <a:xfrm>
              <a:off x="5071966" y="7185101"/>
              <a:ext cx="1117644" cy="1037120"/>
            </a:xfrm>
            <a:custGeom>
              <a:avLst/>
              <a:gdLst>
                <a:gd name="connsiteX0" fmla="*/ 519115 w 1117644"/>
                <a:gd name="connsiteY0" fmla="*/ 848219 h 1037120"/>
                <a:gd name="connsiteX1" fmla="*/ 324919 w 1117644"/>
                <a:gd name="connsiteY1" fmla="*/ 668711 h 1037120"/>
                <a:gd name="connsiteX2" fmla="*/ 325338 w 1117644"/>
                <a:gd name="connsiteY2" fmla="*/ 636136 h 1037120"/>
                <a:gd name="connsiteX3" fmla="*/ 739428 w 1117644"/>
                <a:gd name="connsiteY3" fmla="*/ 636136 h 1037120"/>
                <a:gd name="connsiteX4" fmla="*/ 999289 w 1117644"/>
                <a:gd name="connsiteY4" fmla="*/ 394601 h 1037120"/>
                <a:gd name="connsiteX5" fmla="*/ 999289 w 1117644"/>
                <a:gd name="connsiteY5" fmla="*/ 241572 h 1037120"/>
                <a:gd name="connsiteX6" fmla="*/ 739428 w 1117644"/>
                <a:gd name="connsiteY6" fmla="*/ 37 h 1037120"/>
                <a:gd name="connsiteX7" fmla="*/ 378107 w 1117644"/>
                <a:gd name="connsiteY7" fmla="*/ 37 h 1037120"/>
                <a:gd name="connsiteX8" fmla="*/ 317775 w 1117644"/>
                <a:gd name="connsiteY8" fmla="*/ 4647 h 1037120"/>
                <a:gd name="connsiteX9" fmla="*/ 118684 w 1117644"/>
                <a:gd name="connsiteY9" fmla="*/ 241572 h 1037120"/>
                <a:gd name="connsiteX10" fmla="*/ 118684 w 1117644"/>
                <a:gd name="connsiteY10" fmla="*/ 330402 h 1037120"/>
                <a:gd name="connsiteX11" fmla="*/ 151850 w 1117644"/>
                <a:gd name="connsiteY11" fmla="*/ 367302 h 1037120"/>
                <a:gd name="connsiteX12" fmla="*/ 292096 w 1117644"/>
                <a:gd name="connsiteY12" fmla="*/ 367302 h 1037120"/>
                <a:gd name="connsiteX13" fmla="*/ 325300 w 1117644"/>
                <a:gd name="connsiteY13" fmla="*/ 330402 h 1037120"/>
                <a:gd name="connsiteX14" fmla="*/ 325300 w 1117644"/>
                <a:gd name="connsiteY14" fmla="*/ 273062 h 1037120"/>
                <a:gd name="connsiteX15" fmla="*/ 417369 w 1117644"/>
                <a:gd name="connsiteY15" fmla="*/ 188994 h 1037120"/>
                <a:gd name="connsiteX16" fmla="*/ 700680 w 1117644"/>
                <a:gd name="connsiteY16" fmla="*/ 188994 h 1037120"/>
                <a:gd name="connsiteX17" fmla="*/ 792768 w 1117644"/>
                <a:gd name="connsiteY17" fmla="*/ 273062 h 1037120"/>
                <a:gd name="connsiteX18" fmla="*/ 792768 w 1117644"/>
                <a:gd name="connsiteY18" fmla="*/ 363892 h 1037120"/>
                <a:gd name="connsiteX19" fmla="*/ 700680 w 1117644"/>
                <a:gd name="connsiteY19" fmla="*/ 447884 h 1037120"/>
                <a:gd name="connsiteX20" fmla="*/ 250 w 1117644"/>
                <a:gd name="connsiteY20" fmla="*/ 447884 h 1037120"/>
                <a:gd name="connsiteX21" fmla="*/ 250 w 1117644"/>
                <a:gd name="connsiteY21" fmla="*/ 636136 h 1037120"/>
                <a:gd name="connsiteX22" fmla="*/ 118188 w 1117644"/>
                <a:gd name="connsiteY22" fmla="*/ 636136 h 1037120"/>
                <a:gd name="connsiteX23" fmla="*/ 118188 w 1117644"/>
                <a:gd name="connsiteY23" fmla="*/ 668673 h 1037120"/>
                <a:gd name="connsiteX24" fmla="*/ 519800 w 1117644"/>
                <a:gd name="connsiteY24" fmla="*/ 1037157 h 1037120"/>
                <a:gd name="connsiteX25" fmla="*/ 1117894 w 1117644"/>
                <a:gd name="connsiteY25" fmla="*/ 1037157 h 1037120"/>
                <a:gd name="connsiteX26" fmla="*/ 1117894 w 1117644"/>
                <a:gd name="connsiteY26" fmla="*/ 848200 h 1037120"/>
                <a:gd name="connsiteX27" fmla="*/ 519115 w 1117644"/>
                <a:gd name="connsiteY27" fmla="*/ 848219 h 103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17644" h="1037120">
                  <a:moveTo>
                    <a:pt x="519115" y="848219"/>
                  </a:moveTo>
                  <a:cubicBezTo>
                    <a:pt x="412035" y="848219"/>
                    <a:pt x="324919" y="768248"/>
                    <a:pt x="324919" y="668711"/>
                  </a:cubicBezTo>
                  <a:lnTo>
                    <a:pt x="325338" y="636136"/>
                  </a:lnTo>
                  <a:lnTo>
                    <a:pt x="739428" y="636136"/>
                  </a:lnTo>
                  <a:cubicBezTo>
                    <a:pt x="882741" y="636136"/>
                    <a:pt x="999289" y="527798"/>
                    <a:pt x="999289" y="394601"/>
                  </a:cubicBezTo>
                  <a:lnTo>
                    <a:pt x="999289" y="241572"/>
                  </a:lnTo>
                  <a:cubicBezTo>
                    <a:pt x="999289" y="108375"/>
                    <a:pt x="882741" y="37"/>
                    <a:pt x="739428" y="37"/>
                  </a:cubicBezTo>
                  <a:lnTo>
                    <a:pt x="378107" y="37"/>
                  </a:lnTo>
                  <a:cubicBezTo>
                    <a:pt x="358028" y="37"/>
                    <a:pt x="337740" y="228"/>
                    <a:pt x="317775" y="4647"/>
                  </a:cubicBezTo>
                  <a:cubicBezTo>
                    <a:pt x="200294" y="30727"/>
                    <a:pt x="118684" y="129349"/>
                    <a:pt x="118684" y="241572"/>
                  </a:cubicBezTo>
                  <a:lnTo>
                    <a:pt x="118684" y="330402"/>
                  </a:lnTo>
                  <a:cubicBezTo>
                    <a:pt x="118684" y="350729"/>
                    <a:pt x="133543" y="367302"/>
                    <a:pt x="151850" y="367302"/>
                  </a:cubicBezTo>
                  <a:lnTo>
                    <a:pt x="292096" y="367302"/>
                  </a:lnTo>
                  <a:cubicBezTo>
                    <a:pt x="310422" y="367302"/>
                    <a:pt x="325300" y="350729"/>
                    <a:pt x="325300" y="330402"/>
                  </a:cubicBezTo>
                  <a:lnTo>
                    <a:pt x="325300" y="273062"/>
                  </a:lnTo>
                  <a:cubicBezTo>
                    <a:pt x="325300" y="226713"/>
                    <a:pt x="366600" y="188994"/>
                    <a:pt x="417369" y="188994"/>
                  </a:cubicBezTo>
                  <a:lnTo>
                    <a:pt x="700680" y="188994"/>
                  </a:lnTo>
                  <a:cubicBezTo>
                    <a:pt x="751467" y="188994"/>
                    <a:pt x="792768" y="226713"/>
                    <a:pt x="792768" y="273062"/>
                  </a:cubicBezTo>
                  <a:lnTo>
                    <a:pt x="792768" y="363892"/>
                  </a:lnTo>
                  <a:cubicBezTo>
                    <a:pt x="792768" y="410203"/>
                    <a:pt x="751467" y="447884"/>
                    <a:pt x="700680" y="447884"/>
                  </a:cubicBezTo>
                  <a:lnTo>
                    <a:pt x="250" y="447884"/>
                  </a:lnTo>
                  <a:lnTo>
                    <a:pt x="250" y="636136"/>
                  </a:lnTo>
                  <a:lnTo>
                    <a:pt x="118188" y="636136"/>
                  </a:lnTo>
                  <a:lnTo>
                    <a:pt x="118188" y="668673"/>
                  </a:lnTo>
                  <a:cubicBezTo>
                    <a:pt x="118188" y="872527"/>
                    <a:pt x="298859" y="1037157"/>
                    <a:pt x="519800" y="1037157"/>
                  </a:cubicBezTo>
                  <a:lnTo>
                    <a:pt x="1117894" y="1037157"/>
                  </a:lnTo>
                  <a:lnTo>
                    <a:pt x="1117894" y="848200"/>
                  </a:lnTo>
                  <a:lnTo>
                    <a:pt x="519115" y="848219"/>
                  </a:lnTo>
                  <a:close/>
                </a:path>
              </a:pathLst>
            </a:custGeom>
            <a:solidFill>
              <a:srgbClr val="96CD32"/>
            </a:solidFill>
            <a:ln w="19050" cap="flat">
              <a:noFill/>
              <a:prstDash val="solid"/>
              <a:round/>
            </a:ln>
          </p:spPr>
          <p:txBody>
            <a:bodyPr rtlCol="0" anchor="ctr"/>
            <a:lstStyle/>
            <a:p>
              <a:endParaRPr lang="fr-FR"/>
            </a:p>
          </p:txBody>
        </p:sp>
        <p:sp>
          <p:nvSpPr>
            <p:cNvPr id="18" name="Forme libre : forme 17">
              <a:extLst>
                <a:ext uri="{FF2B5EF4-FFF2-40B4-BE49-F238E27FC236}">
                  <a16:creationId xmlns:a16="http://schemas.microsoft.com/office/drawing/2014/main" id="{140C30BB-7156-4C7C-9EA1-A28421DBB5B2}"/>
                </a:ext>
              </a:extLst>
            </p:cNvPr>
            <p:cNvSpPr/>
            <p:nvPr/>
          </p:nvSpPr>
          <p:spPr>
            <a:xfrm>
              <a:off x="3231832" y="7185063"/>
              <a:ext cx="5132298" cy="1037139"/>
            </a:xfrm>
            <a:custGeom>
              <a:avLst/>
              <a:gdLst>
                <a:gd name="connsiteX0" fmla="*/ 4143956 w 5132298"/>
                <a:gd name="connsiteY0" fmla="*/ 78849 h 1037139"/>
                <a:gd name="connsiteX1" fmla="*/ 4143651 w 5132298"/>
                <a:gd name="connsiteY1" fmla="*/ 36939 h 1037139"/>
                <a:gd name="connsiteX2" fmla="*/ 4110447 w 5132298"/>
                <a:gd name="connsiteY2" fmla="*/ 78 h 1037139"/>
                <a:gd name="connsiteX3" fmla="*/ 3970639 w 5132298"/>
                <a:gd name="connsiteY3" fmla="*/ 78 h 1037139"/>
                <a:gd name="connsiteX4" fmla="*/ 3937435 w 5132298"/>
                <a:gd name="connsiteY4" fmla="*/ 36939 h 1037139"/>
                <a:gd name="connsiteX5" fmla="*/ 3937435 w 5132298"/>
                <a:gd name="connsiteY5" fmla="*/ 78849 h 1037139"/>
                <a:gd name="connsiteX6" fmla="*/ 3937454 w 5132298"/>
                <a:gd name="connsiteY6" fmla="*/ 78849 h 1037139"/>
                <a:gd name="connsiteX7" fmla="*/ 3937759 w 5132298"/>
                <a:gd name="connsiteY7" fmla="*/ 152249 h 1037139"/>
                <a:gd name="connsiteX8" fmla="*/ 3970963 w 5132298"/>
                <a:gd name="connsiteY8" fmla="*/ 189111 h 1037139"/>
                <a:gd name="connsiteX9" fmla="*/ 4110771 w 5132298"/>
                <a:gd name="connsiteY9" fmla="*/ 189111 h 1037139"/>
                <a:gd name="connsiteX10" fmla="*/ 4143975 w 5132298"/>
                <a:gd name="connsiteY10" fmla="*/ 152249 h 1037139"/>
                <a:gd name="connsiteX11" fmla="*/ 4143975 w 5132298"/>
                <a:gd name="connsiteY11" fmla="*/ 78849 h 1037139"/>
                <a:gd name="connsiteX12" fmla="*/ 4143956 w 5132298"/>
                <a:gd name="connsiteY12" fmla="*/ 78849 h 1037139"/>
                <a:gd name="connsiteX13" fmla="*/ 4143956 w 5132298"/>
                <a:gd name="connsiteY13" fmla="*/ 653397 h 1037139"/>
                <a:gd name="connsiteX14" fmla="*/ 4143651 w 5132298"/>
                <a:gd name="connsiteY14" fmla="*/ 306706 h 1037139"/>
                <a:gd name="connsiteX15" fmla="*/ 4110447 w 5132298"/>
                <a:gd name="connsiteY15" fmla="*/ 269845 h 1037139"/>
                <a:gd name="connsiteX16" fmla="*/ 3970639 w 5132298"/>
                <a:gd name="connsiteY16" fmla="*/ 269845 h 1037139"/>
                <a:gd name="connsiteX17" fmla="*/ 3937435 w 5132298"/>
                <a:gd name="connsiteY17" fmla="*/ 306706 h 1037139"/>
                <a:gd name="connsiteX18" fmla="*/ 3937435 w 5132298"/>
                <a:gd name="connsiteY18" fmla="*/ 653397 h 1037139"/>
                <a:gd name="connsiteX19" fmla="*/ 3937454 w 5132298"/>
                <a:gd name="connsiteY19" fmla="*/ 653397 h 1037139"/>
                <a:gd name="connsiteX20" fmla="*/ 3937759 w 5132298"/>
                <a:gd name="connsiteY20" fmla="*/ 1000069 h 1037139"/>
                <a:gd name="connsiteX21" fmla="*/ 3970963 w 5132298"/>
                <a:gd name="connsiteY21" fmla="*/ 1036931 h 1037139"/>
                <a:gd name="connsiteX22" fmla="*/ 4110771 w 5132298"/>
                <a:gd name="connsiteY22" fmla="*/ 1036931 h 1037139"/>
                <a:gd name="connsiteX23" fmla="*/ 4143975 w 5132298"/>
                <a:gd name="connsiteY23" fmla="*/ 1000069 h 1037139"/>
                <a:gd name="connsiteX24" fmla="*/ 4143975 w 5132298"/>
                <a:gd name="connsiteY24" fmla="*/ 653397 h 1037139"/>
                <a:gd name="connsiteX25" fmla="*/ 4143956 w 5132298"/>
                <a:gd name="connsiteY25" fmla="*/ 653397 h 1037139"/>
                <a:gd name="connsiteX26" fmla="*/ 3441430 w 5132298"/>
                <a:gd name="connsiteY26" fmla="*/ 78 h 1037139"/>
                <a:gd name="connsiteX27" fmla="*/ 2991355 w 5132298"/>
                <a:gd name="connsiteY27" fmla="*/ 78 h 1037139"/>
                <a:gd name="connsiteX28" fmla="*/ 2958131 w 5132298"/>
                <a:gd name="connsiteY28" fmla="*/ 37035 h 1037139"/>
                <a:gd name="connsiteX29" fmla="*/ 2958131 w 5132298"/>
                <a:gd name="connsiteY29" fmla="*/ 646958 h 1037139"/>
                <a:gd name="connsiteX30" fmla="*/ 2991297 w 5132298"/>
                <a:gd name="connsiteY30" fmla="*/ 683858 h 1037139"/>
                <a:gd name="connsiteX31" fmla="*/ 3131391 w 5132298"/>
                <a:gd name="connsiteY31" fmla="*/ 683858 h 1037139"/>
                <a:gd name="connsiteX32" fmla="*/ 3164595 w 5132298"/>
                <a:gd name="connsiteY32" fmla="*/ 646958 h 1037139"/>
                <a:gd name="connsiteX33" fmla="*/ 3164786 w 5132298"/>
                <a:gd name="connsiteY33" fmla="*/ 189015 h 1037139"/>
                <a:gd name="connsiteX34" fmla="*/ 3418284 w 5132298"/>
                <a:gd name="connsiteY34" fmla="*/ 189111 h 1037139"/>
                <a:gd name="connsiteX35" fmla="*/ 3612499 w 5132298"/>
                <a:gd name="connsiteY35" fmla="*/ 369762 h 1037139"/>
                <a:gd name="connsiteX36" fmla="*/ 3612499 w 5132298"/>
                <a:gd name="connsiteY36" fmla="*/ 702794 h 1037139"/>
                <a:gd name="connsiteX37" fmla="*/ 3418284 w 5132298"/>
                <a:gd name="connsiteY37" fmla="*/ 847822 h 1037139"/>
                <a:gd name="connsiteX38" fmla="*/ 2958131 w 5132298"/>
                <a:gd name="connsiteY38" fmla="*/ 848298 h 1037139"/>
                <a:gd name="connsiteX39" fmla="*/ 2958131 w 5132298"/>
                <a:gd name="connsiteY39" fmla="*/ 1037217 h 1037139"/>
                <a:gd name="connsiteX40" fmla="*/ 3418284 w 5132298"/>
                <a:gd name="connsiteY40" fmla="*/ 1036931 h 1037139"/>
                <a:gd name="connsiteX41" fmla="*/ 3818982 w 5132298"/>
                <a:gd name="connsiteY41" fmla="*/ 702794 h 1037139"/>
                <a:gd name="connsiteX42" fmla="*/ 3818982 w 5132298"/>
                <a:gd name="connsiteY42" fmla="*/ 367590 h 1037139"/>
                <a:gd name="connsiteX43" fmla="*/ 3441430 w 5132298"/>
                <a:gd name="connsiteY43" fmla="*/ 78 h 1037139"/>
                <a:gd name="connsiteX44" fmla="*/ 5132651 w 5132298"/>
                <a:gd name="connsiteY44" fmla="*/ 679820 h 1037139"/>
                <a:gd name="connsiteX45" fmla="*/ 5131660 w 5132298"/>
                <a:gd name="connsiteY45" fmla="*/ 650425 h 1037139"/>
                <a:gd name="connsiteX46" fmla="*/ 4877591 w 5132298"/>
                <a:gd name="connsiteY46" fmla="*/ 447943 h 1037139"/>
                <a:gd name="connsiteX47" fmla="*/ 4567171 w 5132298"/>
                <a:gd name="connsiteY47" fmla="*/ 447943 h 1037139"/>
                <a:gd name="connsiteX48" fmla="*/ 4559208 w 5132298"/>
                <a:gd name="connsiteY48" fmla="*/ 447924 h 1037139"/>
                <a:gd name="connsiteX49" fmla="*/ 4469063 w 5132298"/>
                <a:gd name="connsiteY49" fmla="*/ 349759 h 1037139"/>
                <a:gd name="connsiteX50" fmla="*/ 4469368 w 5132298"/>
                <a:gd name="connsiteY50" fmla="*/ 279312 h 1037139"/>
                <a:gd name="connsiteX51" fmla="*/ 4567533 w 5132298"/>
                <a:gd name="connsiteY51" fmla="*/ 189187 h 1037139"/>
                <a:gd name="connsiteX52" fmla="*/ 4690043 w 5132298"/>
                <a:gd name="connsiteY52" fmla="*/ 189187 h 1037139"/>
                <a:gd name="connsiteX53" fmla="*/ 4691243 w 5132298"/>
                <a:gd name="connsiteY53" fmla="*/ 189225 h 1037139"/>
                <a:gd name="connsiteX54" fmla="*/ 5000825 w 5132298"/>
                <a:gd name="connsiteY54" fmla="*/ 189225 h 1037139"/>
                <a:gd name="connsiteX55" fmla="*/ 5035706 w 5132298"/>
                <a:gd name="connsiteY55" fmla="*/ 166270 h 1037139"/>
                <a:gd name="connsiteX56" fmla="*/ 5037687 w 5132298"/>
                <a:gd name="connsiteY56" fmla="*/ 156021 h 1037139"/>
                <a:gd name="connsiteX57" fmla="*/ 5037687 w 5132298"/>
                <a:gd name="connsiteY57" fmla="*/ 33282 h 1037139"/>
                <a:gd name="connsiteX58" fmla="*/ 5000825 w 5132298"/>
                <a:gd name="connsiteY58" fmla="*/ 116 h 1037139"/>
                <a:gd name="connsiteX59" fmla="*/ 4517869 w 5132298"/>
                <a:gd name="connsiteY59" fmla="*/ 173 h 1037139"/>
                <a:gd name="connsiteX60" fmla="*/ 4262409 w 5132298"/>
                <a:gd name="connsiteY60" fmla="*/ 235555 h 1037139"/>
                <a:gd name="connsiteX61" fmla="*/ 4262428 w 5132298"/>
                <a:gd name="connsiteY61" fmla="*/ 382392 h 1037139"/>
                <a:gd name="connsiteX62" fmla="*/ 4497886 w 5132298"/>
                <a:gd name="connsiteY62" fmla="*/ 636214 h 1037139"/>
                <a:gd name="connsiteX63" fmla="*/ 4836309 w 5132298"/>
                <a:gd name="connsiteY63" fmla="*/ 636214 h 1037139"/>
                <a:gd name="connsiteX64" fmla="*/ 4925977 w 5132298"/>
                <a:gd name="connsiteY64" fmla="*/ 734398 h 1037139"/>
                <a:gd name="connsiteX65" fmla="*/ 4925977 w 5132298"/>
                <a:gd name="connsiteY65" fmla="*/ 757944 h 1037139"/>
                <a:gd name="connsiteX66" fmla="*/ 4828289 w 5132298"/>
                <a:gd name="connsiteY66" fmla="*/ 848050 h 1037139"/>
                <a:gd name="connsiteX67" fmla="*/ 4299290 w 5132298"/>
                <a:gd name="connsiteY67" fmla="*/ 848050 h 1037139"/>
                <a:gd name="connsiteX68" fmla="*/ 4264447 w 5132298"/>
                <a:gd name="connsiteY68" fmla="*/ 870872 h 1037139"/>
                <a:gd name="connsiteX69" fmla="*/ 4262390 w 5132298"/>
                <a:gd name="connsiteY69" fmla="*/ 881216 h 1037139"/>
                <a:gd name="connsiteX70" fmla="*/ 4262390 w 5132298"/>
                <a:gd name="connsiteY70" fmla="*/ 1003955 h 1037139"/>
                <a:gd name="connsiteX71" fmla="*/ 4299290 w 5132298"/>
                <a:gd name="connsiteY71" fmla="*/ 1037160 h 1037139"/>
                <a:gd name="connsiteX72" fmla="*/ 4732296 w 5132298"/>
                <a:gd name="connsiteY72" fmla="*/ 1037160 h 1037139"/>
                <a:gd name="connsiteX73" fmla="*/ 4879172 w 5132298"/>
                <a:gd name="connsiteY73" fmla="*/ 1037083 h 1037139"/>
                <a:gd name="connsiteX74" fmla="*/ 5132651 w 5132298"/>
                <a:gd name="connsiteY74" fmla="*/ 801587 h 1037139"/>
                <a:gd name="connsiteX75" fmla="*/ 5132651 w 5132298"/>
                <a:gd name="connsiteY75" fmla="*/ 679820 h 1037139"/>
                <a:gd name="connsiteX76" fmla="*/ 280863 w 5132298"/>
                <a:gd name="connsiteY76" fmla="*/ 189111 h 1037139"/>
                <a:gd name="connsiteX77" fmla="*/ 825046 w 5132298"/>
                <a:gd name="connsiteY77" fmla="*/ 189111 h 1037139"/>
                <a:gd name="connsiteX78" fmla="*/ 861203 w 5132298"/>
                <a:gd name="connsiteY78" fmla="*/ 156573 h 1037139"/>
                <a:gd name="connsiteX79" fmla="*/ 861203 w 5132298"/>
                <a:gd name="connsiteY79" fmla="*/ 32729 h 1037139"/>
                <a:gd name="connsiteX80" fmla="*/ 825046 w 5132298"/>
                <a:gd name="connsiteY80" fmla="*/ 78 h 1037139"/>
                <a:gd name="connsiteX81" fmla="*/ 277073 w 5132298"/>
                <a:gd name="connsiteY81" fmla="*/ 78 h 1037139"/>
                <a:gd name="connsiteX82" fmla="*/ 352 w 5132298"/>
                <a:gd name="connsiteY82" fmla="*/ 255005 h 1037139"/>
                <a:gd name="connsiteX83" fmla="*/ 352 w 5132298"/>
                <a:gd name="connsiteY83" fmla="*/ 782309 h 1037139"/>
                <a:gd name="connsiteX84" fmla="*/ 277073 w 5132298"/>
                <a:gd name="connsiteY84" fmla="*/ 1037217 h 1037139"/>
                <a:gd name="connsiteX85" fmla="*/ 825046 w 5132298"/>
                <a:gd name="connsiteY85" fmla="*/ 1037217 h 1037139"/>
                <a:gd name="connsiteX86" fmla="*/ 861203 w 5132298"/>
                <a:gd name="connsiteY86" fmla="*/ 1004660 h 1037139"/>
                <a:gd name="connsiteX87" fmla="*/ 861203 w 5132298"/>
                <a:gd name="connsiteY87" fmla="*/ 880816 h 1037139"/>
                <a:gd name="connsiteX88" fmla="*/ 825046 w 5132298"/>
                <a:gd name="connsiteY88" fmla="*/ 848298 h 1037139"/>
                <a:gd name="connsiteX89" fmla="*/ 280863 w 5132298"/>
                <a:gd name="connsiteY89" fmla="*/ 848298 h 1037139"/>
                <a:gd name="connsiteX90" fmla="*/ 207006 w 5132298"/>
                <a:gd name="connsiteY90" fmla="*/ 779051 h 1037139"/>
                <a:gd name="connsiteX91" fmla="*/ 207006 w 5132298"/>
                <a:gd name="connsiteY91" fmla="*/ 634347 h 1037139"/>
                <a:gd name="connsiteX92" fmla="*/ 532457 w 5132298"/>
                <a:gd name="connsiteY92" fmla="*/ 634347 h 1037139"/>
                <a:gd name="connsiteX93" fmla="*/ 568595 w 5132298"/>
                <a:gd name="connsiteY93" fmla="*/ 601772 h 1037139"/>
                <a:gd name="connsiteX94" fmla="*/ 568595 w 5132298"/>
                <a:gd name="connsiteY94" fmla="*/ 480557 h 1037139"/>
                <a:gd name="connsiteX95" fmla="*/ 532457 w 5132298"/>
                <a:gd name="connsiteY95" fmla="*/ 447943 h 1037139"/>
                <a:gd name="connsiteX96" fmla="*/ 207006 w 5132298"/>
                <a:gd name="connsiteY96" fmla="*/ 447943 h 1037139"/>
                <a:gd name="connsiteX97" fmla="*/ 207006 w 5132298"/>
                <a:gd name="connsiteY97" fmla="*/ 258395 h 1037139"/>
                <a:gd name="connsiteX98" fmla="*/ 280863 w 5132298"/>
                <a:gd name="connsiteY98" fmla="*/ 189111 h 1037139"/>
                <a:gd name="connsiteX99" fmla="*/ 1186405 w 5132298"/>
                <a:gd name="connsiteY99" fmla="*/ 189130 h 1037139"/>
                <a:gd name="connsiteX100" fmla="*/ 1186405 w 5132298"/>
                <a:gd name="connsiteY100" fmla="*/ 1000336 h 1037139"/>
                <a:gd name="connsiteX101" fmla="*/ 1153144 w 5132298"/>
                <a:gd name="connsiteY101" fmla="*/ 1037198 h 1037139"/>
                <a:gd name="connsiteX102" fmla="*/ 1012879 w 5132298"/>
                <a:gd name="connsiteY102" fmla="*/ 1037198 h 1037139"/>
                <a:gd name="connsiteX103" fmla="*/ 979656 w 5132298"/>
                <a:gd name="connsiteY103" fmla="*/ 1000336 h 1037139"/>
                <a:gd name="connsiteX104" fmla="*/ 979656 w 5132298"/>
                <a:gd name="connsiteY104" fmla="*/ 37035 h 1037139"/>
                <a:gd name="connsiteX105" fmla="*/ 1012879 w 5132298"/>
                <a:gd name="connsiteY105" fmla="*/ 116 h 1037139"/>
                <a:gd name="connsiteX106" fmla="*/ 1439846 w 5132298"/>
                <a:gd name="connsiteY106" fmla="*/ 116 h 1037139"/>
                <a:gd name="connsiteX107" fmla="*/ 1840506 w 5132298"/>
                <a:gd name="connsiteY107" fmla="*/ 369838 h 1037139"/>
                <a:gd name="connsiteX108" fmla="*/ 1840506 w 5132298"/>
                <a:gd name="connsiteY108" fmla="*/ 1004032 h 1037139"/>
                <a:gd name="connsiteX109" fmla="*/ 1803625 w 5132298"/>
                <a:gd name="connsiteY109" fmla="*/ 1037198 h 1037139"/>
                <a:gd name="connsiteX110" fmla="*/ 1670885 w 5132298"/>
                <a:gd name="connsiteY110" fmla="*/ 1037198 h 1037139"/>
                <a:gd name="connsiteX111" fmla="*/ 1634023 w 5132298"/>
                <a:gd name="connsiteY111" fmla="*/ 1004032 h 1037139"/>
                <a:gd name="connsiteX112" fmla="*/ 1634023 w 5132298"/>
                <a:gd name="connsiteY112" fmla="*/ 369838 h 1037139"/>
                <a:gd name="connsiteX113" fmla="*/ 1439846 w 5132298"/>
                <a:gd name="connsiteY113" fmla="*/ 189225 h 1037139"/>
                <a:gd name="connsiteX114" fmla="*/ 1186405 w 5132298"/>
                <a:gd name="connsiteY114" fmla="*/ 189130 h 103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132298" h="1037139">
                  <a:moveTo>
                    <a:pt x="4143956" y="78849"/>
                  </a:moveTo>
                  <a:lnTo>
                    <a:pt x="4143651" y="36939"/>
                  </a:lnTo>
                  <a:cubicBezTo>
                    <a:pt x="4143651" y="16613"/>
                    <a:pt x="4128754" y="78"/>
                    <a:pt x="4110447" y="78"/>
                  </a:cubicBezTo>
                  <a:lnTo>
                    <a:pt x="3970639" y="78"/>
                  </a:lnTo>
                  <a:cubicBezTo>
                    <a:pt x="3952351" y="78"/>
                    <a:pt x="3937435" y="16613"/>
                    <a:pt x="3937435" y="36939"/>
                  </a:cubicBezTo>
                  <a:lnTo>
                    <a:pt x="3937435" y="78849"/>
                  </a:lnTo>
                  <a:lnTo>
                    <a:pt x="3937454" y="78849"/>
                  </a:lnTo>
                  <a:lnTo>
                    <a:pt x="3937759" y="152249"/>
                  </a:lnTo>
                  <a:cubicBezTo>
                    <a:pt x="3937759" y="172575"/>
                    <a:pt x="3952637" y="189111"/>
                    <a:pt x="3970963" y="189111"/>
                  </a:cubicBezTo>
                  <a:lnTo>
                    <a:pt x="4110771" y="189111"/>
                  </a:lnTo>
                  <a:cubicBezTo>
                    <a:pt x="4129059" y="189111"/>
                    <a:pt x="4143975" y="172575"/>
                    <a:pt x="4143975" y="152249"/>
                  </a:cubicBezTo>
                  <a:lnTo>
                    <a:pt x="4143975" y="78849"/>
                  </a:lnTo>
                  <a:lnTo>
                    <a:pt x="4143956" y="78849"/>
                  </a:lnTo>
                  <a:close/>
                  <a:moveTo>
                    <a:pt x="4143956" y="653397"/>
                  </a:moveTo>
                  <a:lnTo>
                    <a:pt x="4143651" y="306706"/>
                  </a:lnTo>
                  <a:cubicBezTo>
                    <a:pt x="4143651" y="286361"/>
                    <a:pt x="4128754" y="269845"/>
                    <a:pt x="4110447" y="269845"/>
                  </a:cubicBezTo>
                  <a:lnTo>
                    <a:pt x="3970639" y="269845"/>
                  </a:lnTo>
                  <a:cubicBezTo>
                    <a:pt x="3952351" y="269845"/>
                    <a:pt x="3937435" y="286361"/>
                    <a:pt x="3937435" y="306706"/>
                  </a:cubicBezTo>
                  <a:lnTo>
                    <a:pt x="3937435" y="653397"/>
                  </a:lnTo>
                  <a:lnTo>
                    <a:pt x="3937454" y="653397"/>
                  </a:lnTo>
                  <a:lnTo>
                    <a:pt x="3937759" y="1000069"/>
                  </a:lnTo>
                  <a:cubicBezTo>
                    <a:pt x="3937759" y="1020396"/>
                    <a:pt x="3952637" y="1036931"/>
                    <a:pt x="3970963" y="1036931"/>
                  </a:cubicBezTo>
                  <a:lnTo>
                    <a:pt x="4110771" y="1036931"/>
                  </a:lnTo>
                  <a:cubicBezTo>
                    <a:pt x="4129059" y="1036931"/>
                    <a:pt x="4143975" y="1020396"/>
                    <a:pt x="4143975" y="1000069"/>
                  </a:cubicBezTo>
                  <a:lnTo>
                    <a:pt x="4143975" y="653397"/>
                  </a:lnTo>
                  <a:lnTo>
                    <a:pt x="4143956" y="653397"/>
                  </a:lnTo>
                  <a:close/>
                  <a:moveTo>
                    <a:pt x="3441430" y="78"/>
                  </a:moveTo>
                  <a:lnTo>
                    <a:pt x="2991355" y="78"/>
                  </a:lnTo>
                  <a:cubicBezTo>
                    <a:pt x="2973029" y="78"/>
                    <a:pt x="2958131" y="16670"/>
                    <a:pt x="2958131" y="37035"/>
                  </a:cubicBezTo>
                  <a:lnTo>
                    <a:pt x="2958131" y="646958"/>
                  </a:lnTo>
                  <a:cubicBezTo>
                    <a:pt x="2958131" y="667323"/>
                    <a:pt x="2973009" y="683858"/>
                    <a:pt x="2991297" y="683858"/>
                  </a:cubicBezTo>
                  <a:lnTo>
                    <a:pt x="3131391" y="683858"/>
                  </a:lnTo>
                  <a:cubicBezTo>
                    <a:pt x="3149717" y="683858"/>
                    <a:pt x="3164595" y="667323"/>
                    <a:pt x="3164595" y="646958"/>
                  </a:cubicBezTo>
                  <a:lnTo>
                    <a:pt x="3164786" y="189015"/>
                  </a:lnTo>
                  <a:lnTo>
                    <a:pt x="3418284" y="189111"/>
                  </a:lnTo>
                  <a:cubicBezTo>
                    <a:pt x="3525383" y="189111"/>
                    <a:pt x="3612499" y="270149"/>
                    <a:pt x="3612499" y="369762"/>
                  </a:cubicBezTo>
                  <a:lnTo>
                    <a:pt x="3612499" y="702794"/>
                  </a:lnTo>
                  <a:cubicBezTo>
                    <a:pt x="3612499" y="802368"/>
                    <a:pt x="3525383" y="847822"/>
                    <a:pt x="3418284" y="847822"/>
                  </a:cubicBezTo>
                  <a:lnTo>
                    <a:pt x="2958131" y="848298"/>
                  </a:lnTo>
                  <a:lnTo>
                    <a:pt x="2958131" y="1037217"/>
                  </a:lnTo>
                  <a:lnTo>
                    <a:pt x="3418284" y="1036931"/>
                  </a:lnTo>
                  <a:cubicBezTo>
                    <a:pt x="3639226" y="1036931"/>
                    <a:pt x="3818982" y="906648"/>
                    <a:pt x="3818982" y="702794"/>
                  </a:cubicBezTo>
                  <a:lnTo>
                    <a:pt x="3818982" y="367590"/>
                  </a:lnTo>
                  <a:cubicBezTo>
                    <a:pt x="3818982" y="171985"/>
                    <a:pt x="3654866" y="78"/>
                    <a:pt x="3441430" y="78"/>
                  </a:cubicBezTo>
                  <a:moveTo>
                    <a:pt x="5132651" y="679820"/>
                  </a:moveTo>
                  <a:cubicBezTo>
                    <a:pt x="5132651" y="670447"/>
                    <a:pt x="5132575" y="660846"/>
                    <a:pt x="5131660" y="650425"/>
                  </a:cubicBezTo>
                  <a:cubicBezTo>
                    <a:pt x="5121469" y="535230"/>
                    <a:pt x="5002749" y="447943"/>
                    <a:pt x="4877591" y="447943"/>
                  </a:cubicBezTo>
                  <a:lnTo>
                    <a:pt x="4567171" y="447943"/>
                  </a:lnTo>
                  <a:lnTo>
                    <a:pt x="4559208" y="447924"/>
                  </a:lnTo>
                  <a:cubicBezTo>
                    <a:pt x="4509487" y="447924"/>
                    <a:pt x="4469063" y="403861"/>
                    <a:pt x="4469063" y="349759"/>
                  </a:cubicBezTo>
                  <a:lnTo>
                    <a:pt x="4469368" y="279312"/>
                  </a:lnTo>
                  <a:cubicBezTo>
                    <a:pt x="4469368" y="229630"/>
                    <a:pt x="4513412" y="189187"/>
                    <a:pt x="4567533" y="189187"/>
                  </a:cubicBezTo>
                  <a:lnTo>
                    <a:pt x="4690043" y="189187"/>
                  </a:lnTo>
                  <a:lnTo>
                    <a:pt x="4691243" y="189225"/>
                  </a:lnTo>
                  <a:lnTo>
                    <a:pt x="5000825" y="189225"/>
                  </a:lnTo>
                  <a:cubicBezTo>
                    <a:pt x="5016656" y="189225"/>
                    <a:pt x="5030676" y="180005"/>
                    <a:pt x="5035706" y="166270"/>
                  </a:cubicBezTo>
                  <a:cubicBezTo>
                    <a:pt x="5037039" y="162612"/>
                    <a:pt x="5037687" y="159259"/>
                    <a:pt x="5037687" y="156021"/>
                  </a:cubicBezTo>
                  <a:lnTo>
                    <a:pt x="5037687" y="33282"/>
                  </a:lnTo>
                  <a:cubicBezTo>
                    <a:pt x="5037687" y="14956"/>
                    <a:pt x="5021151" y="116"/>
                    <a:pt x="5000825" y="116"/>
                  </a:cubicBezTo>
                  <a:lnTo>
                    <a:pt x="4517869" y="173"/>
                  </a:lnTo>
                  <a:cubicBezTo>
                    <a:pt x="4377928" y="173"/>
                    <a:pt x="4262409" y="105805"/>
                    <a:pt x="4262409" y="235555"/>
                  </a:cubicBezTo>
                  <a:lnTo>
                    <a:pt x="4262428" y="382392"/>
                  </a:lnTo>
                  <a:cubicBezTo>
                    <a:pt x="4262428" y="522352"/>
                    <a:pt x="4368041" y="636214"/>
                    <a:pt x="4497886" y="636214"/>
                  </a:cubicBezTo>
                  <a:lnTo>
                    <a:pt x="4836309" y="636214"/>
                  </a:lnTo>
                  <a:cubicBezTo>
                    <a:pt x="4885992" y="636214"/>
                    <a:pt x="4925977" y="680258"/>
                    <a:pt x="4925977" y="734398"/>
                  </a:cubicBezTo>
                  <a:lnTo>
                    <a:pt x="4925977" y="757944"/>
                  </a:lnTo>
                  <a:cubicBezTo>
                    <a:pt x="4925977" y="807645"/>
                    <a:pt x="4882410" y="848050"/>
                    <a:pt x="4828289" y="848050"/>
                  </a:cubicBezTo>
                  <a:lnTo>
                    <a:pt x="4299290" y="848050"/>
                  </a:lnTo>
                  <a:cubicBezTo>
                    <a:pt x="4283440" y="848050"/>
                    <a:pt x="4269419" y="857213"/>
                    <a:pt x="4264447" y="870872"/>
                  </a:cubicBezTo>
                  <a:cubicBezTo>
                    <a:pt x="4263057" y="874606"/>
                    <a:pt x="4262390" y="877997"/>
                    <a:pt x="4262390" y="881216"/>
                  </a:cubicBezTo>
                  <a:lnTo>
                    <a:pt x="4262390" y="1003955"/>
                  </a:lnTo>
                  <a:cubicBezTo>
                    <a:pt x="4262390" y="1022262"/>
                    <a:pt x="4278944" y="1037160"/>
                    <a:pt x="4299290" y="1037160"/>
                  </a:cubicBezTo>
                  <a:lnTo>
                    <a:pt x="4732296" y="1037160"/>
                  </a:lnTo>
                  <a:lnTo>
                    <a:pt x="4879172" y="1037083"/>
                  </a:lnTo>
                  <a:cubicBezTo>
                    <a:pt x="5019075" y="1037083"/>
                    <a:pt x="5132651" y="931470"/>
                    <a:pt x="5132651" y="801587"/>
                  </a:cubicBezTo>
                  <a:lnTo>
                    <a:pt x="5132651" y="679820"/>
                  </a:lnTo>
                  <a:close/>
                  <a:moveTo>
                    <a:pt x="280863" y="189111"/>
                  </a:moveTo>
                  <a:lnTo>
                    <a:pt x="825046" y="189111"/>
                  </a:lnTo>
                  <a:cubicBezTo>
                    <a:pt x="844972" y="189111"/>
                    <a:pt x="861203" y="174518"/>
                    <a:pt x="861203" y="156573"/>
                  </a:cubicBezTo>
                  <a:lnTo>
                    <a:pt x="861203" y="32729"/>
                  </a:lnTo>
                  <a:cubicBezTo>
                    <a:pt x="861203" y="14746"/>
                    <a:pt x="845734" y="78"/>
                    <a:pt x="825046" y="78"/>
                  </a:cubicBezTo>
                  <a:lnTo>
                    <a:pt x="277073" y="78"/>
                  </a:lnTo>
                  <a:cubicBezTo>
                    <a:pt x="124501" y="78"/>
                    <a:pt x="352" y="114301"/>
                    <a:pt x="352" y="255005"/>
                  </a:cubicBezTo>
                  <a:lnTo>
                    <a:pt x="352" y="782309"/>
                  </a:lnTo>
                  <a:cubicBezTo>
                    <a:pt x="352" y="922955"/>
                    <a:pt x="124501" y="1037217"/>
                    <a:pt x="277073" y="1037217"/>
                  </a:cubicBezTo>
                  <a:lnTo>
                    <a:pt x="825046" y="1037217"/>
                  </a:lnTo>
                  <a:cubicBezTo>
                    <a:pt x="844972" y="1037217"/>
                    <a:pt x="861203" y="1022605"/>
                    <a:pt x="861203" y="1004660"/>
                  </a:cubicBezTo>
                  <a:lnTo>
                    <a:pt x="861203" y="880816"/>
                  </a:lnTo>
                  <a:cubicBezTo>
                    <a:pt x="861203" y="862871"/>
                    <a:pt x="844972" y="848298"/>
                    <a:pt x="825046" y="848298"/>
                  </a:cubicBezTo>
                  <a:lnTo>
                    <a:pt x="280863" y="848298"/>
                  </a:lnTo>
                  <a:cubicBezTo>
                    <a:pt x="240839" y="848298"/>
                    <a:pt x="207006" y="816580"/>
                    <a:pt x="207006" y="779051"/>
                  </a:cubicBezTo>
                  <a:lnTo>
                    <a:pt x="207006" y="634347"/>
                  </a:lnTo>
                  <a:lnTo>
                    <a:pt x="532457" y="634347"/>
                  </a:lnTo>
                  <a:cubicBezTo>
                    <a:pt x="552383" y="634347"/>
                    <a:pt x="568595" y="619717"/>
                    <a:pt x="568595" y="601772"/>
                  </a:cubicBezTo>
                  <a:lnTo>
                    <a:pt x="568595" y="480557"/>
                  </a:lnTo>
                  <a:cubicBezTo>
                    <a:pt x="568595" y="462573"/>
                    <a:pt x="552383" y="447943"/>
                    <a:pt x="532457" y="447943"/>
                  </a:cubicBezTo>
                  <a:lnTo>
                    <a:pt x="207006" y="447943"/>
                  </a:lnTo>
                  <a:lnTo>
                    <a:pt x="207006" y="258395"/>
                  </a:lnTo>
                  <a:cubicBezTo>
                    <a:pt x="207006" y="220829"/>
                    <a:pt x="240839" y="189111"/>
                    <a:pt x="280863" y="189111"/>
                  </a:cubicBezTo>
                  <a:moveTo>
                    <a:pt x="1186405" y="189130"/>
                  </a:moveTo>
                  <a:lnTo>
                    <a:pt x="1186405" y="1000336"/>
                  </a:lnTo>
                  <a:cubicBezTo>
                    <a:pt x="1186405" y="1020662"/>
                    <a:pt x="1171470" y="1037198"/>
                    <a:pt x="1153144" y="1037198"/>
                  </a:cubicBezTo>
                  <a:lnTo>
                    <a:pt x="1012879" y="1037198"/>
                  </a:lnTo>
                  <a:cubicBezTo>
                    <a:pt x="994553" y="1037198"/>
                    <a:pt x="979656" y="1020662"/>
                    <a:pt x="979656" y="1000336"/>
                  </a:cubicBezTo>
                  <a:lnTo>
                    <a:pt x="979656" y="37035"/>
                  </a:lnTo>
                  <a:cubicBezTo>
                    <a:pt x="979656" y="16670"/>
                    <a:pt x="994553" y="116"/>
                    <a:pt x="1012879" y="116"/>
                  </a:cubicBezTo>
                  <a:lnTo>
                    <a:pt x="1439846" y="116"/>
                  </a:lnTo>
                  <a:cubicBezTo>
                    <a:pt x="1660769" y="116"/>
                    <a:pt x="1840506" y="165946"/>
                    <a:pt x="1840506" y="369838"/>
                  </a:cubicBezTo>
                  <a:lnTo>
                    <a:pt x="1840506" y="1004032"/>
                  </a:lnTo>
                  <a:cubicBezTo>
                    <a:pt x="1840506" y="1022339"/>
                    <a:pt x="1823971" y="1037198"/>
                    <a:pt x="1803625" y="1037198"/>
                  </a:cubicBezTo>
                  <a:lnTo>
                    <a:pt x="1670885" y="1037198"/>
                  </a:lnTo>
                  <a:cubicBezTo>
                    <a:pt x="1650559" y="1037198"/>
                    <a:pt x="1634023" y="1022339"/>
                    <a:pt x="1634023" y="1004032"/>
                  </a:cubicBezTo>
                  <a:lnTo>
                    <a:pt x="1634023" y="369838"/>
                  </a:lnTo>
                  <a:cubicBezTo>
                    <a:pt x="1634023" y="270264"/>
                    <a:pt x="1546926" y="189225"/>
                    <a:pt x="1439846" y="189225"/>
                  </a:cubicBezTo>
                  <a:lnTo>
                    <a:pt x="1186405" y="189130"/>
                  </a:lnTo>
                  <a:close/>
                </a:path>
              </a:pathLst>
            </a:custGeom>
            <a:solidFill>
              <a:schemeClr val="bg1"/>
            </a:solidFill>
            <a:ln w="19050" cap="flat">
              <a:noFill/>
              <a:prstDash val="solid"/>
              <a:round/>
            </a:ln>
          </p:spPr>
          <p:txBody>
            <a:bodyPr rtlCol="0" anchor="ctr"/>
            <a:lstStyle/>
            <a:p>
              <a:endParaRPr lang="fr-FR"/>
            </a:p>
          </p:txBody>
        </p:sp>
      </p:grpSp>
      <p:sp>
        <p:nvSpPr>
          <p:cNvPr id="14" name="Espace réservé du texte 27">
            <a:extLst>
              <a:ext uri="{FF2B5EF4-FFF2-40B4-BE49-F238E27FC236}">
                <a16:creationId xmlns:a16="http://schemas.microsoft.com/office/drawing/2014/main" id="{928DA79C-58BB-46BE-A434-01CC299726C5}"/>
              </a:ext>
            </a:extLst>
          </p:cNvPr>
          <p:cNvSpPr>
            <a:spLocks noGrp="1" noChangeAspect="1"/>
          </p:cNvSpPr>
          <p:nvPr>
            <p:ph type="body" sz="quarter" idx="26" hasCustomPrompt="1"/>
          </p:nvPr>
        </p:nvSpPr>
        <p:spPr>
          <a:xfrm>
            <a:off x="269471" y="2195081"/>
            <a:ext cx="5389418" cy="3108614"/>
          </a:xfrm>
          <a:prstGeom prst="rect">
            <a:avLst/>
          </a:prstGeom>
          <a:noFill/>
        </p:spPr>
        <p:txBody>
          <a:bodyPr wrap="square" lIns="0" tIns="108000" anchor="t" anchorCtr="1">
            <a:noAutofit/>
          </a:bodyPr>
          <a:lstStyle>
            <a:lvl1pPr algn="ctr">
              <a:defRPr sz="2100">
                <a:solidFill>
                  <a:schemeClr val="bg1"/>
                </a:solidFill>
                <a:latin typeface="Enedis Medium" pitchFamily="50" charset="0"/>
              </a:defRPr>
            </a:lvl1pPr>
            <a:lvl2pPr marL="0" indent="0" algn="ctr">
              <a:spcAft>
                <a:spcPts val="0"/>
              </a:spcAft>
              <a:buNone/>
              <a:defRPr sz="11500" b="1">
                <a:solidFill>
                  <a:schemeClr val="bg1"/>
                </a:solidFill>
                <a:latin typeface="Enedis Black" pitchFamily="50" charset="0"/>
              </a:defRPr>
            </a:lvl2pPr>
            <a:lvl3pPr algn="ctr">
              <a:defRPr/>
            </a:lvl3pPr>
            <a:lvl5pPr>
              <a:defRPr/>
            </a:lvl5pPr>
          </a:lstStyle>
          <a:p>
            <a:pPr lvl="0"/>
            <a:r>
              <a:rPr lang="fr-FR"/>
              <a:t>Lorem ipsum </a:t>
            </a:r>
            <a:r>
              <a:rPr lang="fr-FR" err="1"/>
              <a:t>dolor</a:t>
            </a:r>
            <a:r>
              <a:rPr lang="fr-FR"/>
              <a:t> </a:t>
            </a:r>
            <a:r>
              <a:rPr lang="fr-FR" err="1"/>
              <a:t>sit</a:t>
            </a:r>
            <a:r>
              <a:rPr lang="fr-FR"/>
              <a:t> </a:t>
            </a:r>
            <a:r>
              <a:rPr lang="fr-FR" err="1"/>
              <a:t>amet</a:t>
            </a:r>
            <a:r>
              <a:rPr lang="fr-FR"/>
              <a:t>,</a:t>
            </a:r>
            <a:br>
              <a:rPr lang="fr-FR"/>
            </a:br>
            <a:r>
              <a:rPr lang="fr-FR" err="1"/>
              <a:t>consectuer</a:t>
            </a:r>
            <a:r>
              <a:rPr lang="fr-FR"/>
              <a:t> </a:t>
            </a:r>
          </a:p>
          <a:p>
            <a:pPr lvl="1"/>
            <a:r>
              <a:rPr lang="fr-FR"/>
              <a:t>89%</a:t>
            </a:r>
          </a:p>
        </p:txBody>
      </p:sp>
      <p:sp>
        <p:nvSpPr>
          <p:cNvPr id="16" name="Espace réservé du texte 12">
            <a:extLst>
              <a:ext uri="{FF2B5EF4-FFF2-40B4-BE49-F238E27FC236}">
                <a16:creationId xmlns:a16="http://schemas.microsoft.com/office/drawing/2014/main" id="{2479FAF6-09FB-463A-8A3F-2B98F185F855}"/>
              </a:ext>
            </a:extLst>
          </p:cNvPr>
          <p:cNvSpPr>
            <a:spLocks noGrp="1"/>
          </p:cNvSpPr>
          <p:nvPr>
            <p:ph type="body" sz="quarter" idx="18" hasCustomPrompt="1"/>
          </p:nvPr>
        </p:nvSpPr>
        <p:spPr>
          <a:xfrm>
            <a:off x="6254031" y="2072273"/>
            <a:ext cx="5575303" cy="872547"/>
          </a:xfrm>
        </p:spPr>
        <p:txBody>
          <a:bodyPr/>
          <a:lstStyle>
            <a:lvl1pPr>
              <a:defRPr/>
            </a:lvl1pPr>
            <a:lvl5pPr>
              <a:defRPr/>
            </a:lvl5pPr>
          </a:lstStyle>
          <a:p>
            <a:pPr lvl="0"/>
            <a:r>
              <a:rPr lang="fr-FR" err="1"/>
              <a:t>Tartio</a:t>
            </a:r>
            <a:r>
              <a:rPr lang="fr-FR"/>
              <a:t>  ipsum </a:t>
            </a:r>
          </a:p>
          <a:p>
            <a:pPr lvl="1"/>
            <a:r>
              <a:rPr lang="fr-FR"/>
              <a:t>Deuxième niveau</a:t>
            </a:r>
          </a:p>
          <a:p>
            <a:pPr lvl="2"/>
            <a:r>
              <a:rPr lang="fr-FR"/>
              <a:t>Troisième niveau</a:t>
            </a:r>
          </a:p>
          <a:p>
            <a:pPr lvl="3"/>
            <a:r>
              <a:rPr lang="fr-FR"/>
              <a:t>Quatrième niveau</a:t>
            </a:r>
          </a:p>
          <a:p>
            <a:pPr lvl="4"/>
            <a:r>
              <a:rPr lang="fr-FR"/>
              <a:t>Cinquième niveau</a:t>
            </a:r>
          </a:p>
        </p:txBody>
      </p:sp>
      <p:sp>
        <p:nvSpPr>
          <p:cNvPr id="19" name="Titre 8">
            <a:extLst>
              <a:ext uri="{FF2B5EF4-FFF2-40B4-BE49-F238E27FC236}">
                <a16:creationId xmlns:a16="http://schemas.microsoft.com/office/drawing/2014/main" id="{9AEF1246-482F-408E-8822-C4BE15A416FA}"/>
              </a:ext>
            </a:extLst>
          </p:cNvPr>
          <p:cNvSpPr>
            <a:spLocks noGrp="1"/>
          </p:cNvSpPr>
          <p:nvPr>
            <p:ph type="title" hasCustomPrompt="1"/>
          </p:nvPr>
        </p:nvSpPr>
        <p:spPr>
          <a:xfrm>
            <a:off x="6220691" y="511217"/>
            <a:ext cx="5575304" cy="1353832"/>
          </a:xfrm>
        </p:spPr>
        <p:txBody>
          <a:bodyPr/>
          <a:lstStyle>
            <a:lvl1pPr>
              <a:lnSpc>
                <a:spcPct val="84000"/>
              </a:lnSpc>
              <a:defRPr sz="3450"/>
            </a:lvl1pPr>
          </a:lstStyle>
          <a:p>
            <a:r>
              <a:rPr lang="fr-FR"/>
              <a:t>Lorem ipsum </a:t>
            </a:r>
            <a:r>
              <a:rPr lang="fr-FR" err="1"/>
              <a:t>dolor</a:t>
            </a:r>
            <a:r>
              <a:rPr lang="fr-FR"/>
              <a:t> </a:t>
            </a:r>
            <a:r>
              <a:rPr lang="fr-FR" err="1"/>
              <a:t>sit</a:t>
            </a:r>
            <a:r>
              <a:rPr lang="fr-FR"/>
              <a:t/>
            </a:r>
            <a:br>
              <a:rPr lang="fr-FR"/>
            </a:br>
            <a:r>
              <a:rPr lang="fr-FR" err="1"/>
              <a:t>amet</a:t>
            </a:r>
            <a:r>
              <a:rPr lang="fr-FR"/>
              <a:t>, </a:t>
            </a:r>
            <a:r>
              <a:rPr lang="fr-FR" err="1"/>
              <a:t>consectetuer</a:t>
            </a:r>
            <a:r>
              <a:rPr lang="fr-FR"/>
              <a:t/>
            </a:r>
            <a:br>
              <a:rPr lang="fr-FR"/>
            </a:br>
            <a:r>
              <a:rPr lang="fr-FR" err="1"/>
              <a:t>adipiscing</a:t>
            </a:r>
            <a:r>
              <a:rPr lang="fr-FR"/>
              <a:t> </a:t>
            </a:r>
            <a:r>
              <a:rPr lang="fr-FR" err="1"/>
              <a:t>elit</a:t>
            </a:r>
            <a:endParaRPr lang="fr-FR"/>
          </a:p>
        </p:txBody>
      </p:sp>
    </p:spTree>
    <p:extLst>
      <p:ext uri="{BB962C8B-B14F-4D97-AF65-F5344CB8AC3E}">
        <p14:creationId xmlns:p14="http://schemas.microsoft.com/office/powerpoint/2010/main" val="297932813"/>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anifesto M">
    <p:bg>
      <p:bgPr>
        <a:solidFill>
          <a:srgbClr val="FFFFFF"/>
        </a:solidFill>
        <a:effectLst/>
      </p:bgPr>
    </p:bg>
    <p:spTree>
      <p:nvGrpSpPr>
        <p:cNvPr id="1" name=""/>
        <p:cNvGrpSpPr/>
        <p:nvPr/>
      </p:nvGrpSpPr>
      <p:grpSpPr>
        <a:xfrm>
          <a:off x="0" y="0"/>
          <a:ext cx="0" cy="0"/>
          <a:chOff x="0" y="0"/>
          <a:chExt cx="0" cy="0"/>
        </a:xfrm>
      </p:grpSpPr>
      <p:sp>
        <p:nvSpPr>
          <p:cNvPr id="10" name="Espace réservé de la date 9">
            <a:extLst>
              <a:ext uri="{FF2B5EF4-FFF2-40B4-BE49-F238E27FC236}">
                <a16:creationId xmlns:a16="http://schemas.microsoft.com/office/drawing/2014/main" id="{506D7A77-3261-4789-90AF-4391ECC68EB7}"/>
              </a:ext>
            </a:extLst>
          </p:cNvPr>
          <p:cNvSpPr>
            <a:spLocks noGrp="1"/>
          </p:cNvSpPr>
          <p:nvPr>
            <p:ph type="dt" sz="half" idx="19"/>
          </p:nvPr>
        </p:nvSpPr>
        <p:spPr/>
        <p:txBody>
          <a:bodyPr/>
          <a:lstStyle>
            <a:lvl1pPr>
              <a:defRPr>
                <a:solidFill>
                  <a:schemeClr val="tx2"/>
                </a:solidFill>
              </a:defRPr>
            </a:lvl1pPr>
          </a:lstStyle>
          <a:p>
            <a:r>
              <a:rPr lang="fr-FR" smtClean="0"/>
              <a:t>25 mai 2022</a:t>
            </a:r>
            <a:endParaRPr lang="fr-FR"/>
          </a:p>
        </p:txBody>
      </p:sp>
      <p:sp>
        <p:nvSpPr>
          <p:cNvPr id="11" name="Espace réservé du pied de page 10">
            <a:extLst>
              <a:ext uri="{FF2B5EF4-FFF2-40B4-BE49-F238E27FC236}">
                <a16:creationId xmlns:a16="http://schemas.microsoft.com/office/drawing/2014/main" id="{05070C08-0C4F-480C-A4AD-38AC3DBE4AC8}"/>
              </a:ext>
            </a:extLst>
          </p:cNvPr>
          <p:cNvSpPr>
            <a:spLocks noGrp="1"/>
          </p:cNvSpPr>
          <p:nvPr>
            <p:ph type="ftr" sz="quarter" idx="20"/>
          </p:nvPr>
        </p:nvSpPr>
        <p:spPr>
          <a:xfrm>
            <a:off x="1626384" y="6469013"/>
            <a:ext cx="4812515" cy="226714"/>
          </a:xfrm>
          <a:prstGeom prst="rect">
            <a:avLst/>
          </a:prstGeom>
        </p:spPr>
        <p:txBody>
          <a:bodyPr/>
          <a:lstStyle>
            <a:lvl1pPr>
              <a:defRPr>
                <a:solidFill>
                  <a:schemeClr val="tx2"/>
                </a:solidFill>
              </a:defRPr>
            </a:lvl1pPr>
          </a:lstStyle>
          <a:p>
            <a:r>
              <a:rPr lang="fr-FR" smtClean="0"/>
              <a:t>Stratégie Mobilité Electrique Enedis</a:t>
            </a:r>
            <a:endParaRPr lang="fr-FR"/>
          </a:p>
        </p:txBody>
      </p:sp>
      <p:sp>
        <p:nvSpPr>
          <p:cNvPr id="12" name="Espace réservé du numéro de diapositive 11">
            <a:extLst>
              <a:ext uri="{FF2B5EF4-FFF2-40B4-BE49-F238E27FC236}">
                <a16:creationId xmlns:a16="http://schemas.microsoft.com/office/drawing/2014/main" id="{A20B3F73-B7A3-4D47-82E4-C5AA9E80D66F}"/>
              </a:ext>
            </a:extLst>
          </p:cNvPr>
          <p:cNvSpPr>
            <a:spLocks noGrp="1"/>
          </p:cNvSpPr>
          <p:nvPr>
            <p:ph type="sldNum" sz="quarter" idx="21"/>
          </p:nvPr>
        </p:nvSpPr>
        <p:spPr/>
        <p:txBody>
          <a:bodyPr/>
          <a:lstStyle>
            <a:lvl1pPr>
              <a:defRPr>
                <a:solidFill>
                  <a:schemeClr val="tx2"/>
                </a:solidFill>
              </a:defRPr>
            </a:lvl1pPr>
          </a:lstStyle>
          <a:p>
            <a:fld id="{6B54B0F7-55DD-40D6-B7F4-70B586885C0B}" type="slidenum">
              <a:rPr lang="fr-FR" smtClean="0"/>
              <a:pPr/>
              <a:t>‹N°›</a:t>
            </a:fld>
            <a:endParaRPr lang="fr-FR"/>
          </a:p>
        </p:txBody>
      </p:sp>
      <p:sp>
        <p:nvSpPr>
          <p:cNvPr id="14" name="Titre 8">
            <a:extLst>
              <a:ext uri="{FF2B5EF4-FFF2-40B4-BE49-F238E27FC236}">
                <a16:creationId xmlns:a16="http://schemas.microsoft.com/office/drawing/2014/main" id="{84C899FF-869A-4315-A506-197107D1CE36}"/>
              </a:ext>
            </a:extLst>
          </p:cNvPr>
          <p:cNvSpPr>
            <a:spLocks noGrp="1"/>
          </p:cNvSpPr>
          <p:nvPr>
            <p:ph type="title" hasCustomPrompt="1"/>
          </p:nvPr>
        </p:nvSpPr>
        <p:spPr>
          <a:xfrm>
            <a:off x="2513485" y="1841541"/>
            <a:ext cx="8821265" cy="3102388"/>
          </a:xfrm>
        </p:spPr>
        <p:txBody>
          <a:bodyPr anchor="ctr"/>
          <a:lstStyle>
            <a:lvl1pPr>
              <a:lnSpc>
                <a:spcPct val="90000"/>
              </a:lnSpc>
              <a:defRPr sz="3200">
                <a:solidFill>
                  <a:schemeClr val="tx2"/>
                </a:solidFill>
              </a:defRPr>
            </a:lvl1pPr>
          </a:lstStyle>
          <a:p>
            <a:r>
              <a:rPr lang="fr-FR"/>
              <a:t>Lorem ipsum </a:t>
            </a:r>
            <a:r>
              <a:rPr lang="fr-FR" err="1"/>
              <a:t>dolor</a:t>
            </a:r>
            <a:r>
              <a:rPr lang="fr-FR"/>
              <a:t> </a:t>
            </a:r>
            <a:r>
              <a:rPr lang="fr-FR" err="1"/>
              <a:t>sit</a:t>
            </a:r>
            <a:r>
              <a:rPr lang="fr-FR"/>
              <a:t> </a:t>
            </a:r>
            <a:r>
              <a:rPr lang="fr-FR" err="1"/>
              <a:t>amet</a:t>
            </a:r>
            <a:r>
              <a:rPr lang="fr-FR"/>
              <a:t>, </a:t>
            </a:r>
            <a:r>
              <a:rPr lang="fr-FR" err="1"/>
              <a:t>consectetuer</a:t>
            </a:r>
            <a:r>
              <a:rPr lang="fr-FR"/>
              <a:t/>
            </a:r>
            <a:br>
              <a:rPr lang="fr-FR"/>
            </a:br>
            <a:r>
              <a:rPr lang="fr-FR" err="1"/>
              <a:t>adipiscing</a:t>
            </a:r>
            <a:r>
              <a:rPr lang="fr-FR"/>
              <a:t> </a:t>
            </a:r>
            <a:r>
              <a:rPr lang="fr-FR" err="1"/>
              <a:t>elit</a:t>
            </a:r>
            <a:r>
              <a:rPr lang="fr-FR"/>
              <a:t>, </a:t>
            </a:r>
            <a:r>
              <a:rPr lang="fr-FR" err="1"/>
              <a:t>sed</a:t>
            </a:r>
            <a:r>
              <a:rPr lang="fr-FR"/>
              <a:t> diam </a:t>
            </a:r>
            <a:r>
              <a:rPr lang="fr-FR" err="1"/>
              <a:t>nonummy</a:t>
            </a:r>
            <a:r>
              <a:rPr lang="fr-FR"/>
              <a:t> </a:t>
            </a:r>
            <a:r>
              <a:rPr lang="fr-FR" err="1"/>
              <a:t>nibh</a:t>
            </a:r>
            <a:r>
              <a:rPr lang="fr-FR"/>
              <a:t/>
            </a:r>
            <a:br>
              <a:rPr lang="fr-FR"/>
            </a:br>
            <a:r>
              <a:rPr lang="fr-FR" err="1"/>
              <a:t>euismod</a:t>
            </a:r>
            <a:r>
              <a:rPr lang="fr-FR"/>
              <a:t> </a:t>
            </a:r>
            <a:r>
              <a:rPr lang="fr-FR" err="1"/>
              <a:t>tincidunt</a:t>
            </a:r>
            <a:r>
              <a:rPr lang="fr-FR"/>
              <a:t> ut </a:t>
            </a:r>
            <a:r>
              <a:rPr lang="fr-FR" err="1"/>
              <a:t>laoreet</a:t>
            </a:r>
            <a:r>
              <a:rPr lang="fr-FR"/>
              <a:t> </a:t>
            </a:r>
            <a:r>
              <a:rPr lang="fr-FR" err="1"/>
              <a:t>dolore</a:t>
            </a:r>
            <a:r>
              <a:rPr lang="fr-FR"/>
              <a:t> magna</a:t>
            </a:r>
            <a:br>
              <a:rPr lang="fr-FR"/>
            </a:br>
            <a:r>
              <a:rPr lang="fr-FR" err="1"/>
              <a:t>aliquam</a:t>
            </a:r>
            <a:r>
              <a:rPr lang="fr-FR"/>
              <a:t> erat </a:t>
            </a:r>
            <a:r>
              <a:rPr lang="fr-FR" err="1"/>
              <a:t>volutpat</a:t>
            </a:r>
            <a:r>
              <a:rPr lang="fr-FR"/>
              <a:t>. Lorem ipsum </a:t>
            </a:r>
            <a:r>
              <a:rPr lang="fr-FR" err="1"/>
              <a:t>dolor</a:t>
            </a:r>
            <a:r>
              <a:rPr lang="fr-FR"/>
              <a:t> </a:t>
            </a:r>
            <a:r>
              <a:rPr lang="fr-FR" err="1"/>
              <a:t>sit</a:t>
            </a:r>
            <a:r>
              <a:rPr lang="fr-FR"/>
              <a:t/>
            </a:r>
            <a:br>
              <a:rPr lang="fr-FR"/>
            </a:br>
            <a:r>
              <a:rPr lang="fr-FR" err="1"/>
              <a:t>amet</a:t>
            </a:r>
            <a:r>
              <a:rPr lang="fr-FR"/>
              <a:t>, </a:t>
            </a:r>
            <a:r>
              <a:rPr lang="fr-FR" err="1"/>
              <a:t>consectetuer</a:t>
            </a:r>
            <a:r>
              <a:rPr lang="fr-FR"/>
              <a:t> </a:t>
            </a:r>
            <a:r>
              <a:rPr lang="fr-FR" err="1"/>
              <a:t>adipiscing</a:t>
            </a:r>
            <a:r>
              <a:rPr lang="fr-FR"/>
              <a:t> </a:t>
            </a:r>
            <a:r>
              <a:rPr lang="fr-FR" err="1"/>
              <a:t>elit</a:t>
            </a:r>
            <a:r>
              <a:rPr lang="fr-FR"/>
              <a:t>, </a:t>
            </a:r>
            <a:r>
              <a:rPr lang="fr-FR" err="1"/>
              <a:t>sed</a:t>
            </a:r>
            <a:r>
              <a:rPr lang="fr-FR"/>
              <a:t> diam</a:t>
            </a:r>
            <a:br>
              <a:rPr lang="fr-FR"/>
            </a:br>
            <a:r>
              <a:rPr lang="fr-FR" err="1"/>
              <a:t>nonummy</a:t>
            </a:r>
            <a:r>
              <a:rPr lang="fr-FR"/>
              <a:t> </a:t>
            </a:r>
            <a:r>
              <a:rPr lang="fr-FR" err="1"/>
              <a:t>nibh</a:t>
            </a:r>
            <a:r>
              <a:rPr lang="fr-FR"/>
              <a:t> </a:t>
            </a:r>
            <a:r>
              <a:rPr lang="fr-FR" err="1"/>
              <a:t>euismod</a:t>
            </a:r>
            <a:r>
              <a:rPr lang="fr-FR"/>
              <a:t> </a:t>
            </a:r>
            <a:r>
              <a:rPr lang="fr-FR" err="1"/>
              <a:t>tincidunt</a:t>
            </a:r>
            <a:r>
              <a:rPr lang="fr-FR"/>
              <a:t> ut </a:t>
            </a:r>
            <a:r>
              <a:rPr lang="fr-FR" err="1"/>
              <a:t>laoreet</a:t>
            </a:r>
            <a:r>
              <a:rPr lang="fr-FR"/>
              <a:t/>
            </a:r>
            <a:br>
              <a:rPr lang="fr-FR"/>
            </a:br>
            <a:r>
              <a:rPr lang="fr-FR" err="1"/>
              <a:t>dolore</a:t>
            </a:r>
            <a:r>
              <a:rPr lang="fr-FR"/>
              <a:t> magna </a:t>
            </a:r>
            <a:r>
              <a:rPr lang="fr-FR" err="1"/>
              <a:t>aliquam</a:t>
            </a:r>
            <a:r>
              <a:rPr lang="fr-FR"/>
              <a:t> erat </a:t>
            </a:r>
            <a:r>
              <a:rPr lang="fr-FR" err="1"/>
              <a:t>volutpat</a:t>
            </a:r>
            <a:r>
              <a:rPr lang="fr-FR"/>
              <a:t>.</a:t>
            </a:r>
          </a:p>
        </p:txBody>
      </p:sp>
      <p:sp>
        <p:nvSpPr>
          <p:cNvPr id="13" name="Espace réservé du graphique SmartArt 12">
            <a:extLst>
              <a:ext uri="{FF2B5EF4-FFF2-40B4-BE49-F238E27FC236}">
                <a16:creationId xmlns:a16="http://schemas.microsoft.com/office/drawing/2014/main" id="{224F1CF0-FBFB-43C3-BAE8-803766D5635E}"/>
              </a:ext>
            </a:extLst>
          </p:cNvPr>
          <p:cNvSpPr>
            <a:spLocks noGrp="1" noChangeAspect="1"/>
          </p:cNvSpPr>
          <p:nvPr>
            <p:ph type="dgm" sz="quarter" idx="22"/>
          </p:nvPr>
        </p:nvSpPr>
        <p:spPr>
          <a:xfrm>
            <a:off x="9645651" y="4725108"/>
            <a:ext cx="527050" cy="463254"/>
          </a:xfrm>
          <a:custGeom>
            <a:avLst/>
            <a:gdLst>
              <a:gd name="connsiteX0" fmla="*/ 2101941 w 3665153"/>
              <a:gd name="connsiteY0" fmla="*/ 0 h 3221517"/>
              <a:gd name="connsiteX1" fmla="*/ 3665153 w 3665153"/>
              <a:gd name="connsiteY1" fmla="*/ 0 h 3221517"/>
              <a:gd name="connsiteX2" fmla="*/ 3665153 w 3665153"/>
              <a:gd name="connsiteY2" fmla="*/ 1235816 h 3221517"/>
              <a:gd name="connsiteX3" fmla="*/ 2101941 w 3665153"/>
              <a:gd name="connsiteY3" fmla="*/ 3221517 h 3221517"/>
              <a:gd name="connsiteX4" fmla="*/ 2101941 w 3665153"/>
              <a:gd name="connsiteY4" fmla="*/ 2471631 h 3221517"/>
              <a:gd name="connsiteX5" fmla="*/ 3591250 w 3665153"/>
              <a:gd name="connsiteY5" fmla="*/ 1489310 h 3221517"/>
              <a:gd name="connsiteX6" fmla="*/ 2101941 w 3665153"/>
              <a:gd name="connsiteY6" fmla="*/ 1489310 h 3221517"/>
              <a:gd name="connsiteX7" fmla="*/ 0 w 3665153"/>
              <a:gd name="connsiteY7" fmla="*/ 0 h 3221517"/>
              <a:gd name="connsiteX8" fmla="*/ 1563256 w 3665153"/>
              <a:gd name="connsiteY8" fmla="*/ 0 h 3221517"/>
              <a:gd name="connsiteX9" fmla="*/ 1563256 w 3665153"/>
              <a:gd name="connsiteY9" fmla="*/ 1235816 h 3221517"/>
              <a:gd name="connsiteX10" fmla="*/ 0 w 3665153"/>
              <a:gd name="connsiteY10" fmla="*/ 3221517 h 3221517"/>
              <a:gd name="connsiteX11" fmla="*/ 0 w 3665153"/>
              <a:gd name="connsiteY11" fmla="*/ 2471631 h 3221517"/>
              <a:gd name="connsiteX12" fmla="*/ 1489309 w 3665153"/>
              <a:gd name="connsiteY12" fmla="*/ 1489310 h 3221517"/>
              <a:gd name="connsiteX13" fmla="*/ 0 w 3665153"/>
              <a:gd name="connsiteY13" fmla="*/ 1489310 h 3221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65153" h="3221517">
                <a:moveTo>
                  <a:pt x="2101941" y="0"/>
                </a:moveTo>
                <a:lnTo>
                  <a:pt x="3665153" y="0"/>
                </a:lnTo>
                <a:lnTo>
                  <a:pt x="3665153" y="1235816"/>
                </a:lnTo>
                <a:cubicBezTo>
                  <a:pt x="3665153" y="2323782"/>
                  <a:pt x="3084219" y="3063073"/>
                  <a:pt x="2101941" y="3221517"/>
                </a:cubicBezTo>
                <a:lnTo>
                  <a:pt x="2101941" y="2471631"/>
                </a:lnTo>
                <a:cubicBezTo>
                  <a:pt x="2915267" y="2387089"/>
                  <a:pt x="3432806" y="2027995"/>
                  <a:pt x="3591250" y="1489310"/>
                </a:cubicBezTo>
                <a:lnTo>
                  <a:pt x="2101941" y="1489310"/>
                </a:lnTo>
                <a:close/>
                <a:moveTo>
                  <a:pt x="0" y="0"/>
                </a:moveTo>
                <a:lnTo>
                  <a:pt x="1563256" y="0"/>
                </a:lnTo>
                <a:lnTo>
                  <a:pt x="1563256" y="1235816"/>
                </a:lnTo>
                <a:cubicBezTo>
                  <a:pt x="1563256" y="2323782"/>
                  <a:pt x="982321" y="3063073"/>
                  <a:pt x="0" y="3221517"/>
                </a:cubicBezTo>
                <a:lnTo>
                  <a:pt x="0" y="2471631"/>
                </a:lnTo>
                <a:cubicBezTo>
                  <a:pt x="813326" y="2387089"/>
                  <a:pt x="1330865" y="2027995"/>
                  <a:pt x="1489309" y="1489310"/>
                </a:cubicBezTo>
                <a:lnTo>
                  <a:pt x="0" y="1489310"/>
                </a:lnTo>
                <a:close/>
              </a:path>
            </a:pathLst>
          </a:custGeom>
          <a:solidFill>
            <a:schemeClr val="accent1"/>
          </a:solidFill>
        </p:spPr>
        <p:txBody>
          <a:bodyPr wrap="square">
            <a:noAutofit/>
          </a:bodyPr>
          <a:lstStyle>
            <a:lvl1pPr>
              <a:defRPr>
                <a:noFill/>
              </a:defRPr>
            </a:lvl1pPr>
          </a:lstStyle>
          <a:p>
            <a:endParaRPr lang="fr-FR"/>
          </a:p>
        </p:txBody>
      </p:sp>
      <p:sp>
        <p:nvSpPr>
          <p:cNvPr id="15" name="Espace réservé du graphique SmartArt 14">
            <a:extLst>
              <a:ext uri="{FF2B5EF4-FFF2-40B4-BE49-F238E27FC236}">
                <a16:creationId xmlns:a16="http://schemas.microsoft.com/office/drawing/2014/main" id="{DAFD4CCF-04AE-4A59-8C17-A9B9BD9EB30F}"/>
              </a:ext>
            </a:extLst>
          </p:cNvPr>
          <p:cNvSpPr>
            <a:spLocks noGrp="1" noChangeAspect="1"/>
          </p:cNvSpPr>
          <p:nvPr>
            <p:ph type="dgm" sz="quarter" idx="23"/>
          </p:nvPr>
        </p:nvSpPr>
        <p:spPr>
          <a:xfrm flipH="1" flipV="1">
            <a:off x="1758393" y="1681706"/>
            <a:ext cx="527050" cy="463254"/>
          </a:xfrm>
          <a:custGeom>
            <a:avLst/>
            <a:gdLst>
              <a:gd name="connsiteX0" fmla="*/ 2101941 w 3665153"/>
              <a:gd name="connsiteY0" fmla="*/ 0 h 3221517"/>
              <a:gd name="connsiteX1" fmla="*/ 3665153 w 3665153"/>
              <a:gd name="connsiteY1" fmla="*/ 0 h 3221517"/>
              <a:gd name="connsiteX2" fmla="*/ 3665153 w 3665153"/>
              <a:gd name="connsiteY2" fmla="*/ 1235816 h 3221517"/>
              <a:gd name="connsiteX3" fmla="*/ 2101941 w 3665153"/>
              <a:gd name="connsiteY3" fmla="*/ 3221517 h 3221517"/>
              <a:gd name="connsiteX4" fmla="*/ 2101941 w 3665153"/>
              <a:gd name="connsiteY4" fmla="*/ 2471631 h 3221517"/>
              <a:gd name="connsiteX5" fmla="*/ 3591250 w 3665153"/>
              <a:gd name="connsiteY5" fmla="*/ 1489310 h 3221517"/>
              <a:gd name="connsiteX6" fmla="*/ 2101941 w 3665153"/>
              <a:gd name="connsiteY6" fmla="*/ 1489310 h 3221517"/>
              <a:gd name="connsiteX7" fmla="*/ 0 w 3665153"/>
              <a:gd name="connsiteY7" fmla="*/ 0 h 3221517"/>
              <a:gd name="connsiteX8" fmla="*/ 1563256 w 3665153"/>
              <a:gd name="connsiteY8" fmla="*/ 0 h 3221517"/>
              <a:gd name="connsiteX9" fmla="*/ 1563256 w 3665153"/>
              <a:gd name="connsiteY9" fmla="*/ 1235816 h 3221517"/>
              <a:gd name="connsiteX10" fmla="*/ 0 w 3665153"/>
              <a:gd name="connsiteY10" fmla="*/ 3221517 h 3221517"/>
              <a:gd name="connsiteX11" fmla="*/ 0 w 3665153"/>
              <a:gd name="connsiteY11" fmla="*/ 2471631 h 3221517"/>
              <a:gd name="connsiteX12" fmla="*/ 1489309 w 3665153"/>
              <a:gd name="connsiteY12" fmla="*/ 1489310 h 3221517"/>
              <a:gd name="connsiteX13" fmla="*/ 0 w 3665153"/>
              <a:gd name="connsiteY13" fmla="*/ 1489310 h 3221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65153" h="3221517">
                <a:moveTo>
                  <a:pt x="2101941" y="0"/>
                </a:moveTo>
                <a:lnTo>
                  <a:pt x="3665153" y="0"/>
                </a:lnTo>
                <a:lnTo>
                  <a:pt x="3665153" y="1235816"/>
                </a:lnTo>
                <a:cubicBezTo>
                  <a:pt x="3665153" y="2323782"/>
                  <a:pt x="3084219" y="3063073"/>
                  <a:pt x="2101941" y="3221517"/>
                </a:cubicBezTo>
                <a:lnTo>
                  <a:pt x="2101941" y="2471631"/>
                </a:lnTo>
                <a:cubicBezTo>
                  <a:pt x="2915267" y="2387089"/>
                  <a:pt x="3432806" y="2027995"/>
                  <a:pt x="3591250" y="1489310"/>
                </a:cubicBezTo>
                <a:lnTo>
                  <a:pt x="2101941" y="1489310"/>
                </a:lnTo>
                <a:close/>
                <a:moveTo>
                  <a:pt x="0" y="0"/>
                </a:moveTo>
                <a:lnTo>
                  <a:pt x="1563256" y="0"/>
                </a:lnTo>
                <a:lnTo>
                  <a:pt x="1563256" y="1235816"/>
                </a:lnTo>
                <a:cubicBezTo>
                  <a:pt x="1563256" y="2323782"/>
                  <a:pt x="982321" y="3063073"/>
                  <a:pt x="0" y="3221517"/>
                </a:cubicBezTo>
                <a:lnTo>
                  <a:pt x="0" y="2471631"/>
                </a:lnTo>
                <a:cubicBezTo>
                  <a:pt x="813326" y="2387089"/>
                  <a:pt x="1330865" y="2027995"/>
                  <a:pt x="1489309" y="1489310"/>
                </a:cubicBezTo>
                <a:lnTo>
                  <a:pt x="0" y="1489310"/>
                </a:lnTo>
                <a:close/>
              </a:path>
            </a:pathLst>
          </a:custGeom>
          <a:solidFill>
            <a:schemeClr val="accent1"/>
          </a:solidFill>
        </p:spPr>
        <p:txBody>
          <a:bodyPr wrap="square">
            <a:noAutofit/>
          </a:bodyPr>
          <a:lstStyle>
            <a:lvl1pPr>
              <a:defRPr>
                <a:noFill/>
              </a:defRPr>
            </a:lvl1pPr>
          </a:lstStyle>
          <a:p>
            <a:endParaRPr lang="fr-FR"/>
          </a:p>
        </p:txBody>
      </p:sp>
      <p:grpSp>
        <p:nvGrpSpPr>
          <p:cNvPr id="19" name="Groupe 18">
            <a:extLst>
              <a:ext uri="{FF2B5EF4-FFF2-40B4-BE49-F238E27FC236}">
                <a16:creationId xmlns:a16="http://schemas.microsoft.com/office/drawing/2014/main" id="{7814393D-12CB-4D35-ADFA-B354ED5DFAE6}"/>
              </a:ext>
            </a:extLst>
          </p:cNvPr>
          <p:cNvGrpSpPr>
            <a:grpSpLocks noChangeAspect="1"/>
          </p:cNvGrpSpPr>
          <p:nvPr userDrawn="1"/>
        </p:nvGrpSpPr>
        <p:grpSpPr>
          <a:xfrm>
            <a:off x="518307" y="6473033"/>
            <a:ext cx="767567" cy="155112"/>
            <a:chOff x="3231832" y="7185063"/>
            <a:chExt cx="5132298" cy="1037158"/>
          </a:xfrm>
        </p:grpSpPr>
        <p:sp>
          <p:nvSpPr>
            <p:cNvPr id="20" name="Forme libre : forme 19">
              <a:extLst>
                <a:ext uri="{FF2B5EF4-FFF2-40B4-BE49-F238E27FC236}">
                  <a16:creationId xmlns:a16="http://schemas.microsoft.com/office/drawing/2014/main" id="{30473361-2D88-452C-AA7C-82BAD5BDFA94}"/>
                </a:ext>
              </a:extLst>
            </p:cNvPr>
            <p:cNvSpPr/>
            <p:nvPr/>
          </p:nvSpPr>
          <p:spPr>
            <a:xfrm>
              <a:off x="5071966" y="7185101"/>
              <a:ext cx="1117644" cy="1037120"/>
            </a:xfrm>
            <a:custGeom>
              <a:avLst/>
              <a:gdLst>
                <a:gd name="connsiteX0" fmla="*/ 519115 w 1117644"/>
                <a:gd name="connsiteY0" fmla="*/ 848219 h 1037120"/>
                <a:gd name="connsiteX1" fmla="*/ 324919 w 1117644"/>
                <a:gd name="connsiteY1" fmla="*/ 668711 h 1037120"/>
                <a:gd name="connsiteX2" fmla="*/ 325338 w 1117644"/>
                <a:gd name="connsiteY2" fmla="*/ 636136 h 1037120"/>
                <a:gd name="connsiteX3" fmla="*/ 739428 w 1117644"/>
                <a:gd name="connsiteY3" fmla="*/ 636136 h 1037120"/>
                <a:gd name="connsiteX4" fmla="*/ 999289 w 1117644"/>
                <a:gd name="connsiteY4" fmla="*/ 394601 h 1037120"/>
                <a:gd name="connsiteX5" fmla="*/ 999289 w 1117644"/>
                <a:gd name="connsiteY5" fmla="*/ 241572 h 1037120"/>
                <a:gd name="connsiteX6" fmla="*/ 739428 w 1117644"/>
                <a:gd name="connsiteY6" fmla="*/ 37 h 1037120"/>
                <a:gd name="connsiteX7" fmla="*/ 378107 w 1117644"/>
                <a:gd name="connsiteY7" fmla="*/ 37 h 1037120"/>
                <a:gd name="connsiteX8" fmla="*/ 317775 w 1117644"/>
                <a:gd name="connsiteY8" fmla="*/ 4647 h 1037120"/>
                <a:gd name="connsiteX9" fmla="*/ 118684 w 1117644"/>
                <a:gd name="connsiteY9" fmla="*/ 241572 h 1037120"/>
                <a:gd name="connsiteX10" fmla="*/ 118684 w 1117644"/>
                <a:gd name="connsiteY10" fmla="*/ 330402 h 1037120"/>
                <a:gd name="connsiteX11" fmla="*/ 151850 w 1117644"/>
                <a:gd name="connsiteY11" fmla="*/ 367302 h 1037120"/>
                <a:gd name="connsiteX12" fmla="*/ 292096 w 1117644"/>
                <a:gd name="connsiteY12" fmla="*/ 367302 h 1037120"/>
                <a:gd name="connsiteX13" fmla="*/ 325300 w 1117644"/>
                <a:gd name="connsiteY13" fmla="*/ 330402 h 1037120"/>
                <a:gd name="connsiteX14" fmla="*/ 325300 w 1117644"/>
                <a:gd name="connsiteY14" fmla="*/ 273062 h 1037120"/>
                <a:gd name="connsiteX15" fmla="*/ 417369 w 1117644"/>
                <a:gd name="connsiteY15" fmla="*/ 188994 h 1037120"/>
                <a:gd name="connsiteX16" fmla="*/ 700680 w 1117644"/>
                <a:gd name="connsiteY16" fmla="*/ 188994 h 1037120"/>
                <a:gd name="connsiteX17" fmla="*/ 792768 w 1117644"/>
                <a:gd name="connsiteY17" fmla="*/ 273062 h 1037120"/>
                <a:gd name="connsiteX18" fmla="*/ 792768 w 1117644"/>
                <a:gd name="connsiteY18" fmla="*/ 363892 h 1037120"/>
                <a:gd name="connsiteX19" fmla="*/ 700680 w 1117644"/>
                <a:gd name="connsiteY19" fmla="*/ 447884 h 1037120"/>
                <a:gd name="connsiteX20" fmla="*/ 250 w 1117644"/>
                <a:gd name="connsiteY20" fmla="*/ 447884 h 1037120"/>
                <a:gd name="connsiteX21" fmla="*/ 250 w 1117644"/>
                <a:gd name="connsiteY21" fmla="*/ 636136 h 1037120"/>
                <a:gd name="connsiteX22" fmla="*/ 118188 w 1117644"/>
                <a:gd name="connsiteY22" fmla="*/ 636136 h 1037120"/>
                <a:gd name="connsiteX23" fmla="*/ 118188 w 1117644"/>
                <a:gd name="connsiteY23" fmla="*/ 668673 h 1037120"/>
                <a:gd name="connsiteX24" fmla="*/ 519800 w 1117644"/>
                <a:gd name="connsiteY24" fmla="*/ 1037157 h 1037120"/>
                <a:gd name="connsiteX25" fmla="*/ 1117894 w 1117644"/>
                <a:gd name="connsiteY25" fmla="*/ 1037157 h 1037120"/>
                <a:gd name="connsiteX26" fmla="*/ 1117894 w 1117644"/>
                <a:gd name="connsiteY26" fmla="*/ 848200 h 1037120"/>
                <a:gd name="connsiteX27" fmla="*/ 519115 w 1117644"/>
                <a:gd name="connsiteY27" fmla="*/ 848219 h 103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17644" h="1037120">
                  <a:moveTo>
                    <a:pt x="519115" y="848219"/>
                  </a:moveTo>
                  <a:cubicBezTo>
                    <a:pt x="412035" y="848219"/>
                    <a:pt x="324919" y="768248"/>
                    <a:pt x="324919" y="668711"/>
                  </a:cubicBezTo>
                  <a:lnTo>
                    <a:pt x="325338" y="636136"/>
                  </a:lnTo>
                  <a:lnTo>
                    <a:pt x="739428" y="636136"/>
                  </a:lnTo>
                  <a:cubicBezTo>
                    <a:pt x="882741" y="636136"/>
                    <a:pt x="999289" y="527798"/>
                    <a:pt x="999289" y="394601"/>
                  </a:cubicBezTo>
                  <a:lnTo>
                    <a:pt x="999289" y="241572"/>
                  </a:lnTo>
                  <a:cubicBezTo>
                    <a:pt x="999289" y="108375"/>
                    <a:pt x="882741" y="37"/>
                    <a:pt x="739428" y="37"/>
                  </a:cubicBezTo>
                  <a:lnTo>
                    <a:pt x="378107" y="37"/>
                  </a:lnTo>
                  <a:cubicBezTo>
                    <a:pt x="358028" y="37"/>
                    <a:pt x="337740" y="228"/>
                    <a:pt x="317775" y="4647"/>
                  </a:cubicBezTo>
                  <a:cubicBezTo>
                    <a:pt x="200294" y="30727"/>
                    <a:pt x="118684" y="129349"/>
                    <a:pt x="118684" y="241572"/>
                  </a:cubicBezTo>
                  <a:lnTo>
                    <a:pt x="118684" y="330402"/>
                  </a:lnTo>
                  <a:cubicBezTo>
                    <a:pt x="118684" y="350729"/>
                    <a:pt x="133543" y="367302"/>
                    <a:pt x="151850" y="367302"/>
                  </a:cubicBezTo>
                  <a:lnTo>
                    <a:pt x="292096" y="367302"/>
                  </a:lnTo>
                  <a:cubicBezTo>
                    <a:pt x="310422" y="367302"/>
                    <a:pt x="325300" y="350729"/>
                    <a:pt x="325300" y="330402"/>
                  </a:cubicBezTo>
                  <a:lnTo>
                    <a:pt x="325300" y="273062"/>
                  </a:lnTo>
                  <a:cubicBezTo>
                    <a:pt x="325300" y="226713"/>
                    <a:pt x="366600" y="188994"/>
                    <a:pt x="417369" y="188994"/>
                  </a:cubicBezTo>
                  <a:lnTo>
                    <a:pt x="700680" y="188994"/>
                  </a:lnTo>
                  <a:cubicBezTo>
                    <a:pt x="751467" y="188994"/>
                    <a:pt x="792768" y="226713"/>
                    <a:pt x="792768" y="273062"/>
                  </a:cubicBezTo>
                  <a:lnTo>
                    <a:pt x="792768" y="363892"/>
                  </a:lnTo>
                  <a:cubicBezTo>
                    <a:pt x="792768" y="410203"/>
                    <a:pt x="751467" y="447884"/>
                    <a:pt x="700680" y="447884"/>
                  </a:cubicBezTo>
                  <a:lnTo>
                    <a:pt x="250" y="447884"/>
                  </a:lnTo>
                  <a:lnTo>
                    <a:pt x="250" y="636136"/>
                  </a:lnTo>
                  <a:lnTo>
                    <a:pt x="118188" y="636136"/>
                  </a:lnTo>
                  <a:lnTo>
                    <a:pt x="118188" y="668673"/>
                  </a:lnTo>
                  <a:cubicBezTo>
                    <a:pt x="118188" y="872527"/>
                    <a:pt x="298859" y="1037157"/>
                    <a:pt x="519800" y="1037157"/>
                  </a:cubicBezTo>
                  <a:lnTo>
                    <a:pt x="1117894" y="1037157"/>
                  </a:lnTo>
                  <a:lnTo>
                    <a:pt x="1117894" y="848200"/>
                  </a:lnTo>
                  <a:lnTo>
                    <a:pt x="519115" y="848219"/>
                  </a:lnTo>
                  <a:close/>
                </a:path>
              </a:pathLst>
            </a:custGeom>
            <a:solidFill>
              <a:srgbClr val="96CD32"/>
            </a:solidFill>
            <a:ln w="19050" cap="flat">
              <a:noFill/>
              <a:prstDash val="solid"/>
              <a:round/>
            </a:ln>
          </p:spPr>
          <p:txBody>
            <a:bodyPr rtlCol="0" anchor="ctr"/>
            <a:lstStyle/>
            <a:p>
              <a:endParaRPr lang="fr-FR"/>
            </a:p>
          </p:txBody>
        </p:sp>
        <p:sp>
          <p:nvSpPr>
            <p:cNvPr id="22" name="Forme libre : forme 21">
              <a:extLst>
                <a:ext uri="{FF2B5EF4-FFF2-40B4-BE49-F238E27FC236}">
                  <a16:creationId xmlns:a16="http://schemas.microsoft.com/office/drawing/2014/main" id="{C5EFE334-E5E4-4095-BF9E-3DFA72E21108}"/>
                </a:ext>
              </a:extLst>
            </p:cNvPr>
            <p:cNvSpPr/>
            <p:nvPr/>
          </p:nvSpPr>
          <p:spPr>
            <a:xfrm>
              <a:off x="3231832" y="7185063"/>
              <a:ext cx="5132298" cy="1037139"/>
            </a:xfrm>
            <a:custGeom>
              <a:avLst/>
              <a:gdLst>
                <a:gd name="connsiteX0" fmla="*/ 4143956 w 5132298"/>
                <a:gd name="connsiteY0" fmla="*/ 78849 h 1037139"/>
                <a:gd name="connsiteX1" fmla="*/ 4143651 w 5132298"/>
                <a:gd name="connsiteY1" fmla="*/ 36939 h 1037139"/>
                <a:gd name="connsiteX2" fmla="*/ 4110447 w 5132298"/>
                <a:gd name="connsiteY2" fmla="*/ 78 h 1037139"/>
                <a:gd name="connsiteX3" fmla="*/ 3970639 w 5132298"/>
                <a:gd name="connsiteY3" fmla="*/ 78 h 1037139"/>
                <a:gd name="connsiteX4" fmla="*/ 3937435 w 5132298"/>
                <a:gd name="connsiteY4" fmla="*/ 36939 h 1037139"/>
                <a:gd name="connsiteX5" fmla="*/ 3937435 w 5132298"/>
                <a:gd name="connsiteY5" fmla="*/ 78849 h 1037139"/>
                <a:gd name="connsiteX6" fmla="*/ 3937454 w 5132298"/>
                <a:gd name="connsiteY6" fmla="*/ 78849 h 1037139"/>
                <a:gd name="connsiteX7" fmla="*/ 3937759 w 5132298"/>
                <a:gd name="connsiteY7" fmla="*/ 152249 h 1037139"/>
                <a:gd name="connsiteX8" fmla="*/ 3970963 w 5132298"/>
                <a:gd name="connsiteY8" fmla="*/ 189111 h 1037139"/>
                <a:gd name="connsiteX9" fmla="*/ 4110771 w 5132298"/>
                <a:gd name="connsiteY9" fmla="*/ 189111 h 1037139"/>
                <a:gd name="connsiteX10" fmla="*/ 4143975 w 5132298"/>
                <a:gd name="connsiteY10" fmla="*/ 152249 h 1037139"/>
                <a:gd name="connsiteX11" fmla="*/ 4143975 w 5132298"/>
                <a:gd name="connsiteY11" fmla="*/ 78849 h 1037139"/>
                <a:gd name="connsiteX12" fmla="*/ 4143956 w 5132298"/>
                <a:gd name="connsiteY12" fmla="*/ 78849 h 1037139"/>
                <a:gd name="connsiteX13" fmla="*/ 4143956 w 5132298"/>
                <a:gd name="connsiteY13" fmla="*/ 653397 h 1037139"/>
                <a:gd name="connsiteX14" fmla="*/ 4143651 w 5132298"/>
                <a:gd name="connsiteY14" fmla="*/ 306706 h 1037139"/>
                <a:gd name="connsiteX15" fmla="*/ 4110447 w 5132298"/>
                <a:gd name="connsiteY15" fmla="*/ 269845 h 1037139"/>
                <a:gd name="connsiteX16" fmla="*/ 3970639 w 5132298"/>
                <a:gd name="connsiteY16" fmla="*/ 269845 h 1037139"/>
                <a:gd name="connsiteX17" fmla="*/ 3937435 w 5132298"/>
                <a:gd name="connsiteY17" fmla="*/ 306706 h 1037139"/>
                <a:gd name="connsiteX18" fmla="*/ 3937435 w 5132298"/>
                <a:gd name="connsiteY18" fmla="*/ 653397 h 1037139"/>
                <a:gd name="connsiteX19" fmla="*/ 3937454 w 5132298"/>
                <a:gd name="connsiteY19" fmla="*/ 653397 h 1037139"/>
                <a:gd name="connsiteX20" fmla="*/ 3937759 w 5132298"/>
                <a:gd name="connsiteY20" fmla="*/ 1000069 h 1037139"/>
                <a:gd name="connsiteX21" fmla="*/ 3970963 w 5132298"/>
                <a:gd name="connsiteY21" fmla="*/ 1036931 h 1037139"/>
                <a:gd name="connsiteX22" fmla="*/ 4110771 w 5132298"/>
                <a:gd name="connsiteY22" fmla="*/ 1036931 h 1037139"/>
                <a:gd name="connsiteX23" fmla="*/ 4143975 w 5132298"/>
                <a:gd name="connsiteY23" fmla="*/ 1000069 h 1037139"/>
                <a:gd name="connsiteX24" fmla="*/ 4143975 w 5132298"/>
                <a:gd name="connsiteY24" fmla="*/ 653397 h 1037139"/>
                <a:gd name="connsiteX25" fmla="*/ 4143956 w 5132298"/>
                <a:gd name="connsiteY25" fmla="*/ 653397 h 1037139"/>
                <a:gd name="connsiteX26" fmla="*/ 3441430 w 5132298"/>
                <a:gd name="connsiteY26" fmla="*/ 78 h 1037139"/>
                <a:gd name="connsiteX27" fmla="*/ 2991355 w 5132298"/>
                <a:gd name="connsiteY27" fmla="*/ 78 h 1037139"/>
                <a:gd name="connsiteX28" fmla="*/ 2958131 w 5132298"/>
                <a:gd name="connsiteY28" fmla="*/ 37035 h 1037139"/>
                <a:gd name="connsiteX29" fmla="*/ 2958131 w 5132298"/>
                <a:gd name="connsiteY29" fmla="*/ 646958 h 1037139"/>
                <a:gd name="connsiteX30" fmla="*/ 2991297 w 5132298"/>
                <a:gd name="connsiteY30" fmla="*/ 683858 h 1037139"/>
                <a:gd name="connsiteX31" fmla="*/ 3131391 w 5132298"/>
                <a:gd name="connsiteY31" fmla="*/ 683858 h 1037139"/>
                <a:gd name="connsiteX32" fmla="*/ 3164595 w 5132298"/>
                <a:gd name="connsiteY32" fmla="*/ 646958 h 1037139"/>
                <a:gd name="connsiteX33" fmla="*/ 3164786 w 5132298"/>
                <a:gd name="connsiteY33" fmla="*/ 189015 h 1037139"/>
                <a:gd name="connsiteX34" fmla="*/ 3418284 w 5132298"/>
                <a:gd name="connsiteY34" fmla="*/ 189111 h 1037139"/>
                <a:gd name="connsiteX35" fmla="*/ 3612499 w 5132298"/>
                <a:gd name="connsiteY35" fmla="*/ 369762 h 1037139"/>
                <a:gd name="connsiteX36" fmla="*/ 3612499 w 5132298"/>
                <a:gd name="connsiteY36" fmla="*/ 702794 h 1037139"/>
                <a:gd name="connsiteX37" fmla="*/ 3418284 w 5132298"/>
                <a:gd name="connsiteY37" fmla="*/ 847822 h 1037139"/>
                <a:gd name="connsiteX38" fmla="*/ 2958131 w 5132298"/>
                <a:gd name="connsiteY38" fmla="*/ 848298 h 1037139"/>
                <a:gd name="connsiteX39" fmla="*/ 2958131 w 5132298"/>
                <a:gd name="connsiteY39" fmla="*/ 1037217 h 1037139"/>
                <a:gd name="connsiteX40" fmla="*/ 3418284 w 5132298"/>
                <a:gd name="connsiteY40" fmla="*/ 1036931 h 1037139"/>
                <a:gd name="connsiteX41" fmla="*/ 3818982 w 5132298"/>
                <a:gd name="connsiteY41" fmla="*/ 702794 h 1037139"/>
                <a:gd name="connsiteX42" fmla="*/ 3818982 w 5132298"/>
                <a:gd name="connsiteY42" fmla="*/ 367590 h 1037139"/>
                <a:gd name="connsiteX43" fmla="*/ 3441430 w 5132298"/>
                <a:gd name="connsiteY43" fmla="*/ 78 h 1037139"/>
                <a:gd name="connsiteX44" fmla="*/ 5132651 w 5132298"/>
                <a:gd name="connsiteY44" fmla="*/ 679820 h 1037139"/>
                <a:gd name="connsiteX45" fmla="*/ 5131660 w 5132298"/>
                <a:gd name="connsiteY45" fmla="*/ 650425 h 1037139"/>
                <a:gd name="connsiteX46" fmla="*/ 4877591 w 5132298"/>
                <a:gd name="connsiteY46" fmla="*/ 447943 h 1037139"/>
                <a:gd name="connsiteX47" fmla="*/ 4567171 w 5132298"/>
                <a:gd name="connsiteY47" fmla="*/ 447943 h 1037139"/>
                <a:gd name="connsiteX48" fmla="*/ 4559208 w 5132298"/>
                <a:gd name="connsiteY48" fmla="*/ 447924 h 1037139"/>
                <a:gd name="connsiteX49" fmla="*/ 4469063 w 5132298"/>
                <a:gd name="connsiteY49" fmla="*/ 349759 h 1037139"/>
                <a:gd name="connsiteX50" fmla="*/ 4469368 w 5132298"/>
                <a:gd name="connsiteY50" fmla="*/ 279312 h 1037139"/>
                <a:gd name="connsiteX51" fmla="*/ 4567533 w 5132298"/>
                <a:gd name="connsiteY51" fmla="*/ 189187 h 1037139"/>
                <a:gd name="connsiteX52" fmla="*/ 4690043 w 5132298"/>
                <a:gd name="connsiteY52" fmla="*/ 189187 h 1037139"/>
                <a:gd name="connsiteX53" fmla="*/ 4691243 w 5132298"/>
                <a:gd name="connsiteY53" fmla="*/ 189225 h 1037139"/>
                <a:gd name="connsiteX54" fmla="*/ 5000825 w 5132298"/>
                <a:gd name="connsiteY54" fmla="*/ 189225 h 1037139"/>
                <a:gd name="connsiteX55" fmla="*/ 5035706 w 5132298"/>
                <a:gd name="connsiteY55" fmla="*/ 166270 h 1037139"/>
                <a:gd name="connsiteX56" fmla="*/ 5037687 w 5132298"/>
                <a:gd name="connsiteY56" fmla="*/ 156021 h 1037139"/>
                <a:gd name="connsiteX57" fmla="*/ 5037687 w 5132298"/>
                <a:gd name="connsiteY57" fmla="*/ 33282 h 1037139"/>
                <a:gd name="connsiteX58" fmla="*/ 5000825 w 5132298"/>
                <a:gd name="connsiteY58" fmla="*/ 116 h 1037139"/>
                <a:gd name="connsiteX59" fmla="*/ 4517869 w 5132298"/>
                <a:gd name="connsiteY59" fmla="*/ 173 h 1037139"/>
                <a:gd name="connsiteX60" fmla="*/ 4262409 w 5132298"/>
                <a:gd name="connsiteY60" fmla="*/ 235555 h 1037139"/>
                <a:gd name="connsiteX61" fmla="*/ 4262428 w 5132298"/>
                <a:gd name="connsiteY61" fmla="*/ 382392 h 1037139"/>
                <a:gd name="connsiteX62" fmla="*/ 4497886 w 5132298"/>
                <a:gd name="connsiteY62" fmla="*/ 636214 h 1037139"/>
                <a:gd name="connsiteX63" fmla="*/ 4836309 w 5132298"/>
                <a:gd name="connsiteY63" fmla="*/ 636214 h 1037139"/>
                <a:gd name="connsiteX64" fmla="*/ 4925977 w 5132298"/>
                <a:gd name="connsiteY64" fmla="*/ 734398 h 1037139"/>
                <a:gd name="connsiteX65" fmla="*/ 4925977 w 5132298"/>
                <a:gd name="connsiteY65" fmla="*/ 757944 h 1037139"/>
                <a:gd name="connsiteX66" fmla="*/ 4828289 w 5132298"/>
                <a:gd name="connsiteY66" fmla="*/ 848050 h 1037139"/>
                <a:gd name="connsiteX67" fmla="*/ 4299290 w 5132298"/>
                <a:gd name="connsiteY67" fmla="*/ 848050 h 1037139"/>
                <a:gd name="connsiteX68" fmla="*/ 4264447 w 5132298"/>
                <a:gd name="connsiteY68" fmla="*/ 870872 h 1037139"/>
                <a:gd name="connsiteX69" fmla="*/ 4262390 w 5132298"/>
                <a:gd name="connsiteY69" fmla="*/ 881216 h 1037139"/>
                <a:gd name="connsiteX70" fmla="*/ 4262390 w 5132298"/>
                <a:gd name="connsiteY70" fmla="*/ 1003955 h 1037139"/>
                <a:gd name="connsiteX71" fmla="*/ 4299290 w 5132298"/>
                <a:gd name="connsiteY71" fmla="*/ 1037160 h 1037139"/>
                <a:gd name="connsiteX72" fmla="*/ 4732296 w 5132298"/>
                <a:gd name="connsiteY72" fmla="*/ 1037160 h 1037139"/>
                <a:gd name="connsiteX73" fmla="*/ 4879172 w 5132298"/>
                <a:gd name="connsiteY73" fmla="*/ 1037083 h 1037139"/>
                <a:gd name="connsiteX74" fmla="*/ 5132651 w 5132298"/>
                <a:gd name="connsiteY74" fmla="*/ 801587 h 1037139"/>
                <a:gd name="connsiteX75" fmla="*/ 5132651 w 5132298"/>
                <a:gd name="connsiteY75" fmla="*/ 679820 h 1037139"/>
                <a:gd name="connsiteX76" fmla="*/ 280863 w 5132298"/>
                <a:gd name="connsiteY76" fmla="*/ 189111 h 1037139"/>
                <a:gd name="connsiteX77" fmla="*/ 825046 w 5132298"/>
                <a:gd name="connsiteY77" fmla="*/ 189111 h 1037139"/>
                <a:gd name="connsiteX78" fmla="*/ 861203 w 5132298"/>
                <a:gd name="connsiteY78" fmla="*/ 156573 h 1037139"/>
                <a:gd name="connsiteX79" fmla="*/ 861203 w 5132298"/>
                <a:gd name="connsiteY79" fmla="*/ 32729 h 1037139"/>
                <a:gd name="connsiteX80" fmla="*/ 825046 w 5132298"/>
                <a:gd name="connsiteY80" fmla="*/ 78 h 1037139"/>
                <a:gd name="connsiteX81" fmla="*/ 277073 w 5132298"/>
                <a:gd name="connsiteY81" fmla="*/ 78 h 1037139"/>
                <a:gd name="connsiteX82" fmla="*/ 352 w 5132298"/>
                <a:gd name="connsiteY82" fmla="*/ 255005 h 1037139"/>
                <a:gd name="connsiteX83" fmla="*/ 352 w 5132298"/>
                <a:gd name="connsiteY83" fmla="*/ 782309 h 1037139"/>
                <a:gd name="connsiteX84" fmla="*/ 277073 w 5132298"/>
                <a:gd name="connsiteY84" fmla="*/ 1037217 h 1037139"/>
                <a:gd name="connsiteX85" fmla="*/ 825046 w 5132298"/>
                <a:gd name="connsiteY85" fmla="*/ 1037217 h 1037139"/>
                <a:gd name="connsiteX86" fmla="*/ 861203 w 5132298"/>
                <a:gd name="connsiteY86" fmla="*/ 1004660 h 1037139"/>
                <a:gd name="connsiteX87" fmla="*/ 861203 w 5132298"/>
                <a:gd name="connsiteY87" fmla="*/ 880816 h 1037139"/>
                <a:gd name="connsiteX88" fmla="*/ 825046 w 5132298"/>
                <a:gd name="connsiteY88" fmla="*/ 848298 h 1037139"/>
                <a:gd name="connsiteX89" fmla="*/ 280863 w 5132298"/>
                <a:gd name="connsiteY89" fmla="*/ 848298 h 1037139"/>
                <a:gd name="connsiteX90" fmla="*/ 207006 w 5132298"/>
                <a:gd name="connsiteY90" fmla="*/ 779051 h 1037139"/>
                <a:gd name="connsiteX91" fmla="*/ 207006 w 5132298"/>
                <a:gd name="connsiteY91" fmla="*/ 634347 h 1037139"/>
                <a:gd name="connsiteX92" fmla="*/ 532457 w 5132298"/>
                <a:gd name="connsiteY92" fmla="*/ 634347 h 1037139"/>
                <a:gd name="connsiteX93" fmla="*/ 568595 w 5132298"/>
                <a:gd name="connsiteY93" fmla="*/ 601772 h 1037139"/>
                <a:gd name="connsiteX94" fmla="*/ 568595 w 5132298"/>
                <a:gd name="connsiteY94" fmla="*/ 480557 h 1037139"/>
                <a:gd name="connsiteX95" fmla="*/ 532457 w 5132298"/>
                <a:gd name="connsiteY95" fmla="*/ 447943 h 1037139"/>
                <a:gd name="connsiteX96" fmla="*/ 207006 w 5132298"/>
                <a:gd name="connsiteY96" fmla="*/ 447943 h 1037139"/>
                <a:gd name="connsiteX97" fmla="*/ 207006 w 5132298"/>
                <a:gd name="connsiteY97" fmla="*/ 258395 h 1037139"/>
                <a:gd name="connsiteX98" fmla="*/ 280863 w 5132298"/>
                <a:gd name="connsiteY98" fmla="*/ 189111 h 1037139"/>
                <a:gd name="connsiteX99" fmla="*/ 1186405 w 5132298"/>
                <a:gd name="connsiteY99" fmla="*/ 189130 h 1037139"/>
                <a:gd name="connsiteX100" fmla="*/ 1186405 w 5132298"/>
                <a:gd name="connsiteY100" fmla="*/ 1000336 h 1037139"/>
                <a:gd name="connsiteX101" fmla="*/ 1153144 w 5132298"/>
                <a:gd name="connsiteY101" fmla="*/ 1037198 h 1037139"/>
                <a:gd name="connsiteX102" fmla="*/ 1012879 w 5132298"/>
                <a:gd name="connsiteY102" fmla="*/ 1037198 h 1037139"/>
                <a:gd name="connsiteX103" fmla="*/ 979656 w 5132298"/>
                <a:gd name="connsiteY103" fmla="*/ 1000336 h 1037139"/>
                <a:gd name="connsiteX104" fmla="*/ 979656 w 5132298"/>
                <a:gd name="connsiteY104" fmla="*/ 37035 h 1037139"/>
                <a:gd name="connsiteX105" fmla="*/ 1012879 w 5132298"/>
                <a:gd name="connsiteY105" fmla="*/ 116 h 1037139"/>
                <a:gd name="connsiteX106" fmla="*/ 1439846 w 5132298"/>
                <a:gd name="connsiteY106" fmla="*/ 116 h 1037139"/>
                <a:gd name="connsiteX107" fmla="*/ 1840506 w 5132298"/>
                <a:gd name="connsiteY107" fmla="*/ 369838 h 1037139"/>
                <a:gd name="connsiteX108" fmla="*/ 1840506 w 5132298"/>
                <a:gd name="connsiteY108" fmla="*/ 1004032 h 1037139"/>
                <a:gd name="connsiteX109" fmla="*/ 1803625 w 5132298"/>
                <a:gd name="connsiteY109" fmla="*/ 1037198 h 1037139"/>
                <a:gd name="connsiteX110" fmla="*/ 1670885 w 5132298"/>
                <a:gd name="connsiteY110" fmla="*/ 1037198 h 1037139"/>
                <a:gd name="connsiteX111" fmla="*/ 1634023 w 5132298"/>
                <a:gd name="connsiteY111" fmla="*/ 1004032 h 1037139"/>
                <a:gd name="connsiteX112" fmla="*/ 1634023 w 5132298"/>
                <a:gd name="connsiteY112" fmla="*/ 369838 h 1037139"/>
                <a:gd name="connsiteX113" fmla="*/ 1439846 w 5132298"/>
                <a:gd name="connsiteY113" fmla="*/ 189225 h 1037139"/>
                <a:gd name="connsiteX114" fmla="*/ 1186405 w 5132298"/>
                <a:gd name="connsiteY114" fmla="*/ 189130 h 103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132298" h="1037139">
                  <a:moveTo>
                    <a:pt x="4143956" y="78849"/>
                  </a:moveTo>
                  <a:lnTo>
                    <a:pt x="4143651" y="36939"/>
                  </a:lnTo>
                  <a:cubicBezTo>
                    <a:pt x="4143651" y="16613"/>
                    <a:pt x="4128754" y="78"/>
                    <a:pt x="4110447" y="78"/>
                  </a:cubicBezTo>
                  <a:lnTo>
                    <a:pt x="3970639" y="78"/>
                  </a:lnTo>
                  <a:cubicBezTo>
                    <a:pt x="3952351" y="78"/>
                    <a:pt x="3937435" y="16613"/>
                    <a:pt x="3937435" y="36939"/>
                  </a:cubicBezTo>
                  <a:lnTo>
                    <a:pt x="3937435" y="78849"/>
                  </a:lnTo>
                  <a:lnTo>
                    <a:pt x="3937454" y="78849"/>
                  </a:lnTo>
                  <a:lnTo>
                    <a:pt x="3937759" y="152249"/>
                  </a:lnTo>
                  <a:cubicBezTo>
                    <a:pt x="3937759" y="172575"/>
                    <a:pt x="3952637" y="189111"/>
                    <a:pt x="3970963" y="189111"/>
                  </a:cubicBezTo>
                  <a:lnTo>
                    <a:pt x="4110771" y="189111"/>
                  </a:lnTo>
                  <a:cubicBezTo>
                    <a:pt x="4129059" y="189111"/>
                    <a:pt x="4143975" y="172575"/>
                    <a:pt x="4143975" y="152249"/>
                  </a:cubicBezTo>
                  <a:lnTo>
                    <a:pt x="4143975" y="78849"/>
                  </a:lnTo>
                  <a:lnTo>
                    <a:pt x="4143956" y="78849"/>
                  </a:lnTo>
                  <a:close/>
                  <a:moveTo>
                    <a:pt x="4143956" y="653397"/>
                  </a:moveTo>
                  <a:lnTo>
                    <a:pt x="4143651" y="306706"/>
                  </a:lnTo>
                  <a:cubicBezTo>
                    <a:pt x="4143651" y="286361"/>
                    <a:pt x="4128754" y="269845"/>
                    <a:pt x="4110447" y="269845"/>
                  </a:cubicBezTo>
                  <a:lnTo>
                    <a:pt x="3970639" y="269845"/>
                  </a:lnTo>
                  <a:cubicBezTo>
                    <a:pt x="3952351" y="269845"/>
                    <a:pt x="3937435" y="286361"/>
                    <a:pt x="3937435" y="306706"/>
                  </a:cubicBezTo>
                  <a:lnTo>
                    <a:pt x="3937435" y="653397"/>
                  </a:lnTo>
                  <a:lnTo>
                    <a:pt x="3937454" y="653397"/>
                  </a:lnTo>
                  <a:lnTo>
                    <a:pt x="3937759" y="1000069"/>
                  </a:lnTo>
                  <a:cubicBezTo>
                    <a:pt x="3937759" y="1020396"/>
                    <a:pt x="3952637" y="1036931"/>
                    <a:pt x="3970963" y="1036931"/>
                  </a:cubicBezTo>
                  <a:lnTo>
                    <a:pt x="4110771" y="1036931"/>
                  </a:lnTo>
                  <a:cubicBezTo>
                    <a:pt x="4129059" y="1036931"/>
                    <a:pt x="4143975" y="1020396"/>
                    <a:pt x="4143975" y="1000069"/>
                  </a:cubicBezTo>
                  <a:lnTo>
                    <a:pt x="4143975" y="653397"/>
                  </a:lnTo>
                  <a:lnTo>
                    <a:pt x="4143956" y="653397"/>
                  </a:lnTo>
                  <a:close/>
                  <a:moveTo>
                    <a:pt x="3441430" y="78"/>
                  </a:moveTo>
                  <a:lnTo>
                    <a:pt x="2991355" y="78"/>
                  </a:lnTo>
                  <a:cubicBezTo>
                    <a:pt x="2973029" y="78"/>
                    <a:pt x="2958131" y="16670"/>
                    <a:pt x="2958131" y="37035"/>
                  </a:cubicBezTo>
                  <a:lnTo>
                    <a:pt x="2958131" y="646958"/>
                  </a:lnTo>
                  <a:cubicBezTo>
                    <a:pt x="2958131" y="667323"/>
                    <a:pt x="2973009" y="683858"/>
                    <a:pt x="2991297" y="683858"/>
                  </a:cubicBezTo>
                  <a:lnTo>
                    <a:pt x="3131391" y="683858"/>
                  </a:lnTo>
                  <a:cubicBezTo>
                    <a:pt x="3149717" y="683858"/>
                    <a:pt x="3164595" y="667323"/>
                    <a:pt x="3164595" y="646958"/>
                  </a:cubicBezTo>
                  <a:lnTo>
                    <a:pt x="3164786" y="189015"/>
                  </a:lnTo>
                  <a:lnTo>
                    <a:pt x="3418284" y="189111"/>
                  </a:lnTo>
                  <a:cubicBezTo>
                    <a:pt x="3525383" y="189111"/>
                    <a:pt x="3612499" y="270149"/>
                    <a:pt x="3612499" y="369762"/>
                  </a:cubicBezTo>
                  <a:lnTo>
                    <a:pt x="3612499" y="702794"/>
                  </a:lnTo>
                  <a:cubicBezTo>
                    <a:pt x="3612499" y="802368"/>
                    <a:pt x="3525383" y="847822"/>
                    <a:pt x="3418284" y="847822"/>
                  </a:cubicBezTo>
                  <a:lnTo>
                    <a:pt x="2958131" y="848298"/>
                  </a:lnTo>
                  <a:lnTo>
                    <a:pt x="2958131" y="1037217"/>
                  </a:lnTo>
                  <a:lnTo>
                    <a:pt x="3418284" y="1036931"/>
                  </a:lnTo>
                  <a:cubicBezTo>
                    <a:pt x="3639226" y="1036931"/>
                    <a:pt x="3818982" y="906648"/>
                    <a:pt x="3818982" y="702794"/>
                  </a:cubicBezTo>
                  <a:lnTo>
                    <a:pt x="3818982" y="367590"/>
                  </a:lnTo>
                  <a:cubicBezTo>
                    <a:pt x="3818982" y="171985"/>
                    <a:pt x="3654866" y="78"/>
                    <a:pt x="3441430" y="78"/>
                  </a:cubicBezTo>
                  <a:moveTo>
                    <a:pt x="5132651" y="679820"/>
                  </a:moveTo>
                  <a:cubicBezTo>
                    <a:pt x="5132651" y="670447"/>
                    <a:pt x="5132575" y="660846"/>
                    <a:pt x="5131660" y="650425"/>
                  </a:cubicBezTo>
                  <a:cubicBezTo>
                    <a:pt x="5121469" y="535230"/>
                    <a:pt x="5002749" y="447943"/>
                    <a:pt x="4877591" y="447943"/>
                  </a:cubicBezTo>
                  <a:lnTo>
                    <a:pt x="4567171" y="447943"/>
                  </a:lnTo>
                  <a:lnTo>
                    <a:pt x="4559208" y="447924"/>
                  </a:lnTo>
                  <a:cubicBezTo>
                    <a:pt x="4509487" y="447924"/>
                    <a:pt x="4469063" y="403861"/>
                    <a:pt x="4469063" y="349759"/>
                  </a:cubicBezTo>
                  <a:lnTo>
                    <a:pt x="4469368" y="279312"/>
                  </a:lnTo>
                  <a:cubicBezTo>
                    <a:pt x="4469368" y="229630"/>
                    <a:pt x="4513412" y="189187"/>
                    <a:pt x="4567533" y="189187"/>
                  </a:cubicBezTo>
                  <a:lnTo>
                    <a:pt x="4690043" y="189187"/>
                  </a:lnTo>
                  <a:lnTo>
                    <a:pt x="4691243" y="189225"/>
                  </a:lnTo>
                  <a:lnTo>
                    <a:pt x="5000825" y="189225"/>
                  </a:lnTo>
                  <a:cubicBezTo>
                    <a:pt x="5016656" y="189225"/>
                    <a:pt x="5030676" y="180005"/>
                    <a:pt x="5035706" y="166270"/>
                  </a:cubicBezTo>
                  <a:cubicBezTo>
                    <a:pt x="5037039" y="162612"/>
                    <a:pt x="5037687" y="159259"/>
                    <a:pt x="5037687" y="156021"/>
                  </a:cubicBezTo>
                  <a:lnTo>
                    <a:pt x="5037687" y="33282"/>
                  </a:lnTo>
                  <a:cubicBezTo>
                    <a:pt x="5037687" y="14956"/>
                    <a:pt x="5021151" y="116"/>
                    <a:pt x="5000825" y="116"/>
                  </a:cubicBezTo>
                  <a:lnTo>
                    <a:pt x="4517869" y="173"/>
                  </a:lnTo>
                  <a:cubicBezTo>
                    <a:pt x="4377928" y="173"/>
                    <a:pt x="4262409" y="105805"/>
                    <a:pt x="4262409" y="235555"/>
                  </a:cubicBezTo>
                  <a:lnTo>
                    <a:pt x="4262428" y="382392"/>
                  </a:lnTo>
                  <a:cubicBezTo>
                    <a:pt x="4262428" y="522352"/>
                    <a:pt x="4368041" y="636214"/>
                    <a:pt x="4497886" y="636214"/>
                  </a:cubicBezTo>
                  <a:lnTo>
                    <a:pt x="4836309" y="636214"/>
                  </a:lnTo>
                  <a:cubicBezTo>
                    <a:pt x="4885992" y="636214"/>
                    <a:pt x="4925977" y="680258"/>
                    <a:pt x="4925977" y="734398"/>
                  </a:cubicBezTo>
                  <a:lnTo>
                    <a:pt x="4925977" y="757944"/>
                  </a:lnTo>
                  <a:cubicBezTo>
                    <a:pt x="4925977" y="807645"/>
                    <a:pt x="4882410" y="848050"/>
                    <a:pt x="4828289" y="848050"/>
                  </a:cubicBezTo>
                  <a:lnTo>
                    <a:pt x="4299290" y="848050"/>
                  </a:lnTo>
                  <a:cubicBezTo>
                    <a:pt x="4283440" y="848050"/>
                    <a:pt x="4269419" y="857213"/>
                    <a:pt x="4264447" y="870872"/>
                  </a:cubicBezTo>
                  <a:cubicBezTo>
                    <a:pt x="4263057" y="874606"/>
                    <a:pt x="4262390" y="877997"/>
                    <a:pt x="4262390" y="881216"/>
                  </a:cubicBezTo>
                  <a:lnTo>
                    <a:pt x="4262390" y="1003955"/>
                  </a:lnTo>
                  <a:cubicBezTo>
                    <a:pt x="4262390" y="1022262"/>
                    <a:pt x="4278944" y="1037160"/>
                    <a:pt x="4299290" y="1037160"/>
                  </a:cubicBezTo>
                  <a:lnTo>
                    <a:pt x="4732296" y="1037160"/>
                  </a:lnTo>
                  <a:lnTo>
                    <a:pt x="4879172" y="1037083"/>
                  </a:lnTo>
                  <a:cubicBezTo>
                    <a:pt x="5019075" y="1037083"/>
                    <a:pt x="5132651" y="931470"/>
                    <a:pt x="5132651" y="801587"/>
                  </a:cubicBezTo>
                  <a:lnTo>
                    <a:pt x="5132651" y="679820"/>
                  </a:lnTo>
                  <a:close/>
                  <a:moveTo>
                    <a:pt x="280863" y="189111"/>
                  </a:moveTo>
                  <a:lnTo>
                    <a:pt x="825046" y="189111"/>
                  </a:lnTo>
                  <a:cubicBezTo>
                    <a:pt x="844972" y="189111"/>
                    <a:pt x="861203" y="174518"/>
                    <a:pt x="861203" y="156573"/>
                  </a:cubicBezTo>
                  <a:lnTo>
                    <a:pt x="861203" y="32729"/>
                  </a:lnTo>
                  <a:cubicBezTo>
                    <a:pt x="861203" y="14746"/>
                    <a:pt x="845734" y="78"/>
                    <a:pt x="825046" y="78"/>
                  </a:cubicBezTo>
                  <a:lnTo>
                    <a:pt x="277073" y="78"/>
                  </a:lnTo>
                  <a:cubicBezTo>
                    <a:pt x="124501" y="78"/>
                    <a:pt x="352" y="114301"/>
                    <a:pt x="352" y="255005"/>
                  </a:cubicBezTo>
                  <a:lnTo>
                    <a:pt x="352" y="782309"/>
                  </a:lnTo>
                  <a:cubicBezTo>
                    <a:pt x="352" y="922955"/>
                    <a:pt x="124501" y="1037217"/>
                    <a:pt x="277073" y="1037217"/>
                  </a:cubicBezTo>
                  <a:lnTo>
                    <a:pt x="825046" y="1037217"/>
                  </a:lnTo>
                  <a:cubicBezTo>
                    <a:pt x="844972" y="1037217"/>
                    <a:pt x="861203" y="1022605"/>
                    <a:pt x="861203" y="1004660"/>
                  </a:cubicBezTo>
                  <a:lnTo>
                    <a:pt x="861203" y="880816"/>
                  </a:lnTo>
                  <a:cubicBezTo>
                    <a:pt x="861203" y="862871"/>
                    <a:pt x="844972" y="848298"/>
                    <a:pt x="825046" y="848298"/>
                  </a:cubicBezTo>
                  <a:lnTo>
                    <a:pt x="280863" y="848298"/>
                  </a:lnTo>
                  <a:cubicBezTo>
                    <a:pt x="240839" y="848298"/>
                    <a:pt x="207006" y="816580"/>
                    <a:pt x="207006" y="779051"/>
                  </a:cubicBezTo>
                  <a:lnTo>
                    <a:pt x="207006" y="634347"/>
                  </a:lnTo>
                  <a:lnTo>
                    <a:pt x="532457" y="634347"/>
                  </a:lnTo>
                  <a:cubicBezTo>
                    <a:pt x="552383" y="634347"/>
                    <a:pt x="568595" y="619717"/>
                    <a:pt x="568595" y="601772"/>
                  </a:cubicBezTo>
                  <a:lnTo>
                    <a:pt x="568595" y="480557"/>
                  </a:lnTo>
                  <a:cubicBezTo>
                    <a:pt x="568595" y="462573"/>
                    <a:pt x="552383" y="447943"/>
                    <a:pt x="532457" y="447943"/>
                  </a:cubicBezTo>
                  <a:lnTo>
                    <a:pt x="207006" y="447943"/>
                  </a:lnTo>
                  <a:lnTo>
                    <a:pt x="207006" y="258395"/>
                  </a:lnTo>
                  <a:cubicBezTo>
                    <a:pt x="207006" y="220829"/>
                    <a:pt x="240839" y="189111"/>
                    <a:pt x="280863" y="189111"/>
                  </a:cubicBezTo>
                  <a:moveTo>
                    <a:pt x="1186405" y="189130"/>
                  </a:moveTo>
                  <a:lnTo>
                    <a:pt x="1186405" y="1000336"/>
                  </a:lnTo>
                  <a:cubicBezTo>
                    <a:pt x="1186405" y="1020662"/>
                    <a:pt x="1171470" y="1037198"/>
                    <a:pt x="1153144" y="1037198"/>
                  </a:cubicBezTo>
                  <a:lnTo>
                    <a:pt x="1012879" y="1037198"/>
                  </a:lnTo>
                  <a:cubicBezTo>
                    <a:pt x="994553" y="1037198"/>
                    <a:pt x="979656" y="1020662"/>
                    <a:pt x="979656" y="1000336"/>
                  </a:cubicBezTo>
                  <a:lnTo>
                    <a:pt x="979656" y="37035"/>
                  </a:lnTo>
                  <a:cubicBezTo>
                    <a:pt x="979656" y="16670"/>
                    <a:pt x="994553" y="116"/>
                    <a:pt x="1012879" y="116"/>
                  </a:cubicBezTo>
                  <a:lnTo>
                    <a:pt x="1439846" y="116"/>
                  </a:lnTo>
                  <a:cubicBezTo>
                    <a:pt x="1660769" y="116"/>
                    <a:pt x="1840506" y="165946"/>
                    <a:pt x="1840506" y="369838"/>
                  </a:cubicBezTo>
                  <a:lnTo>
                    <a:pt x="1840506" y="1004032"/>
                  </a:lnTo>
                  <a:cubicBezTo>
                    <a:pt x="1840506" y="1022339"/>
                    <a:pt x="1823971" y="1037198"/>
                    <a:pt x="1803625" y="1037198"/>
                  </a:cubicBezTo>
                  <a:lnTo>
                    <a:pt x="1670885" y="1037198"/>
                  </a:lnTo>
                  <a:cubicBezTo>
                    <a:pt x="1650559" y="1037198"/>
                    <a:pt x="1634023" y="1022339"/>
                    <a:pt x="1634023" y="1004032"/>
                  </a:cubicBezTo>
                  <a:lnTo>
                    <a:pt x="1634023" y="369838"/>
                  </a:lnTo>
                  <a:cubicBezTo>
                    <a:pt x="1634023" y="270264"/>
                    <a:pt x="1546926" y="189225"/>
                    <a:pt x="1439846" y="189225"/>
                  </a:cubicBezTo>
                  <a:lnTo>
                    <a:pt x="1186405" y="189130"/>
                  </a:lnTo>
                  <a:close/>
                </a:path>
              </a:pathLst>
            </a:custGeom>
            <a:solidFill>
              <a:schemeClr val="tx2"/>
            </a:solidFill>
            <a:ln w="19050" cap="flat">
              <a:noFill/>
              <a:prstDash val="solid"/>
              <a:round/>
            </a:ln>
          </p:spPr>
          <p:txBody>
            <a:bodyPr rtlCol="0" anchor="ctr"/>
            <a:lstStyle/>
            <a:p>
              <a:endParaRPr lang="fr-FR"/>
            </a:p>
          </p:txBody>
        </p:sp>
      </p:grpSp>
    </p:spTree>
    <p:extLst>
      <p:ext uri="{BB962C8B-B14F-4D97-AF65-F5344CB8AC3E}">
        <p14:creationId xmlns:p14="http://schemas.microsoft.com/office/powerpoint/2010/main" val="889164747"/>
      </p:ext>
    </p:extLst>
  </p:cSld>
  <p:clrMapOvr>
    <a:masterClrMapping/>
  </p:clrMapOvr>
  <p:extLst mod="1">
    <p:ext uri="{DCECCB84-F9BA-43D5-87BE-67443E8EF086}">
      <p15:sldGuideLst xmlns:p15="http://schemas.microsoft.com/office/powerpoint/2012/main">
        <p15:guide id="1" orient="horz" pos="1003">
          <p15:clr>
            <a:srgbClr val="FBAE40"/>
          </p15:clr>
        </p15:guide>
        <p15:guide id="2" orient="horz" pos="3203">
          <p15:clr>
            <a:srgbClr val="FBAE40"/>
          </p15:clr>
        </p15:guide>
        <p15:guide id="3" pos="2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Diapositives de fin">
    <p:bg>
      <p:bgPr>
        <a:solidFill>
          <a:schemeClr val="tx1"/>
        </a:solidFill>
        <a:effectLst/>
      </p:bgPr>
    </p:bg>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C6797FC5-6C3D-4138-A22B-25A93A47052F}"/>
              </a:ext>
            </a:extLst>
          </p:cNvPr>
          <p:cNvSpPr txBox="1"/>
          <p:nvPr userDrawn="1"/>
        </p:nvSpPr>
        <p:spPr>
          <a:xfrm>
            <a:off x="389572" y="754380"/>
            <a:ext cx="8191500" cy="1938992"/>
          </a:xfrm>
          <a:prstGeom prst="rect">
            <a:avLst/>
          </a:prstGeom>
          <a:noFill/>
        </p:spPr>
        <p:txBody>
          <a:bodyPr wrap="square" rtlCol="0">
            <a:spAutoFit/>
          </a:bodyPr>
          <a:lstStyle/>
          <a:p>
            <a:r>
              <a:rPr lang="fr-FR" sz="6000" b="1" dirty="0">
                <a:solidFill>
                  <a:schemeClr val="bg1"/>
                </a:solidFill>
                <a:latin typeface="+mj-lt"/>
              </a:rPr>
              <a:t>Diapositives </a:t>
            </a:r>
          </a:p>
          <a:p>
            <a:r>
              <a:rPr lang="fr-FR" sz="6000" b="1" dirty="0">
                <a:solidFill>
                  <a:schemeClr val="bg1"/>
                </a:solidFill>
                <a:latin typeface="+mj-lt"/>
              </a:rPr>
              <a:t>de fin</a:t>
            </a:r>
          </a:p>
        </p:txBody>
      </p:sp>
      <p:sp>
        <p:nvSpPr>
          <p:cNvPr id="7" name="Rectangle 6">
            <a:extLst>
              <a:ext uri="{FF2B5EF4-FFF2-40B4-BE49-F238E27FC236}">
                <a16:creationId xmlns:a16="http://schemas.microsoft.com/office/drawing/2014/main" id="{1192475B-7CF7-49DA-A68D-80D222243F11}"/>
              </a:ext>
            </a:extLst>
          </p:cNvPr>
          <p:cNvSpPr/>
          <p:nvPr userDrawn="1"/>
        </p:nvSpPr>
        <p:spPr>
          <a:xfrm>
            <a:off x="521495" y="2962275"/>
            <a:ext cx="357187" cy="500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Graphique 7">
            <a:extLst>
              <a:ext uri="{FF2B5EF4-FFF2-40B4-BE49-F238E27FC236}">
                <a16:creationId xmlns:a16="http://schemas.microsoft.com/office/drawing/2014/main" id="{C82C95D8-4AA6-4827-9B60-6B7D03DA469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518307" y="6473187"/>
            <a:ext cx="765479" cy="154800"/>
          </a:xfrm>
          <a:prstGeom prst="rect">
            <a:avLst/>
          </a:prstGeom>
        </p:spPr>
      </p:pic>
    </p:spTree>
    <p:extLst>
      <p:ext uri="{BB962C8B-B14F-4D97-AF65-F5344CB8AC3E}">
        <p14:creationId xmlns:p14="http://schemas.microsoft.com/office/powerpoint/2010/main" val="27531584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apositive de fin A- Blanche">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8FE91F48-1D03-4E67-9DA1-35B037BF484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05" r="2425"/>
          <a:stretch/>
        </p:blipFill>
        <p:spPr>
          <a:xfrm>
            <a:off x="0" y="600075"/>
            <a:ext cx="12192000" cy="5624661"/>
          </a:xfrm>
          <a:prstGeom prst="rect">
            <a:avLst/>
          </a:prstGeom>
        </p:spPr>
      </p:pic>
      <p:pic>
        <p:nvPicPr>
          <p:cNvPr id="4" name="Image 3">
            <a:extLst>
              <a:ext uri="{FF2B5EF4-FFF2-40B4-BE49-F238E27FC236}">
                <a16:creationId xmlns:a16="http://schemas.microsoft.com/office/drawing/2014/main" id="{A307F58C-00EC-4874-89D0-0E45DF44A7C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13998" y="5986706"/>
            <a:ext cx="1717200" cy="352026"/>
          </a:xfrm>
          <a:prstGeom prst="rect">
            <a:avLst/>
          </a:prstGeom>
        </p:spPr>
      </p:pic>
      <p:sp>
        <p:nvSpPr>
          <p:cNvPr id="2" name="Title 1"/>
          <p:cNvSpPr>
            <a:spLocks noGrp="1"/>
          </p:cNvSpPr>
          <p:nvPr>
            <p:ph type="ctrTitle" hasCustomPrompt="1"/>
          </p:nvPr>
        </p:nvSpPr>
        <p:spPr>
          <a:xfrm>
            <a:off x="482248" y="2156499"/>
            <a:ext cx="7320632" cy="1408847"/>
          </a:xfrm>
        </p:spPr>
        <p:txBody>
          <a:bodyPr anchor="b"/>
          <a:lstStyle>
            <a:lvl1pPr algn="l">
              <a:lnSpc>
                <a:spcPct val="76000"/>
              </a:lnSpc>
              <a:defRPr sz="6000">
                <a:solidFill>
                  <a:schemeClr val="tx2"/>
                </a:solidFill>
              </a:defRPr>
            </a:lvl1pPr>
          </a:lstStyle>
          <a:p>
            <a:r>
              <a:rPr lang="fr-FR" dirty="0"/>
              <a:t>Merci de</a:t>
            </a:r>
            <a:r>
              <a:rPr lang="fr-FR"/>
              <a:t/>
            </a:r>
            <a:br>
              <a:rPr lang="fr-FR"/>
            </a:br>
            <a:r>
              <a:rPr lang="fr-FR"/>
              <a:t>votre </a:t>
            </a:r>
            <a:r>
              <a:rPr lang="fr-FR" dirty="0"/>
              <a:t>attention</a:t>
            </a:r>
            <a:endParaRPr lang="en-US" dirty="0"/>
          </a:p>
        </p:txBody>
      </p:sp>
    </p:spTree>
    <p:extLst>
      <p:ext uri="{BB962C8B-B14F-4D97-AF65-F5344CB8AC3E}">
        <p14:creationId xmlns:p14="http://schemas.microsoft.com/office/powerpoint/2010/main" val="15992487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Manifesto J">
    <p:spTree>
      <p:nvGrpSpPr>
        <p:cNvPr id="1" name=""/>
        <p:cNvGrpSpPr/>
        <p:nvPr/>
      </p:nvGrpSpPr>
      <p:grpSpPr>
        <a:xfrm>
          <a:off x="0" y="0"/>
          <a:ext cx="0" cy="0"/>
          <a:chOff x="0" y="0"/>
          <a:chExt cx="0" cy="0"/>
        </a:xfrm>
      </p:grpSpPr>
      <p:sp>
        <p:nvSpPr>
          <p:cNvPr id="10" name="Espace réservé de la date 9">
            <a:extLst>
              <a:ext uri="{FF2B5EF4-FFF2-40B4-BE49-F238E27FC236}">
                <a16:creationId xmlns:a16="http://schemas.microsoft.com/office/drawing/2014/main" id="{506D7A77-3261-4789-90AF-4391ECC68EB7}"/>
              </a:ext>
            </a:extLst>
          </p:cNvPr>
          <p:cNvSpPr>
            <a:spLocks noGrp="1"/>
          </p:cNvSpPr>
          <p:nvPr>
            <p:ph type="dt" sz="half" idx="19"/>
          </p:nvPr>
        </p:nvSpPr>
        <p:spPr/>
        <p:txBody>
          <a:bodyPr/>
          <a:lstStyle>
            <a:lvl1pPr>
              <a:defRPr>
                <a:solidFill>
                  <a:schemeClr val="tx2"/>
                </a:solidFill>
              </a:defRPr>
            </a:lvl1pPr>
          </a:lstStyle>
          <a:p>
            <a:r>
              <a:rPr lang="fr-FR"/>
              <a:t>Document confidentiel - ne pas diffuser                          00 / 00 /2021</a:t>
            </a:r>
          </a:p>
        </p:txBody>
      </p:sp>
      <p:sp>
        <p:nvSpPr>
          <p:cNvPr id="11" name="Espace réservé du pied de page 10">
            <a:extLst>
              <a:ext uri="{FF2B5EF4-FFF2-40B4-BE49-F238E27FC236}">
                <a16:creationId xmlns:a16="http://schemas.microsoft.com/office/drawing/2014/main" id="{05070C08-0C4F-480C-A4AD-38AC3DBE4AC8}"/>
              </a:ext>
            </a:extLst>
          </p:cNvPr>
          <p:cNvSpPr>
            <a:spLocks noGrp="1"/>
          </p:cNvSpPr>
          <p:nvPr>
            <p:ph type="ftr" sz="quarter" idx="20"/>
          </p:nvPr>
        </p:nvSpPr>
        <p:spPr>
          <a:xfrm>
            <a:off x="1626384" y="6469013"/>
            <a:ext cx="4812515" cy="226714"/>
          </a:xfrm>
          <a:prstGeom prst="rect">
            <a:avLst/>
          </a:prstGeom>
        </p:spPr>
        <p:txBody>
          <a:bodyPr/>
          <a:lstStyle>
            <a:lvl1pPr>
              <a:defRPr>
                <a:solidFill>
                  <a:schemeClr val="tx2"/>
                </a:solidFill>
              </a:defRPr>
            </a:lvl1pPr>
          </a:lstStyle>
          <a:p>
            <a:r>
              <a:rPr lang="fr-FR"/>
              <a:t>Sujet du document</a:t>
            </a:r>
          </a:p>
        </p:txBody>
      </p:sp>
      <p:sp>
        <p:nvSpPr>
          <p:cNvPr id="12" name="Espace réservé du numéro de diapositive 11">
            <a:extLst>
              <a:ext uri="{FF2B5EF4-FFF2-40B4-BE49-F238E27FC236}">
                <a16:creationId xmlns:a16="http://schemas.microsoft.com/office/drawing/2014/main" id="{A20B3F73-B7A3-4D47-82E4-C5AA9E80D66F}"/>
              </a:ext>
            </a:extLst>
          </p:cNvPr>
          <p:cNvSpPr>
            <a:spLocks noGrp="1"/>
          </p:cNvSpPr>
          <p:nvPr>
            <p:ph type="sldNum" sz="quarter" idx="21"/>
          </p:nvPr>
        </p:nvSpPr>
        <p:spPr/>
        <p:txBody>
          <a:bodyPr/>
          <a:lstStyle>
            <a:lvl1pPr>
              <a:defRPr>
                <a:solidFill>
                  <a:schemeClr val="tx2"/>
                </a:solidFill>
              </a:defRPr>
            </a:lvl1pPr>
          </a:lstStyle>
          <a:p>
            <a:fld id="{6B54B0F7-55DD-40D6-B7F4-70B586885C0B}" type="slidenum">
              <a:rPr lang="fr-FR" smtClean="0"/>
              <a:pPr/>
              <a:t>‹N°›</a:t>
            </a:fld>
            <a:endParaRPr lang="fr-FR"/>
          </a:p>
        </p:txBody>
      </p:sp>
      <p:sp>
        <p:nvSpPr>
          <p:cNvPr id="14" name="Titre 8">
            <a:extLst>
              <a:ext uri="{FF2B5EF4-FFF2-40B4-BE49-F238E27FC236}">
                <a16:creationId xmlns:a16="http://schemas.microsoft.com/office/drawing/2014/main" id="{84C899FF-869A-4315-A506-197107D1CE36}"/>
              </a:ext>
            </a:extLst>
          </p:cNvPr>
          <p:cNvSpPr>
            <a:spLocks noGrp="1"/>
          </p:cNvSpPr>
          <p:nvPr>
            <p:ph type="title" hasCustomPrompt="1"/>
          </p:nvPr>
        </p:nvSpPr>
        <p:spPr>
          <a:xfrm>
            <a:off x="493391" y="488357"/>
            <a:ext cx="11175540" cy="891911"/>
          </a:xfrm>
        </p:spPr>
        <p:txBody>
          <a:bodyPr/>
          <a:lstStyle>
            <a:lvl1pPr>
              <a:lnSpc>
                <a:spcPct val="84000"/>
              </a:lnSpc>
              <a:defRPr sz="3450">
                <a:solidFill>
                  <a:schemeClr val="tx2"/>
                </a:solidFill>
              </a:defRPr>
            </a:lvl1pPr>
          </a:lstStyle>
          <a:p>
            <a:r>
              <a:rPr lang="fr-FR"/>
              <a:t>Lorem ipsum </a:t>
            </a:r>
            <a:r>
              <a:rPr lang="fr-FR" err="1"/>
              <a:t>dolor</a:t>
            </a:r>
            <a:r>
              <a:rPr lang="fr-FR"/>
              <a:t> </a:t>
            </a:r>
            <a:r>
              <a:rPr lang="fr-FR" err="1"/>
              <a:t>sit</a:t>
            </a:r>
            <a:r>
              <a:rPr lang="fr-FR"/>
              <a:t> </a:t>
            </a:r>
            <a:r>
              <a:rPr lang="fr-FR" err="1"/>
              <a:t>amet</a:t>
            </a:r>
            <a:r>
              <a:rPr lang="fr-FR"/>
              <a:t>, </a:t>
            </a:r>
            <a:r>
              <a:rPr lang="fr-FR" err="1"/>
              <a:t>consectetuer</a:t>
            </a:r>
            <a:r>
              <a:rPr lang="fr-FR"/>
              <a:t/>
            </a:r>
            <a:br>
              <a:rPr lang="fr-FR"/>
            </a:br>
            <a:r>
              <a:rPr lang="fr-FR" err="1"/>
              <a:t>adipiscing</a:t>
            </a:r>
            <a:r>
              <a:rPr lang="fr-FR"/>
              <a:t> </a:t>
            </a:r>
            <a:r>
              <a:rPr lang="fr-FR" err="1"/>
              <a:t>elit</a:t>
            </a:r>
            <a:r>
              <a:rPr lang="fr-FR"/>
              <a:t>, </a:t>
            </a:r>
            <a:r>
              <a:rPr lang="fr-FR" err="1"/>
              <a:t>sed</a:t>
            </a:r>
            <a:r>
              <a:rPr lang="fr-FR"/>
              <a:t> diam </a:t>
            </a:r>
            <a:r>
              <a:rPr lang="fr-FR" err="1"/>
              <a:t>nonummy</a:t>
            </a:r>
            <a:r>
              <a:rPr lang="fr-FR"/>
              <a:t> </a:t>
            </a:r>
            <a:r>
              <a:rPr lang="fr-FR" err="1"/>
              <a:t>nibh</a:t>
            </a:r>
            <a:r>
              <a:rPr lang="fr-FR"/>
              <a:t> </a:t>
            </a:r>
            <a:r>
              <a:rPr lang="fr-FR" err="1"/>
              <a:t>euismod</a:t>
            </a:r>
            <a:endParaRPr lang="fr-FR"/>
          </a:p>
        </p:txBody>
      </p:sp>
      <p:sp>
        <p:nvSpPr>
          <p:cNvPr id="22" name="Espace réservé pour une image  4">
            <a:extLst>
              <a:ext uri="{FF2B5EF4-FFF2-40B4-BE49-F238E27FC236}">
                <a16:creationId xmlns:a16="http://schemas.microsoft.com/office/drawing/2014/main" id="{E04FBDC5-3108-4A68-A848-7297022E59E6}"/>
              </a:ext>
            </a:extLst>
          </p:cNvPr>
          <p:cNvSpPr>
            <a:spLocks noGrp="1" noChangeAspect="1"/>
          </p:cNvSpPr>
          <p:nvPr>
            <p:ph type="pic" sz="quarter" idx="36"/>
          </p:nvPr>
        </p:nvSpPr>
        <p:spPr>
          <a:xfrm>
            <a:off x="417146" y="1981834"/>
            <a:ext cx="752727" cy="684039"/>
          </a:xfrm>
        </p:spPr>
        <p:txBody>
          <a:bodyPr>
            <a:noAutofit/>
          </a:bodyPr>
          <a:lstStyle>
            <a:lvl1pPr>
              <a:defRPr>
                <a:noFill/>
              </a:defRPr>
            </a:lvl1pPr>
          </a:lstStyle>
          <a:p>
            <a:endParaRPr lang="fr-FR"/>
          </a:p>
        </p:txBody>
      </p:sp>
      <p:sp>
        <p:nvSpPr>
          <p:cNvPr id="33" name="Espace réservé du texte 12">
            <a:extLst>
              <a:ext uri="{FF2B5EF4-FFF2-40B4-BE49-F238E27FC236}">
                <a16:creationId xmlns:a16="http://schemas.microsoft.com/office/drawing/2014/main" id="{9A2FB658-A970-44CD-B06F-03C5C99E8A92}"/>
              </a:ext>
            </a:extLst>
          </p:cNvPr>
          <p:cNvSpPr>
            <a:spLocks noGrp="1"/>
          </p:cNvSpPr>
          <p:nvPr>
            <p:ph type="body" sz="quarter" idx="18" hasCustomPrompt="1"/>
          </p:nvPr>
        </p:nvSpPr>
        <p:spPr>
          <a:xfrm>
            <a:off x="1404476" y="1993085"/>
            <a:ext cx="4420914" cy="1066446"/>
          </a:xfrm>
        </p:spPr>
        <p:txBody>
          <a:bodyPr/>
          <a:lstStyle>
            <a:lvl1pPr algn="l">
              <a:defRPr>
                <a:solidFill>
                  <a:schemeClr val="tx1"/>
                </a:solidFill>
              </a:defRPr>
            </a:lvl1pPr>
            <a:lvl2pPr algn="l">
              <a:buNone/>
              <a:defRPr lang="fr-FR" sz="1700" b="1" kern="1200" dirty="0">
                <a:solidFill>
                  <a:schemeClr val="tx2"/>
                </a:solidFill>
                <a:latin typeface="+mj-lt"/>
                <a:ea typeface="+mn-ea"/>
                <a:cs typeface="+mn-cs"/>
              </a:defRPr>
            </a:lvl2pPr>
            <a:lvl3pPr marL="0" indent="0" algn="l">
              <a:buNone/>
              <a:defRPr sz="4800">
                <a:solidFill>
                  <a:schemeClr val="tx2"/>
                </a:solidFill>
                <a:latin typeface="Enedis Black" pitchFamily="50" charset="0"/>
              </a:defRPr>
            </a:lvl3pPr>
            <a:lvl5pPr>
              <a:defRPr/>
            </a:lvl5pPr>
          </a:lstStyle>
          <a:p>
            <a:pPr lvl="0"/>
            <a:r>
              <a:rPr lang="fr-FR" dirty="0"/>
              <a:t>Lorem ipsum</a:t>
            </a:r>
          </a:p>
          <a:p>
            <a:pPr lvl="1"/>
            <a:r>
              <a:rPr lang="fr-FR" dirty="0"/>
              <a:t>Lorem ipsum </a:t>
            </a:r>
            <a:r>
              <a:rPr lang="fr-FR" dirty="0" err="1"/>
              <a:t>dolor</a:t>
            </a:r>
            <a:endParaRPr lang="fr-FR" dirty="0"/>
          </a:p>
          <a:p>
            <a:pPr lvl="2"/>
            <a:r>
              <a:rPr lang="fr-FR" dirty="0"/>
              <a:t>55%</a:t>
            </a:r>
          </a:p>
        </p:txBody>
      </p:sp>
      <p:sp>
        <p:nvSpPr>
          <p:cNvPr id="19" name="Espace réservé pour une image  4">
            <a:extLst>
              <a:ext uri="{FF2B5EF4-FFF2-40B4-BE49-F238E27FC236}">
                <a16:creationId xmlns:a16="http://schemas.microsoft.com/office/drawing/2014/main" id="{415F1AA5-3FCD-45E1-BBFF-217B1CFBC102}"/>
              </a:ext>
            </a:extLst>
          </p:cNvPr>
          <p:cNvSpPr>
            <a:spLocks noGrp="1" noChangeAspect="1"/>
          </p:cNvSpPr>
          <p:nvPr>
            <p:ph type="pic" sz="quarter" idx="51"/>
          </p:nvPr>
        </p:nvSpPr>
        <p:spPr>
          <a:xfrm>
            <a:off x="417146" y="4136106"/>
            <a:ext cx="752727" cy="684039"/>
          </a:xfrm>
        </p:spPr>
        <p:txBody>
          <a:bodyPr>
            <a:noAutofit/>
          </a:bodyPr>
          <a:lstStyle>
            <a:lvl1pPr>
              <a:defRPr>
                <a:noFill/>
              </a:defRPr>
            </a:lvl1pPr>
          </a:lstStyle>
          <a:p>
            <a:endParaRPr lang="fr-FR"/>
          </a:p>
        </p:txBody>
      </p:sp>
      <p:sp>
        <p:nvSpPr>
          <p:cNvPr id="20" name="Espace réservé du texte 12">
            <a:extLst>
              <a:ext uri="{FF2B5EF4-FFF2-40B4-BE49-F238E27FC236}">
                <a16:creationId xmlns:a16="http://schemas.microsoft.com/office/drawing/2014/main" id="{5E9425B2-50D3-4973-9F52-A367FAC071B4}"/>
              </a:ext>
            </a:extLst>
          </p:cNvPr>
          <p:cNvSpPr>
            <a:spLocks noGrp="1"/>
          </p:cNvSpPr>
          <p:nvPr>
            <p:ph type="body" sz="quarter" idx="52" hasCustomPrompt="1"/>
          </p:nvPr>
        </p:nvSpPr>
        <p:spPr>
          <a:xfrm>
            <a:off x="1404476" y="4190630"/>
            <a:ext cx="4420914" cy="1066446"/>
          </a:xfrm>
        </p:spPr>
        <p:txBody>
          <a:bodyPr/>
          <a:lstStyle>
            <a:lvl1pPr algn="l">
              <a:defRPr>
                <a:solidFill>
                  <a:schemeClr val="tx1"/>
                </a:solidFill>
              </a:defRPr>
            </a:lvl1pPr>
            <a:lvl2pPr algn="l">
              <a:buNone/>
              <a:defRPr lang="fr-FR" sz="1700" b="1" kern="1200" dirty="0">
                <a:solidFill>
                  <a:schemeClr val="tx2"/>
                </a:solidFill>
                <a:latin typeface="+mj-lt"/>
                <a:ea typeface="+mn-ea"/>
                <a:cs typeface="+mn-cs"/>
              </a:defRPr>
            </a:lvl2pPr>
            <a:lvl3pPr marL="0" indent="0" algn="l">
              <a:buNone/>
              <a:defRPr sz="4800">
                <a:solidFill>
                  <a:schemeClr val="tx2"/>
                </a:solidFill>
                <a:latin typeface="Enedis Black" pitchFamily="50" charset="0"/>
              </a:defRPr>
            </a:lvl3pPr>
            <a:lvl5pPr>
              <a:defRPr/>
            </a:lvl5pPr>
          </a:lstStyle>
          <a:p>
            <a:pPr lvl="0"/>
            <a:r>
              <a:rPr lang="fr-FR"/>
              <a:t>Lorem ipsum</a:t>
            </a:r>
          </a:p>
          <a:p>
            <a:pPr lvl="1"/>
            <a:r>
              <a:rPr lang="fr-FR"/>
              <a:t>Lorem ipsum </a:t>
            </a:r>
            <a:r>
              <a:rPr lang="fr-FR" err="1"/>
              <a:t>dolor</a:t>
            </a:r>
            <a:endParaRPr lang="fr-FR"/>
          </a:p>
          <a:p>
            <a:pPr lvl="2"/>
            <a:r>
              <a:rPr lang="fr-FR"/>
              <a:t>55%</a:t>
            </a:r>
          </a:p>
        </p:txBody>
      </p:sp>
      <p:sp>
        <p:nvSpPr>
          <p:cNvPr id="21" name="Espace réservé du texte 12">
            <a:extLst>
              <a:ext uri="{FF2B5EF4-FFF2-40B4-BE49-F238E27FC236}">
                <a16:creationId xmlns:a16="http://schemas.microsoft.com/office/drawing/2014/main" id="{35FBF5A5-373B-4A7A-85EA-800E004FD4CE}"/>
              </a:ext>
            </a:extLst>
          </p:cNvPr>
          <p:cNvSpPr>
            <a:spLocks noGrp="1"/>
          </p:cNvSpPr>
          <p:nvPr>
            <p:ph type="body" sz="quarter" idx="53" hasCustomPrompt="1"/>
          </p:nvPr>
        </p:nvSpPr>
        <p:spPr>
          <a:xfrm>
            <a:off x="7140479" y="1981834"/>
            <a:ext cx="4346671" cy="1066446"/>
          </a:xfrm>
        </p:spPr>
        <p:txBody>
          <a:bodyPr/>
          <a:lstStyle>
            <a:lvl1pPr algn="l">
              <a:defRPr>
                <a:solidFill>
                  <a:schemeClr val="tx1"/>
                </a:solidFill>
              </a:defRPr>
            </a:lvl1pPr>
            <a:lvl2pPr algn="l">
              <a:buNone/>
              <a:defRPr lang="fr-FR" sz="1700" b="1" kern="1200" dirty="0">
                <a:solidFill>
                  <a:schemeClr val="tx2"/>
                </a:solidFill>
                <a:latin typeface="+mj-lt"/>
                <a:ea typeface="+mn-ea"/>
                <a:cs typeface="+mn-cs"/>
              </a:defRPr>
            </a:lvl2pPr>
            <a:lvl3pPr marL="0" indent="0" algn="l">
              <a:buNone/>
              <a:defRPr sz="4800">
                <a:solidFill>
                  <a:schemeClr val="tx2"/>
                </a:solidFill>
                <a:latin typeface="Enedis Black" pitchFamily="50" charset="0"/>
              </a:defRPr>
            </a:lvl3pPr>
            <a:lvl5pPr>
              <a:defRPr/>
            </a:lvl5pPr>
          </a:lstStyle>
          <a:p>
            <a:pPr lvl="0"/>
            <a:r>
              <a:rPr lang="fr-FR"/>
              <a:t>Lorem ipsum</a:t>
            </a:r>
          </a:p>
          <a:p>
            <a:pPr lvl="1"/>
            <a:r>
              <a:rPr lang="fr-FR"/>
              <a:t>Lorem ipsum </a:t>
            </a:r>
            <a:r>
              <a:rPr lang="fr-FR" err="1"/>
              <a:t>dolor</a:t>
            </a:r>
            <a:endParaRPr lang="fr-FR"/>
          </a:p>
          <a:p>
            <a:pPr lvl="2"/>
            <a:r>
              <a:rPr lang="fr-FR"/>
              <a:t>55%</a:t>
            </a:r>
          </a:p>
        </p:txBody>
      </p:sp>
      <p:sp>
        <p:nvSpPr>
          <p:cNvPr id="23" name="Espace réservé du texte 12">
            <a:extLst>
              <a:ext uri="{FF2B5EF4-FFF2-40B4-BE49-F238E27FC236}">
                <a16:creationId xmlns:a16="http://schemas.microsoft.com/office/drawing/2014/main" id="{3B8D7F78-F4A3-4D59-9074-27EF37392FB3}"/>
              </a:ext>
            </a:extLst>
          </p:cNvPr>
          <p:cNvSpPr>
            <a:spLocks noGrp="1"/>
          </p:cNvSpPr>
          <p:nvPr>
            <p:ph type="body" sz="quarter" idx="54" hasCustomPrompt="1"/>
          </p:nvPr>
        </p:nvSpPr>
        <p:spPr>
          <a:xfrm>
            <a:off x="7140479" y="4179379"/>
            <a:ext cx="4346671" cy="1066446"/>
          </a:xfrm>
        </p:spPr>
        <p:txBody>
          <a:bodyPr/>
          <a:lstStyle>
            <a:lvl1pPr algn="l">
              <a:defRPr>
                <a:solidFill>
                  <a:schemeClr val="tx1"/>
                </a:solidFill>
              </a:defRPr>
            </a:lvl1pPr>
            <a:lvl2pPr algn="l">
              <a:buNone/>
              <a:defRPr lang="fr-FR" sz="1700" b="1" kern="1200" dirty="0">
                <a:solidFill>
                  <a:schemeClr val="tx2"/>
                </a:solidFill>
                <a:latin typeface="+mj-lt"/>
                <a:ea typeface="+mn-ea"/>
                <a:cs typeface="+mn-cs"/>
              </a:defRPr>
            </a:lvl2pPr>
            <a:lvl3pPr marL="0" indent="0" algn="l">
              <a:buNone/>
              <a:defRPr sz="4800">
                <a:solidFill>
                  <a:schemeClr val="tx2"/>
                </a:solidFill>
                <a:latin typeface="Enedis Black" pitchFamily="50" charset="0"/>
              </a:defRPr>
            </a:lvl3pPr>
            <a:lvl5pPr>
              <a:defRPr/>
            </a:lvl5pPr>
          </a:lstStyle>
          <a:p>
            <a:pPr lvl="0"/>
            <a:r>
              <a:rPr lang="fr-FR"/>
              <a:t>Lorem ipsum</a:t>
            </a:r>
          </a:p>
          <a:p>
            <a:pPr lvl="1"/>
            <a:r>
              <a:rPr lang="fr-FR"/>
              <a:t>Lorem ipsum </a:t>
            </a:r>
            <a:r>
              <a:rPr lang="fr-FR" err="1"/>
              <a:t>dolor</a:t>
            </a:r>
            <a:endParaRPr lang="fr-FR"/>
          </a:p>
          <a:p>
            <a:pPr lvl="2"/>
            <a:r>
              <a:rPr lang="fr-FR"/>
              <a:t>55%</a:t>
            </a:r>
          </a:p>
        </p:txBody>
      </p:sp>
      <p:sp>
        <p:nvSpPr>
          <p:cNvPr id="24" name="Espace réservé pour une image  4">
            <a:extLst>
              <a:ext uri="{FF2B5EF4-FFF2-40B4-BE49-F238E27FC236}">
                <a16:creationId xmlns:a16="http://schemas.microsoft.com/office/drawing/2014/main" id="{EF074B27-C626-40F3-A139-E1C2F76E70CF}"/>
              </a:ext>
            </a:extLst>
          </p:cNvPr>
          <p:cNvSpPr>
            <a:spLocks noGrp="1" noChangeAspect="1"/>
          </p:cNvSpPr>
          <p:nvPr>
            <p:ph type="pic" sz="quarter" idx="55"/>
          </p:nvPr>
        </p:nvSpPr>
        <p:spPr>
          <a:xfrm>
            <a:off x="6189887" y="2010409"/>
            <a:ext cx="752727" cy="684039"/>
          </a:xfrm>
        </p:spPr>
        <p:txBody>
          <a:bodyPr>
            <a:noAutofit/>
          </a:bodyPr>
          <a:lstStyle>
            <a:lvl1pPr>
              <a:defRPr>
                <a:noFill/>
              </a:defRPr>
            </a:lvl1pPr>
          </a:lstStyle>
          <a:p>
            <a:endParaRPr lang="fr-FR"/>
          </a:p>
        </p:txBody>
      </p:sp>
      <p:sp>
        <p:nvSpPr>
          <p:cNvPr id="25" name="Espace réservé pour une image  4">
            <a:extLst>
              <a:ext uri="{FF2B5EF4-FFF2-40B4-BE49-F238E27FC236}">
                <a16:creationId xmlns:a16="http://schemas.microsoft.com/office/drawing/2014/main" id="{51512C5B-4839-4393-9DAE-584334376F99}"/>
              </a:ext>
            </a:extLst>
          </p:cNvPr>
          <p:cNvSpPr>
            <a:spLocks noGrp="1" noChangeAspect="1"/>
          </p:cNvSpPr>
          <p:nvPr>
            <p:ph type="pic" sz="quarter" idx="56"/>
          </p:nvPr>
        </p:nvSpPr>
        <p:spPr>
          <a:xfrm>
            <a:off x="6189887" y="4164681"/>
            <a:ext cx="752727" cy="684039"/>
          </a:xfrm>
        </p:spPr>
        <p:txBody>
          <a:bodyPr>
            <a:noAutofit/>
          </a:bodyPr>
          <a:lstStyle>
            <a:lvl1pPr>
              <a:defRPr>
                <a:noFill/>
              </a:defRPr>
            </a:lvl1pPr>
          </a:lstStyle>
          <a:p>
            <a:endParaRPr lang="fr-FR"/>
          </a:p>
        </p:txBody>
      </p:sp>
    </p:spTree>
    <p:extLst>
      <p:ext uri="{BB962C8B-B14F-4D97-AF65-F5344CB8AC3E}">
        <p14:creationId xmlns:p14="http://schemas.microsoft.com/office/powerpoint/2010/main" val="943128781"/>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 colon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530678E-A9FB-44A0-81E2-C48E6EB0DD3F}"/>
              </a:ext>
            </a:extLst>
          </p:cNvPr>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2405" name="Diapositive think-cell" r:id="rId4" imgW="393" imgH="392" progId="TCLayout.ActiveDocument.1">
                  <p:embed/>
                </p:oleObj>
              </mc:Choice>
              <mc:Fallback>
                <p:oleObj name="Diapositive think-cell" r:id="rId4" imgW="393" imgH="392" progId="TCLayout.ActiveDocument.1">
                  <p:embed/>
                  <p:pic>
                    <p:nvPicPr>
                      <p:cNvPr id="4" name="Objet 3" hidden="1">
                        <a:extLst>
                          <a:ext uri="{FF2B5EF4-FFF2-40B4-BE49-F238E27FC236}">
                            <a16:creationId xmlns:a16="http://schemas.microsoft.com/office/drawing/2014/main" id="{7530678E-A9FB-44A0-81E2-C48E6EB0DD3F}"/>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a:xfrm>
            <a:off x="609600" y="1404001"/>
            <a:ext cx="10957984" cy="4537075"/>
          </a:xfrm>
        </p:spPr>
        <p:txBody>
          <a:bodyPr/>
          <a:lstStyle>
            <a:lvl1pPr marL="50800" indent="-41275">
              <a:buClr>
                <a:schemeClr val="bg1"/>
              </a:buClr>
              <a:buSzPct val="25000"/>
              <a:buFont typeface="Arial" panose="020B0604020202020204" pitchFamily="34" charset="0"/>
              <a:buChar char="•"/>
              <a:tabLst/>
              <a:defRPr sz="1400" b="1"/>
            </a:lvl1pPr>
            <a:lvl2pPr marL="342900" indent="-342900">
              <a:buFont typeface="Wingdings" pitchFamily="2" charset="2"/>
              <a:buChar char="ü"/>
              <a:defRPr sz="1200"/>
            </a:lvl2pPr>
            <a:lvl3pPr>
              <a:defRPr sz="1400"/>
            </a:lvl3pPr>
            <a:lvl4pPr>
              <a:defRPr sz="1200"/>
            </a:lvl4pPr>
            <a:lvl5pPr>
              <a:defRPr sz="11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pied de page 4"/>
          <p:cNvSpPr>
            <a:spLocks noGrp="1"/>
          </p:cNvSpPr>
          <p:nvPr>
            <p:ph type="ftr" sz="quarter" idx="11"/>
          </p:nvPr>
        </p:nvSpPr>
        <p:spPr>
          <a:xfrm>
            <a:off x="1626384" y="6469013"/>
            <a:ext cx="4812515" cy="226714"/>
          </a:xfrm>
          <a:prstGeom prst="rect">
            <a:avLst/>
          </a:prstGeom>
        </p:spPr>
        <p:txBody>
          <a:bodyPr/>
          <a:lstStyle/>
          <a:p>
            <a:endParaRPr lang="fr-FR"/>
          </a:p>
        </p:txBody>
      </p:sp>
    </p:spTree>
    <p:extLst>
      <p:ext uri="{BB962C8B-B14F-4D97-AF65-F5344CB8AC3E}">
        <p14:creationId xmlns:p14="http://schemas.microsoft.com/office/powerpoint/2010/main" val="21217432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95447" y="453112"/>
            <a:ext cx="6778865" cy="969496"/>
          </a:xfrm>
        </p:spPr>
        <p:txBody>
          <a:bodyPr/>
          <a:lstStyle/>
          <a:p>
            <a:r>
              <a:rPr lang="fr-FR" smtClean="0"/>
              <a:t>Cliquez pour modifier le style du titre</a:t>
            </a:r>
            <a:endParaRPr lang="fr-FR"/>
          </a:p>
        </p:txBody>
      </p:sp>
    </p:spTree>
    <p:extLst>
      <p:ext uri="{BB962C8B-B14F-4D97-AF65-F5344CB8AC3E}">
        <p14:creationId xmlns:p14="http://schemas.microsoft.com/office/powerpoint/2010/main" val="42910122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ommaire C">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vl1pPr>
          </a:lstStyle>
          <a:p>
            <a:r>
              <a:rPr lang="fr-FR" dirty="0" smtClean="0"/>
              <a:t>Conseil de Surveillance - 6 octobre 2022</a:t>
            </a:r>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N°›</a:t>
            </a:fld>
            <a:endParaRPr lang="en-US"/>
          </a:p>
        </p:txBody>
      </p:sp>
    </p:spTree>
    <p:extLst>
      <p:ext uri="{BB962C8B-B14F-4D97-AF65-F5344CB8AC3E}">
        <p14:creationId xmlns:p14="http://schemas.microsoft.com/office/powerpoint/2010/main" val="12122397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Diapositive I">
    <p:spTree>
      <p:nvGrpSpPr>
        <p:cNvPr id="1" name=""/>
        <p:cNvGrpSpPr/>
        <p:nvPr/>
      </p:nvGrpSpPr>
      <p:grpSpPr>
        <a:xfrm>
          <a:off x="0" y="0"/>
          <a:ext cx="0" cy="0"/>
          <a:chOff x="0" y="0"/>
          <a:chExt cx="0" cy="0"/>
        </a:xfrm>
      </p:grpSpPr>
      <p:sp>
        <p:nvSpPr>
          <p:cNvPr id="10" name="Espace réservé de la date 9">
            <a:extLst>
              <a:ext uri="{FF2B5EF4-FFF2-40B4-BE49-F238E27FC236}">
                <a16:creationId xmlns:a16="http://schemas.microsoft.com/office/drawing/2014/main" id="{506D7A77-3261-4789-90AF-4391ECC68EB7}"/>
              </a:ext>
            </a:extLst>
          </p:cNvPr>
          <p:cNvSpPr>
            <a:spLocks noGrp="1"/>
          </p:cNvSpPr>
          <p:nvPr>
            <p:ph type="dt" sz="half" idx="19"/>
          </p:nvPr>
        </p:nvSpPr>
        <p:spPr>
          <a:xfrm>
            <a:off x="8396605" y="6514469"/>
            <a:ext cx="3067051" cy="154849"/>
          </a:xfrm>
        </p:spPr>
        <p:txBody>
          <a:bodyPr/>
          <a:lstStyle>
            <a:lvl1pPr>
              <a:defRPr sz="1000">
                <a:solidFill>
                  <a:schemeClr val="tx2"/>
                </a:solidFill>
              </a:defRPr>
            </a:lvl1pPr>
          </a:lstStyle>
          <a:p>
            <a:r>
              <a:rPr lang="fr-FR"/>
              <a:t>21 novembre 2023</a:t>
            </a:r>
            <a:endParaRPr lang="fr-FR" dirty="0"/>
          </a:p>
        </p:txBody>
      </p:sp>
      <p:sp>
        <p:nvSpPr>
          <p:cNvPr id="12" name="Espace réservé du numéro de diapositive 11">
            <a:extLst>
              <a:ext uri="{FF2B5EF4-FFF2-40B4-BE49-F238E27FC236}">
                <a16:creationId xmlns:a16="http://schemas.microsoft.com/office/drawing/2014/main" id="{A20B3F73-B7A3-4D47-82E4-C5AA9E80D66F}"/>
              </a:ext>
            </a:extLst>
          </p:cNvPr>
          <p:cNvSpPr>
            <a:spLocks noGrp="1"/>
          </p:cNvSpPr>
          <p:nvPr>
            <p:ph type="sldNum" sz="quarter" idx="21"/>
          </p:nvPr>
        </p:nvSpPr>
        <p:spPr>
          <a:xfrm>
            <a:off x="11488261" y="6514718"/>
            <a:ext cx="465150" cy="154849"/>
          </a:xfrm>
        </p:spPr>
        <p:txBody>
          <a:bodyPr/>
          <a:lstStyle>
            <a:lvl1pPr>
              <a:defRPr sz="1000">
                <a:solidFill>
                  <a:schemeClr val="tx2"/>
                </a:solidFill>
              </a:defRPr>
            </a:lvl1pPr>
          </a:lstStyle>
          <a:p>
            <a:fld id="{6B54B0F7-55DD-40D6-B7F4-70B586885C0B}" type="slidenum">
              <a:rPr lang="fr-FR" smtClean="0"/>
              <a:pPr/>
              <a:t>‹N°›</a:t>
            </a:fld>
            <a:endParaRPr lang="fr-FR"/>
          </a:p>
        </p:txBody>
      </p:sp>
      <p:sp>
        <p:nvSpPr>
          <p:cNvPr id="16" name="Titre 8">
            <a:extLst>
              <a:ext uri="{FF2B5EF4-FFF2-40B4-BE49-F238E27FC236}">
                <a16:creationId xmlns:a16="http://schemas.microsoft.com/office/drawing/2014/main" id="{EC6C1856-89A9-40CF-B4C0-D16A188E2C62}"/>
              </a:ext>
            </a:extLst>
          </p:cNvPr>
          <p:cNvSpPr>
            <a:spLocks noGrp="1"/>
          </p:cNvSpPr>
          <p:nvPr>
            <p:ph type="title" hasCustomPrompt="1"/>
          </p:nvPr>
        </p:nvSpPr>
        <p:spPr>
          <a:xfrm>
            <a:off x="504000" y="72000"/>
            <a:ext cx="11160000" cy="756000"/>
          </a:xfrm>
        </p:spPr>
        <p:txBody>
          <a:bodyPr anchor="ctr"/>
          <a:lstStyle>
            <a:lvl1pPr>
              <a:lnSpc>
                <a:spcPct val="84000"/>
              </a:lnSpc>
              <a:defRPr sz="2800"/>
            </a:lvl1pPr>
          </a:lstStyle>
          <a:p>
            <a:r>
              <a:rPr lang="fr-FR"/>
              <a:t>Lorem ipsum </a:t>
            </a:r>
            <a:r>
              <a:rPr lang="fr-FR" err="1"/>
              <a:t>dolor</a:t>
            </a:r>
            <a:r>
              <a:rPr lang="fr-FR"/>
              <a:t> </a:t>
            </a:r>
            <a:r>
              <a:rPr lang="fr-FR" err="1"/>
              <a:t>sit</a:t>
            </a:r>
            <a:r>
              <a:rPr lang="fr-FR"/>
              <a:t> </a:t>
            </a:r>
            <a:r>
              <a:rPr lang="fr-FR" err="1"/>
              <a:t>amet</a:t>
            </a:r>
            <a:r>
              <a:rPr lang="fr-FR"/>
              <a:t>, </a:t>
            </a:r>
            <a:r>
              <a:rPr lang="fr-FR" err="1"/>
              <a:t>consectetuer</a:t>
            </a:r>
            <a:r>
              <a:rPr lang="fr-FR"/>
              <a:t/>
            </a:r>
            <a:br>
              <a:rPr lang="fr-FR"/>
            </a:br>
            <a:r>
              <a:rPr lang="fr-FR" err="1"/>
              <a:t>adipiscing</a:t>
            </a:r>
            <a:r>
              <a:rPr lang="fr-FR"/>
              <a:t> </a:t>
            </a:r>
            <a:r>
              <a:rPr lang="fr-FR" err="1"/>
              <a:t>elit</a:t>
            </a:r>
            <a:r>
              <a:rPr lang="fr-FR"/>
              <a:t>, </a:t>
            </a:r>
            <a:r>
              <a:rPr lang="fr-FR" err="1"/>
              <a:t>sed</a:t>
            </a:r>
            <a:r>
              <a:rPr lang="fr-FR"/>
              <a:t> diam </a:t>
            </a:r>
            <a:r>
              <a:rPr lang="fr-FR" err="1"/>
              <a:t>nonummy</a:t>
            </a:r>
            <a:r>
              <a:rPr lang="fr-FR"/>
              <a:t> </a:t>
            </a:r>
            <a:r>
              <a:rPr lang="fr-FR" err="1"/>
              <a:t>nibh</a:t>
            </a:r>
            <a:r>
              <a:rPr lang="fr-FR"/>
              <a:t> </a:t>
            </a:r>
            <a:r>
              <a:rPr lang="fr-FR" err="1"/>
              <a:t>euismod</a:t>
            </a:r>
            <a:endParaRPr lang="fr-FR"/>
          </a:p>
        </p:txBody>
      </p:sp>
    </p:spTree>
    <p:extLst>
      <p:ext uri="{BB962C8B-B14F-4D97-AF65-F5344CB8AC3E}">
        <p14:creationId xmlns:p14="http://schemas.microsoft.com/office/powerpoint/2010/main" val="918460753"/>
      </p:ext>
    </p:extLst>
  </p:cSld>
  <p:clrMapOvr>
    <a:masterClrMapping/>
  </p:clrMapOvr>
  <p:extLst mod="1">
    <p:ext uri="{DCECCB84-F9BA-43D5-87BE-67443E8EF086}">
      <p15:sldGuideLst xmlns:p15="http://schemas.microsoft.com/office/powerpoint/2012/main">
        <p15:guide id="1" pos="5110">
          <p15:clr>
            <a:srgbClr val="FBAE40"/>
          </p15:clr>
        </p15:guide>
        <p15:guide id="2" orient="horz" pos="1275">
          <p15:clr>
            <a:srgbClr val="FBAE40"/>
          </p15:clr>
        </p15:guide>
        <p15:guide id="3" orient="horz" pos="338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uverture 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248" y="461010"/>
            <a:ext cx="7320632" cy="2161361"/>
          </a:xfrm>
        </p:spPr>
        <p:txBody>
          <a:bodyPr anchor="b"/>
          <a:lstStyle>
            <a:lvl1pPr algn="l">
              <a:lnSpc>
                <a:spcPct val="76000"/>
              </a:lnSpc>
              <a:defRPr sz="6000">
                <a:solidFill>
                  <a:schemeClr val="tx2"/>
                </a:solidFill>
              </a:defRPr>
            </a:lvl1pPr>
          </a:lstStyle>
          <a:p>
            <a:r>
              <a:rPr lang="fr-FR"/>
              <a:t>Titre de la </a:t>
            </a:r>
            <a:br>
              <a:rPr lang="fr-FR"/>
            </a:br>
            <a:r>
              <a:rPr lang="fr-FR"/>
              <a:t>présentation </a:t>
            </a:r>
            <a:br>
              <a:rPr lang="fr-FR"/>
            </a:br>
            <a:r>
              <a:rPr lang="fr-FR"/>
              <a:t>sur trois lignes</a:t>
            </a:r>
            <a:endParaRPr lang="en-US"/>
          </a:p>
        </p:txBody>
      </p:sp>
      <p:sp>
        <p:nvSpPr>
          <p:cNvPr id="3" name="Subtitle 2"/>
          <p:cNvSpPr>
            <a:spLocks noGrp="1"/>
          </p:cNvSpPr>
          <p:nvPr>
            <p:ph type="subTitle" idx="1" hasCustomPrompt="1"/>
          </p:nvPr>
        </p:nvSpPr>
        <p:spPr>
          <a:xfrm>
            <a:off x="494948" y="2854145"/>
            <a:ext cx="6432902" cy="615553"/>
          </a:xfrm>
        </p:spPr>
        <p:txBody>
          <a:bodyPr/>
          <a:lstStyle>
            <a:lvl1pPr marL="0" indent="0" algn="l">
              <a:lnSpc>
                <a:spcPct val="80000"/>
              </a:lnSpc>
              <a:buNone/>
              <a:defRPr sz="2500">
                <a:solidFill>
                  <a:schemeClr val="tx2"/>
                </a:solidFill>
                <a:latin typeface="Enedis Light" pitchFamily="50"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Sous-titre de la présentation </a:t>
            </a:r>
            <a:br>
              <a:rPr lang="fr-FR"/>
            </a:br>
            <a:r>
              <a:rPr lang="fr-FR"/>
              <a:t>sur deux lignes</a:t>
            </a:r>
            <a:endParaRPr lang="en-US"/>
          </a:p>
        </p:txBody>
      </p:sp>
      <p:grpSp>
        <p:nvGrpSpPr>
          <p:cNvPr id="6" name="Graphique 10">
            <a:extLst>
              <a:ext uri="{FF2B5EF4-FFF2-40B4-BE49-F238E27FC236}">
                <a16:creationId xmlns:a16="http://schemas.microsoft.com/office/drawing/2014/main" id="{3270F1C2-39F4-4808-A348-572B35FDA73D}"/>
              </a:ext>
            </a:extLst>
          </p:cNvPr>
          <p:cNvGrpSpPr/>
          <p:nvPr/>
        </p:nvGrpSpPr>
        <p:grpSpPr>
          <a:xfrm>
            <a:off x="513998" y="5991475"/>
            <a:ext cx="1716673" cy="346912"/>
            <a:chOff x="513998" y="5991475"/>
            <a:chExt cx="1716673" cy="346912"/>
          </a:xfrm>
        </p:grpSpPr>
        <p:sp>
          <p:nvSpPr>
            <p:cNvPr id="7" name="Forme libre : forme 6">
              <a:extLst>
                <a:ext uri="{FF2B5EF4-FFF2-40B4-BE49-F238E27FC236}">
                  <a16:creationId xmlns:a16="http://schemas.microsoft.com/office/drawing/2014/main" id="{91D61045-1864-4893-AB9C-647365F6D11E}"/>
                </a:ext>
              </a:extLst>
            </p:cNvPr>
            <p:cNvSpPr/>
            <p:nvPr/>
          </p:nvSpPr>
          <p:spPr>
            <a:xfrm>
              <a:off x="1129494" y="5991488"/>
              <a:ext cx="373834" cy="346899"/>
            </a:xfrm>
            <a:custGeom>
              <a:avLst/>
              <a:gdLst>
                <a:gd name="connsiteX0" fmla="*/ 173802 w 373834"/>
                <a:gd name="connsiteY0" fmla="*/ 283740 h 346899"/>
                <a:gd name="connsiteX1" fmla="*/ 108846 w 373834"/>
                <a:gd name="connsiteY1" fmla="*/ 223698 h 346899"/>
                <a:gd name="connsiteX2" fmla="*/ 108987 w 373834"/>
                <a:gd name="connsiteY2" fmla="*/ 212802 h 346899"/>
                <a:gd name="connsiteX3" fmla="*/ 247493 w 373834"/>
                <a:gd name="connsiteY3" fmla="*/ 212802 h 346899"/>
                <a:gd name="connsiteX4" fmla="*/ 334413 w 373834"/>
                <a:gd name="connsiteY4" fmla="*/ 132012 h 346899"/>
                <a:gd name="connsiteX5" fmla="*/ 334413 w 373834"/>
                <a:gd name="connsiteY5" fmla="*/ 80827 h 346899"/>
                <a:gd name="connsiteX6" fmla="*/ 247493 w 373834"/>
                <a:gd name="connsiteY6" fmla="*/ 37 h 346899"/>
                <a:gd name="connsiteX7" fmla="*/ 126637 w 373834"/>
                <a:gd name="connsiteY7" fmla="*/ 37 h 346899"/>
                <a:gd name="connsiteX8" fmla="*/ 106457 w 373834"/>
                <a:gd name="connsiteY8" fmla="*/ 1579 h 346899"/>
                <a:gd name="connsiteX9" fmla="*/ 39864 w 373834"/>
                <a:gd name="connsiteY9" fmla="*/ 80827 h 346899"/>
                <a:gd name="connsiteX10" fmla="*/ 39864 w 373834"/>
                <a:gd name="connsiteY10" fmla="*/ 110539 h 346899"/>
                <a:gd name="connsiteX11" fmla="*/ 50958 w 373834"/>
                <a:gd name="connsiteY11" fmla="*/ 122881 h 346899"/>
                <a:gd name="connsiteX12" fmla="*/ 97868 w 373834"/>
                <a:gd name="connsiteY12" fmla="*/ 122881 h 346899"/>
                <a:gd name="connsiteX13" fmla="*/ 108974 w 373834"/>
                <a:gd name="connsiteY13" fmla="*/ 110539 h 346899"/>
                <a:gd name="connsiteX14" fmla="*/ 108974 w 373834"/>
                <a:gd name="connsiteY14" fmla="*/ 91359 h 346899"/>
                <a:gd name="connsiteX15" fmla="*/ 139769 w 373834"/>
                <a:gd name="connsiteY15" fmla="*/ 63240 h 346899"/>
                <a:gd name="connsiteX16" fmla="*/ 234533 w 373834"/>
                <a:gd name="connsiteY16" fmla="*/ 63240 h 346899"/>
                <a:gd name="connsiteX17" fmla="*/ 265335 w 373834"/>
                <a:gd name="connsiteY17" fmla="*/ 91359 h 346899"/>
                <a:gd name="connsiteX18" fmla="*/ 265335 w 373834"/>
                <a:gd name="connsiteY18" fmla="*/ 121741 h 346899"/>
                <a:gd name="connsiteX19" fmla="*/ 234533 w 373834"/>
                <a:gd name="connsiteY19" fmla="*/ 149834 h 346899"/>
                <a:gd name="connsiteX20" fmla="*/ 250 w 373834"/>
                <a:gd name="connsiteY20" fmla="*/ 149834 h 346899"/>
                <a:gd name="connsiteX21" fmla="*/ 250 w 373834"/>
                <a:gd name="connsiteY21" fmla="*/ 212802 h 346899"/>
                <a:gd name="connsiteX22" fmla="*/ 39698 w 373834"/>
                <a:gd name="connsiteY22" fmla="*/ 212802 h 346899"/>
                <a:gd name="connsiteX23" fmla="*/ 39698 w 373834"/>
                <a:gd name="connsiteY23" fmla="*/ 223685 h 346899"/>
                <a:gd name="connsiteX24" fmla="*/ 174031 w 373834"/>
                <a:gd name="connsiteY24" fmla="*/ 346937 h 346899"/>
                <a:gd name="connsiteX25" fmla="*/ 374084 w 373834"/>
                <a:gd name="connsiteY25" fmla="*/ 346937 h 346899"/>
                <a:gd name="connsiteX26" fmla="*/ 374084 w 373834"/>
                <a:gd name="connsiteY26" fmla="*/ 283734 h 346899"/>
                <a:gd name="connsiteX27" fmla="*/ 173802 w 373834"/>
                <a:gd name="connsiteY27" fmla="*/ 283740 h 346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3834" h="346899">
                  <a:moveTo>
                    <a:pt x="173802" y="283740"/>
                  </a:moveTo>
                  <a:cubicBezTo>
                    <a:pt x="137985" y="283740"/>
                    <a:pt x="108846" y="256991"/>
                    <a:pt x="108846" y="223698"/>
                  </a:cubicBezTo>
                  <a:lnTo>
                    <a:pt x="108987" y="212802"/>
                  </a:lnTo>
                  <a:lnTo>
                    <a:pt x="247493" y="212802"/>
                  </a:lnTo>
                  <a:cubicBezTo>
                    <a:pt x="295429" y="212802"/>
                    <a:pt x="334413" y="176564"/>
                    <a:pt x="334413" y="132012"/>
                  </a:cubicBezTo>
                  <a:lnTo>
                    <a:pt x="334413" y="80827"/>
                  </a:lnTo>
                  <a:cubicBezTo>
                    <a:pt x="334413" y="36274"/>
                    <a:pt x="295429" y="37"/>
                    <a:pt x="247493" y="37"/>
                  </a:cubicBezTo>
                  <a:lnTo>
                    <a:pt x="126637" y="37"/>
                  </a:lnTo>
                  <a:cubicBezTo>
                    <a:pt x="119921" y="37"/>
                    <a:pt x="113135" y="101"/>
                    <a:pt x="106457" y="1579"/>
                  </a:cubicBezTo>
                  <a:cubicBezTo>
                    <a:pt x="67161" y="10302"/>
                    <a:pt x="39864" y="43290"/>
                    <a:pt x="39864" y="80827"/>
                  </a:cubicBezTo>
                  <a:lnTo>
                    <a:pt x="39864" y="110539"/>
                  </a:lnTo>
                  <a:cubicBezTo>
                    <a:pt x="39864" y="117338"/>
                    <a:pt x="44834" y="122881"/>
                    <a:pt x="50958" y="122881"/>
                  </a:cubicBezTo>
                  <a:lnTo>
                    <a:pt x="97868" y="122881"/>
                  </a:lnTo>
                  <a:cubicBezTo>
                    <a:pt x="103997" y="122881"/>
                    <a:pt x="108974" y="117338"/>
                    <a:pt x="108974" y="110539"/>
                  </a:cubicBezTo>
                  <a:lnTo>
                    <a:pt x="108974" y="91359"/>
                  </a:lnTo>
                  <a:cubicBezTo>
                    <a:pt x="108974" y="75856"/>
                    <a:pt x="122788" y="63240"/>
                    <a:pt x="139769" y="63240"/>
                  </a:cubicBezTo>
                  <a:lnTo>
                    <a:pt x="234533" y="63240"/>
                  </a:lnTo>
                  <a:cubicBezTo>
                    <a:pt x="251520" y="63240"/>
                    <a:pt x="265335" y="75856"/>
                    <a:pt x="265335" y="91359"/>
                  </a:cubicBezTo>
                  <a:lnTo>
                    <a:pt x="265335" y="121741"/>
                  </a:lnTo>
                  <a:cubicBezTo>
                    <a:pt x="265335" y="137231"/>
                    <a:pt x="251520" y="149834"/>
                    <a:pt x="234533" y="149834"/>
                  </a:cubicBezTo>
                  <a:lnTo>
                    <a:pt x="250" y="149834"/>
                  </a:lnTo>
                  <a:lnTo>
                    <a:pt x="250" y="212802"/>
                  </a:lnTo>
                  <a:lnTo>
                    <a:pt x="39698" y="212802"/>
                  </a:lnTo>
                  <a:lnTo>
                    <a:pt x="39698" y="223685"/>
                  </a:lnTo>
                  <a:cubicBezTo>
                    <a:pt x="39698" y="291871"/>
                    <a:pt x="100130" y="346937"/>
                    <a:pt x="174031" y="346937"/>
                  </a:cubicBezTo>
                  <a:lnTo>
                    <a:pt x="374084" y="346937"/>
                  </a:lnTo>
                  <a:lnTo>
                    <a:pt x="374084" y="283734"/>
                  </a:lnTo>
                  <a:lnTo>
                    <a:pt x="173802" y="283740"/>
                  </a:lnTo>
                  <a:close/>
                </a:path>
              </a:pathLst>
            </a:custGeom>
            <a:solidFill>
              <a:srgbClr val="96CD32"/>
            </a:solidFill>
            <a:ln w="6362" cap="flat">
              <a:noFill/>
              <a:prstDash val="solid"/>
              <a:round/>
            </a:ln>
          </p:spPr>
          <p:txBody>
            <a:bodyPr rtlCol="0" anchor="ctr"/>
            <a:lstStyle/>
            <a:p>
              <a:endParaRPr lang="fr-FR"/>
            </a:p>
          </p:txBody>
        </p:sp>
        <p:sp>
          <p:nvSpPr>
            <p:cNvPr id="8" name="Forme libre : forme 7">
              <a:extLst>
                <a:ext uri="{FF2B5EF4-FFF2-40B4-BE49-F238E27FC236}">
                  <a16:creationId xmlns:a16="http://schemas.microsoft.com/office/drawing/2014/main" id="{90266735-E994-4E7C-84F7-3430D095B16A}"/>
                </a:ext>
              </a:extLst>
            </p:cNvPr>
            <p:cNvSpPr/>
            <p:nvPr/>
          </p:nvSpPr>
          <p:spPr>
            <a:xfrm>
              <a:off x="513998" y="5991475"/>
              <a:ext cx="1716673" cy="346905"/>
            </a:xfrm>
            <a:custGeom>
              <a:avLst/>
              <a:gdLst>
                <a:gd name="connsiteX0" fmla="*/ 1386323 w 1716673"/>
                <a:gd name="connsiteY0" fmla="*/ 26425 h 346905"/>
                <a:gd name="connsiteX1" fmla="*/ 1386221 w 1716673"/>
                <a:gd name="connsiteY1" fmla="*/ 12407 h 346905"/>
                <a:gd name="connsiteX2" fmla="*/ 1375114 w 1716673"/>
                <a:gd name="connsiteY2" fmla="*/ 78 h 346905"/>
                <a:gd name="connsiteX3" fmla="*/ 1328351 w 1716673"/>
                <a:gd name="connsiteY3" fmla="*/ 78 h 346905"/>
                <a:gd name="connsiteX4" fmla="*/ 1317245 w 1716673"/>
                <a:gd name="connsiteY4" fmla="*/ 12407 h 346905"/>
                <a:gd name="connsiteX5" fmla="*/ 1317245 w 1716673"/>
                <a:gd name="connsiteY5" fmla="*/ 26425 h 346905"/>
                <a:gd name="connsiteX6" fmla="*/ 1317251 w 1716673"/>
                <a:gd name="connsiteY6" fmla="*/ 26425 h 346905"/>
                <a:gd name="connsiteX7" fmla="*/ 1317353 w 1716673"/>
                <a:gd name="connsiteY7" fmla="*/ 50976 h 346905"/>
                <a:gd name="connsiteX8" fmla="*/ 1328459 w 1716673"/>
                <a:gd name="connsiteY8" fmla="*/ 63306 h 346905"/>
                <a:gd name="connsiteX9" fmla="*/ 1375223 w 1716673"/>
                <a:gd name="connsiteY9" fmla="*/ 63306 h 346905"/>
                <a:gd name="connsiteX10" fmla="*/ 1386329 w 1716673"/>
                <a:gd name="connsiteY10" fmla="*/ 50976 h 346905"/>
                <a:gd name="connsiteX11" fmla="*/ 1386329 w 1716673"/>
                <a:gd name="connsiteY11" fmla="*/ 26425 h 346905"/>
                <a:gd name="connsiteX12" fmla="*/ 1386323 w 1716673"/>
                <a:gd name="connsiteY12" fmla="*/ 26425 h 346905"/>
                <a:gd name="connsiteX13" fmla="*/ 1386323 w 1716673"/>
                <a:gd name="connsiteY13" fmla="*/ 218602 h 346905"/>
                <a:gd name="connsiteX14" fmla="*/ 1386221 w 1716673"/>
                <a:gd name="connsiteY14" fmla="*/ 102640 h 346905"/>
                <a:gd name="connsiteX15" fmla="*/ 1375114 w 1716673"/>
                <a:gd name="connsiteY15" fmla="*/ 90310 h 346905"/>
                <a:gd name="connsiteX16" fmla="*/ 1328351 w 1716673"/>
                <a:gd name="connsiteY16" fmla="*/ 90310 h 346905"/>
                <a:gd name="connsiteX17" fmla="*/ 1317245 w 1716673"/>
                <a:gd name="connsiteY17" fmla="*/ 102640 h 346905"/>
                <a:gd name="connsiteX18" fmla="*/ 1317245 w 1716673"/>
                <a:gd name="connsiteY18" fmla="*/ 218602 h 346905"/>
                <a:gd name="connsiteX19" fmla="*/ 1317251 w 1716673"/>
                <a:gd name="connsiteY19" fmla="*/ 218602 h 346905"/>
                <a:gd name="connsiteX20" fmla="*/ 1317353 w 1716673"/>
                <a:gd name="connsiteY20" fmla="*/ 334558 h 346905"/>
                <a:gd name="connsiteX21" fmla="*/ 1328459 w 1716673"/>
                <a:gd name="connsiteY21" fmla="*/ 346888 h 346905"/>
                <a:gd name="connsiteX22" fmla="*/ 1375223 w 1716673"/>
                <a:gd name="connsiteY22" fmla="*/ 346888 h 346905"/>
                <a:gd name="connsiteX23" fmla="*/ 1386329 w 1716673"/>
                <a:gd name="connsiteY23" fmla="*/ 334558 h 346905"/>
                <a:gd name="connsiteX24" fmla="*/ 1386329 w 1716673"/>
                <a:gd name="connsiteY24" fmla="*/ 218602 h 346905"/>
                <a:gd name="connsiteX25" fmla="*/ 1386323 w 1716673"/>
                <a:gd name="connsiteY25" fmla="*/ 218602 h 346905"/>
                <a:gd name="connsiteX26" fmla="*/ 1151339 w 1716673"/>
                <a:gd name="connsiteY26" fmla="*/ 78 h 346905"/>
                <a:gd name="connsiteX27" fmla="*/ 1000796 w 1716673"/>
                <a:gd name="connsiteY27" fmla="*/ 78 h 346905"/>
                <a:gd name="connsiteX28" fmla="*/ 989683 w 1716673"/>
                <a:gd name="connsiteY28" fmla="*/ 12439 h 346905"/>
                <a:gd name="connsiteX29" fmla="*/ 989683 w 1716673"/>
                <a:gd name="connsiteY29" fmla="*/ 216448 h 346905"/>
                <a:gd name="connsiteX30" fmla="*/ 1000776 w 1716673"/>
                <a:gd name="connsiteY30" fmla="*/ 228791 h 346905"/>
                <a:gd name="connsiteX31" fmla="*/ 1047636 w 1716673"/>
                <a:gd name="connsiteY31" fmla="*/ 228791 h 346905"/>
                <a:gd name="connsiteX32" fmla="*/ 1058742 w 1716673"/>
                <a:gd name="connsiteY32" fmla="*/ 216448 h 346905"/>
                <a:gd name="connsiteX33" fmla="*/ 1058806 w 1716673"/>
                <a:gd name="connsiteY33" fmla="*/ 63274 h 346905"/>
                <a:gd name="connsiteX34" fmla="*/ 1143597 w 1716673"/>
                <a:gd name="connsiteY34" fmla="*/ 63306 h 346905"/>
                <a:gd name="connsiteX35" fmla="*/ 1208559 w 1716673"/>
                <a:gd name="connsiteY35" fmla="*/ 123731 h 346905"/>
                <a:gd name="connsiteX36" fmla="*/ 1208559 w 1716673"/>
                <a:gd name="connsiteY36" fmla="*/ 235124 h 346905"/>
                <a:gd name="connsiteX37" fmla="*/ 1143597 w 1716673"/>
                <a:gd name="connsiteY37" fmla="*/ 283634 h 346905"/>
                <a:gd name="connsiteX38" fmla="*/ 989683 w 1716673"/>
                <a:gd name="connsiteY38" fmla="*/ 283793 h 346905"/>
                <a:gd name="connsiteX39" fmla="*/ 989683 w 1716673"/>
                <a:gd name="connsiteY39" fmla="*/ 346983 h 346905"/>
                <a:gd name="connsiteX40" fmla="*/ 1143597 w 1716673"/>
                <a:gd name="connsiteY40" fmla="*/ 346888 h 346905"/>
                <a:gd name="connsiteX41" fmla="*/ 1277624 w 1716673"/>
                <a:gd name="connsiteY41" fmla="*/ 235124 h 346905"/>
                <a:gd name="connsiteX42" fmla="*/ 1277624 w 1716673"/>
                <a:gd name="connsiteY42" fmla="*/ 123004 h 346905"/>
                <a:gd name="connsiteX43" fmla="*/ 1151339 w 1716673"/>
                <a:gd name="connsiteY43" fmla="*/ 78 h 346905"/>
                <a:gd name="connsiteX44" fmla="*/ 1717026 w 1716673"/>
                <a:gd name="connsiteY44" fmla="*/ 227440 h 346905"/>
                <a:gd name="connsiteX45" fmla="*/ 1716694 w 1716673"/>
                <a:gd name="connsiteY45" fmla="*/ 217608 h 346905"/>
                <a:gd name="connsiteX46" fmla="*/ 1631712 w 1716673"/>
                <a:gd name="connsiteY46" fmla="*/ 149881 h 346905"/>
                <a:gd name="connsiteX47" fmla="*/ 1527881 w 1716673"/>
                <a:gd name="connsiteY47" fmla="*/ 149881 h 346905"/>
                <a:gd name="connsiteX48" fmla="*/ 1525218 w 1716673"/>
                <a:gd name="connsiteY48" fmla="*/ 149875 h 346905"/>
                <a:gd name="connsiteX49" fmla="*/ 1495066 w 1716673"/>
                <a:gd name="connsiteY49" fmla="*/ 117040 h 346905"/>
                <a:gd name="connsiteX50" fmla="*/ 1495168 w 1716673"/>
                <a:gd name="connsiteY50" fmla="*/ 93477 h 346905"/>
                <a:gd name="connsiteX51" fmla="*/ 1528002 w 1716673"/>
                <a:gd name="connsiteY51" fmla="*/ 63331 h 346905"/>
                <a:gd name="connsiteX52" fmla="*/ 1568980 w 1716673"/>
                <a:gd name="connsiteY52" fmla="*/ 63331 h 346905"/>
                <a:gd name="connsiteX53" fmla="*/ 1569382 w 1716673"/>
                <a:gd name="connsiteY53" fmla="*/ 63344 h 346905"/>
                <a:gd name="connsiteX54" fmla="*/ 1672932 w 1716673"/>
                <a:gd name="connsiteY54" fmla="*/ 63344 h 346905"/>
                <a:gd name="connsiteX55" fmla="*/ 1684599 w 1716673"/>
                <a:gd name="connsiteY55" fmla="*/ 55666 h 346905"/>
                <a:gd name="connsiteX56" fmla="*/ 1685261 w 1716673"/>
                <a:gd name="connsiteY56" fmla="*/ 52238 h 346905"/>
                <a:gd name="connsiteX57" fmla="*/ 1685261 w 1716673"/>
                <a:gd name="connsiteY57" fmla="*/ 11184 h 346905"/>
                <a:gd name="connsiteX58" fmla="*/ 1672932 w 1716673"/>
                <a:gd name="connsiteY58" fmla="*/ 90 h 346905"/>
                <a:gd name="connsiteX59" fmla="*/ 1511391 w 1716673"/>
                <a:gd name="connsiteY59" fmla="*/ 109 h 346905"/>
                <a:gd name="connsiteX60" fmla="*/ 1425943 w 1716673"/>
                <a:gd name="connsiteY60" fmla="*/ 78841 h 346905"/>
                <a:gd name="connsiteX61" fmla="*/ 1425950 w 1716673"/>
                <a:gd name="connsiteY61" fmla="*/ 127955 h 346905"/>
                <a:gd name="connsiteX62" fmla="*/ 1504707 w 1716673"/>
                <a:gd name="connsiteY62" fmla="*/ 212855 h 346905"/>
                <a:gd name="connsiteX63" fmla="*/ 1617904 w 1716673"/>
                <a:gd name="connsiteY63" fmla="*/ 212855 h 346905"/>
                <a:gd name="connsiteX64" fmla="*/ 1647896 w 1716673"/>
                <a:gd name="connsiteY64" fmla="*/ 245695 h 346905"/>
                <a:gd name="connsiteX65" fmla="*/ 1647896 w 1716673"/>
                <a:gd name="connsiteY65" fmla="*/ 253571 h 346905"/>
                <a:gd name="connsiteX66" fmla="*/ 1615221 w 1716673"/>
                <a:gd name="connsiteY66" fmla="*/ 283710 h 346905"/>
                <a:gd name="connsiteX67" fmla="*/ 1438279 w 1716673"/>
                <a:gd name="connsiteY67" fmla="*/ 283710 h 346905"/>
                <a:gd name="connsiteX68" fmla="*/ 1426625 w 1716673"/>
                <a:gd name="connsiteY68" fmla="*/ 291344 h 346905"/>
                <a:gd name="connsiteX69" fmla="*/ 1425937 w 1716673"/>
                <a:gd name="connsiteY69" fmla="*/ 294804 h 346905"/>
                <a:gd name="connsiteX70" fmla="*/ 1425937 w 1716673"/>
                <a:gd name="connsiteY70" fmla="*/ 335858 h 346905"/>
                <a:gd name="connsiteX71" fmla="*/ 1438279 w 1716673"/>
                <a:gd name="connsiteY71" fmla="*/ 346964 h 346905"/>
                <a:gd name="connsiteX72" fmla="*/ 1583113 w 1716673"/>
                <a:gd name="connsiteY72" fmla="*/ 346964 h 346905"/>
                <a:gd name="connsiteX73" fmla="*/ 1632241 w 1716673"/>
                <a:gd name="connsiteY73" fmla="*/ 346939 h 346905"/>
                <a:gd name="connsiteX74" fmla="*/ 1717026 w 1716673"/>
                <a:gd name="connsiteY74" fmla="*/ 268169 h 346905"/>
                <a:gd name="connsiteX75" fmla="*/ 1717026 w 1716673"/>
                <a:gd name="connsiteY75" fmla="*/ 227440 h 346905"/>
                <a:gd name="connsiteX76" fmla="*/ 94179 w 1716673"/>
                <a:gd name="connsiteY76" fmla="*/ 63306 h 346905"/>
                <a:gd name="connsiteX77" fmla="*/ 276199 w 1716673"/>
                <a:gd name="connsiteY77" fmla="*/ 63306 h 346905"/>
                <a:gd name="connsiteX78" fmla="*/ 288293 w 1716673"/>
                <a:gd name="connsiteY78" fmla="*/ 52423 h 346905"/>
                <a:gd name="connsiteX79" fmla="*/ 288293 w 1716673"/>
                <a:gd name="connsiteY79" fmla="*/ 10999 h 346905"/>
                <a:gd name="connsiteX80" fmla="*/ 276199 w 1716673"/>
                <a:gd name="connsiteY80" fmla="*/ 78 h 346905"/>
                <a:gd name="connsiteX81" fmla="*/ 92911 w 1716673"/>
                <a:gd name="connsiteY81" fmla="*/ 78 h 346905"/>
                <a:gd name="connsiteX82" fmla="*/ 352 w 1716673"/>
                <a:gd name="connsiteY82" fmla="*/ 85346 h 346905"/>
                <a:gd name="connsiteX83" fmla="*/ 352 w 1716673"/>
                <a:gd name="connsiteY83" fmla="*/ 261721 h 346905"/>
                <a:gd name="connsiteX84" fmla="*/ 92911 w 1716673"/>
                <a:gd name="connsiteY84" fmla="*/ 346983 h 346905"/>
                <a:gd name="connsiteX85" fmla="*/ 276199 w 1716673"/>
                <a:gd name="connsiteY85" fmla="*/ 346983 h 346905"/>
                <a:gd name="connsiteX86" fmla="*/ 288293 w 1716673"/>
                <a:gd name="connsiteY86" fmla="*/ 336094 h 346905"/>
                <a:gd name="connsiteX87" fmla="*/ 288293 w 1716673"/>
                <a:gd name="connsiteY87" fmla="*/ 294670 h 346905"/>
                <a:gd name="connsiteX88" fmla="*/ 276199 w 1716673"/>
                <a:gd name="connsiteY88" fmla="*/ 283793 h 346905"/>
                <a:gd name="connsiteX89" fmla="*/ 94179 w 1716673"/>
                <a:gd name="connsiteY89" fmla="*/ 283793 h 346905"/>
                <a:gd name="connsiteX90" fmla="*/ 69475 w 1716673"/>
                <a:gd name="connsiteY90" fmla="*/ 260631 h 346905"/>
                <a:gd name="connsiteX91" fmla="*/ 69475 w 1716673"/>
                <a:gd name="connsiteY91" fmla="*/ 212230 h 346905"/>
                <a:gd name="connsiteX92" fmla="*/ 178333 w 1716673"/>
                <a:gd name="connsiteY92" fmla="*/ 212230 h 346905"/>
                <a:gd name="connsiteX93" fmla="*/ 190420 w 1716673"/>
                <a:gd name="connsiteY93" fmla="*/ 201334 h 346905"/>
                <a:gd name="connsiteX94" fmla="*/ 190420 w 1716673"/>
                <a:gd name="connsiteY94" fmla="*/ 160790 h 346905"/>
                <a:gd name="connsiteX95" fmla="*/ 178333 w 1716673"/>
                <a:gd name="connsiteY95" fmla="*/ 149881 h 346905"/>
                <a:gd name="connsiteX96" fmla="*/ 69475 w 1716673"/>
                <a:gd name="connsiteY96" fmla="*/ 149881 h 346905"/>
                <a:gd name="connsiteX97" fmla="*/ 69475 w 1716673"/>
                <a:gd name="connsiteY97" fmla="*/ 86481 h 346905"/>
                <a:gd name="connsiteX98" fmla="*/ 94179 w 1716673"/>
                <a:gd name="connsiteY98" fmla="*/ 63306 h 346905"/>
                <a:gd name="connsiteX99" fmla="*/ 397068 w 1716673"/>
                <a:gd name="connsiteY99" fmla="*/ 63312 h 346905"/>
                <a:gd name="connsiteX100" fmla="*/ 397068 w 1716673"/>
                <a:gd name="connsiteY100" fmla="*/ 334647 h 346905"/>
                <a:gd name="connsiteX101" fmla="*/ 385943 w 1716673"/>
                <a:gd name="connsiteY101" fmla="*/ 346977 h 346905"/>
                <a:gd name="connsiteX102" fmla="*/ 339026 w 1716673"/>
                <a:gd name="connsiteY102" fmla="*/ 346977 h 346905"/>
                <a:gd name="connsiteX103" fmla="*/ 327914 w 1716673"/>
                <a:gd name="connsiteY103" fmla="*/ 334647 h 346905"/>
                <a:gd name="connsiteX104" fmla="*/ 327914 w 1716673"/>
                <a:gd name="connsiteY104" fmla="*/ 12439 h 346905"/>
                <a:gd name="connsiteX105" fmla="*/ 339026 w 1716673"/>
                <a:gd name="connsiteY105" fmla="*/ 90 h 346905"/>
                <a:gd name="connsiteX106" fmla="*/ 481840 w 1716673"/>
                <a:gd name="connsiteY106" fmla="*/ 90 h 346905"/>
                <a:gd name="connsiteX107" fmla="*/ 615855 w 1716673"/>
                <a:gd name="connsiteY107" fmla="*/ 123756 h 346905"/>
                <a:gd name="connsiteX108" fmla="*/ 615855 w 1716673"/>
                <a:gd name="connsiteY108" fmla="*/ 335883 h 346905"/>
                <a:gd name="connsiteX109" fmla="*/ 603519 w 1716673"/>
                <a:gd name="connsiteY109" fmla="*/ 346977 h 346905"/>
                <a:gd name="connsiteX110" fmla="*/ 559119 w 1716673"/>
                <a:gd name="connsiteY110" fmla="*/ 346977 h 346905"/>
                <a:gd name="connsiteX111" fmla="*/ 546789 w 1716673"/>
                <a:gd name="connsiteY111" fmla="*/ 335883 h 346905"/>
                <a:gd name="connsiteX112" fmla="*/ 546789 w 1716673"/>
                <a:gd name="connsiteY112" fmla="*/ 123756 h 346905"/>
                <a:gd name="connsiteX113" fmla="*/ 481840 w 1716673"/>
                <a:gd name="connsiteY113" fmla="*/ 63344 h 346905"/>
                <a:gd name="connsiteX114" fmla="*/ 397068 w 1716673"/>
                <a:gd name="connsiteY114" fmla="*/ 63312 h 34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716673" h="346905">
                  <a:moveTo>
                    <a:pt x="1386323" y="26425"/>
                  </a:moveTo>
                  <a:lnTo>
                    <a:pt x="1386221" y="12407"/>
                  </a:lnTo>
                  <a:cubicBezTo>
                    <a:pt x="1386221" y="5608"/>
                    <a:pt x="1381238" y="78"/>
                    <a:pt x="1375114" y="78"/>
                  </a:cubicBezTo>
                  <a:lnTo>
                    <a:pt x="1328351" y="78"/>
                  </a:lnTo>
                  <a:cubicBezTo>
                    <a:pt x="1322234" y="78"/>
                    <a:pt x="1317245" y="5608"/>
                    <a:pt x="1317245" y="12407"/>
                  </a:cubicBezTo>
                  <a:lnTo>
                    <a:pt x="1317245" y="26425"/>
                  </a:lnTo>
                  <a:lnTo>
                    <a:pt x="1317251" y="26425"/>
                  </a:lnTo>
                  <a:lnTo>
                    <a:pt x="1317353" y="50976"/>
                  </a:lnTo>
                  <a:cubicBezTo>
                    <a:pt x="1317353" y="57775"/>
                    <a:pt x="1322329" y="63306"/>
                    <a:pt x="1328459" y="63306"/>
                  </a:cubicBezTo>
                  <a:lnTo>
                    <a:pt x="1375223" y="63306"/>
                  </a:lnTo>
                  <a:cubicBezTo>
                    <a:pt x="1381340" y="63306"/>
                    <a:pt x="1386329" y="57775"/>
                    <a:pt x="1386329" y="50976"/>
                  </a:cubicBezTo>
                  <a:lnTo>
                    <a:pt x="1386329" y="26425"/>
                  </a:lnTo>
                  <a:lnTo>
                    <a:pt x="1386323" y="26425"/>
                  </a:lnTo>
                  <a:close/>
                  <a:moveTo>
                    <a:pt x="1386323" y="218602"/>
                  </a:moveTo>
                  <a:lnTo>
                    <a:pt x="1386221" y="102640"/>
                  </a:lnTo>
                  <a:cubicBezTo>
                    <a:pt x="1386221" y="95835"/>
                    <a:pt x="1381238" y="90310"/>
                    <a:pt x="1375114" y="90310"/>
                  </a:cubicBezTo>
                  <a:lnTo>
                    <a:pt x="1328351" y="90310"/>
                  </a:lnTo>
                  <a:cubicBezTo>
                    <a:pt x="1322234" y="90310"/>
                    <a:pt x="1317245" y="95835"/>
                    <a:pt x="1317245" y="102640"/>
                  </a:cubicBezTo>
                  <a:lnTo>
                    <a:pt x="1317245" y="218602"/>
                  </a:lnTo>
                  <a:lnTo>
                    <a:pt x="1317251" y="218602"/>
                  </a:lnTo>
                  <a:lnTo>
                    <a:pt x="1317353" y="334558"/>
                  </a:lnTo>
                  <a:cubicBezTo>
                    <a:pt x="1317353" y="341357"/>
                    <a:pt x="1322329" y="346888"/>
                    <a:pt x="1328459" y="346888"/>
                  </a:cubicBezTo>
                  <a:lnTo>
                    <a:pt x="1375223" y="346888"/>
                  </a:lnTo>
                  <a:cubicBezTo>
                    <a:pt x="1381340" y="346888"/>
                    <a:pt x="1386329" y="341357"/>
                    <a:pt x="1386329" y="334558"/>
                  </a:cubicBezTo>
                  <a:lnTo>
                    <a:pt x="1386329" y="218602"/>
                  </a:lnTo>
                  <a:lnTo>
                    <a:pt x="1386323" y="218602"/>
                  </a:lnTo>
                  <a:close/>
                  <a:moveTo>
                    <a:pt x="1151339" y="78"/>
                  </a:moveTo>
                  <a:lnTo>
                    <a:pt x="1000796" y="78"/>
                  </a:lnTo>
                  <a:cubicBezTo>
                    <a:pt x="994666" y="78"/>
                    <a:pt x="989683" y="5627"/>
                    <a:pt x="989683" y="12439"/>
                  </a:cubicBezTo>
                  <a:lnTo>
                    <a:pt x="989683" y="216448"/>
                  </a:lnTo>
                  <a:cubicBezTo>
                    <a:pt x="989683" y="223260"/>
                    <a:pt x="994659" y="228791"/>
                    <a:pt x="1000776" y="228791"/>
                  </a:cubicBezTo>
                  <a:lnTo>
                    <a:pt x="1047636" y="228791"/>
                  </a:lnTo>
                  <a:cubicBezTo>
                    <a:pt x="1053765" y="228791"/>
                    <a:pt x="1058742" y="223260"/>
                    <a:pt x="1058742" y="216448"/>
                  </a:cubicBezTo>
                  <a:lnTo>
                    <a:pt x="1058806" y="63274"/>
                  </a:lnTo>
                  <a:lnTo>
                    <a:pt x="1143597" y="63306"/>
                  </a:lnTo>
                  <a:cubicBezTo>
                    <a:pt x="1179420" y="63306"/>
                    <a:pt x="1208559" y="90412"/>
                    <a:pt x="1208559" y="123731"/>
                  </a:cubicBezTo>
                  <a:lnTo>
                    <a:pt x="1208559" y="235124"/>
                  </a:lnTo>
                  <a:cubicBezTo>
                    <a:pt x="1208559" y="268430"/>
                    <a:pt x="1179420" y="283634"/>
                    <a:pt x="1143597" y="283634"/>
                  </a:cubicBezTo>
                  <a:lnTo>
                    <a:pt x="989683" y="283793"/>
                  </a:lnTo>
                  <a:lnTo>
                    <a:pt x="989683" y="346983"/>
                  </a:lnTo>
                  <a:lnTo>
                    <a:pt x="1143597" y="346888"/>
                  </a:lnTo>
                  <a:cubicBezTo>
                    <a:pt x="1217498" y="346888"/>
                    <a:pt x="1277624" y="303310"/>
                    <a:pt x="1277624" y="235124"/>
                  </a:cubicBezTo>
                  <a:lnTo>
                    <a:pt x="1277624" y="123004"/>
                  </a:lnTo>
                  <a:cubicBezTo>
                    <a:pt x="1277624" y="57578"/>
                    <a:pt x="1222730" y="78"/>
                    <a:pt x="1151339" y="78"/>
                  </a:cubicBezTo>
                  <a:moveTo>
                    <a:pt x="1717026" y="227440"/>
                  </a:moveTo>
                  <a:cubicBezTo>
                    <a:pt x="1717026" y="224305"/>
                    <a:pt x="1717000" y="221094"/>
                    <a:pt x="1716694" y="217608"/>
                  </a:cubicBezTo>
                  <a:cubicBezTo>
                    <a:pt x="1713285" y="179077"/>
                    <a:pt x="1673575" y="149881"/>
                    <a:pt x="1631712" y="149881"/>
                  </a:cubicBezTo>
                  <a:lnTo>
                    <a:pt x="1527881" y="149881"/>
                  </a:lnTo>
                  <a:lnTo>
                    <a:pt x="1525218" y="149875"/>
                  </a:lnTo>
                  <a:cubicBezTo>
                    <a:pt x="1508587" y="149875"/>
                    <a:pt x="1495066" y="135137"/>
                    <a:pt x="1495066" y="117040"/>
                  </a:cubicBezTo>
                  <a:lnTo>
                    <a:pt x="1495168" y="93477"/>
                  </a:lnTo>
                  <a:cubicBezTo>
                    <a:pt x="1495168" y="76859"/>
                    <a:pt x="1509900" y="63331"/>
                    <a:pt x="1528002" y="63331"/>
                  </a:cubicBezTo>
                  <a:lnTo>
                    <a:pt x="1568980" y="63331"/>
                  </a:lnTo>
                  <a:lnTo>
                    <a:pt x="1569382" y="63344"/>
                  </a:lnTo>
                  <a:lnTo>
                    <a:pt x="1672932" y="63344"/>
                  </a:lnTo>
                  <a:cubicBezTo>
                    <a:pt x="1678227" y="63344"/>
                    <a:pt x="1682917" y="60260"/>
                    <a:pt x="1684599" y="55666"/>
                  </a:cubicBezTo>
                  <a:cubicBezTo>
                    <a:pt x="1685045" y="54443"/>
                    <a:pt x="1685261" y="53321"/>
                    <a:pt x="1685261" y="52238"/>
                  </a:cubicBezTo>
                  <a:lnTo>
                    <a:pt x="1685261" y="11184"/>
                  </a:lnTo>
                  <a:cubicBezTo>
                    <a:pt x="1685261" y="5054"/>
                    <a:pt x="1679731" y="90"/>
                    <a:pt x="1672932" y="90"/>
                  </a:cubicBezTo>
                  <a:lnTo>
                    <a:pt x="1511391" y="109"/>
                  </a:lnTo>
                  <a:cubicBezTo>
                    <a:pt x="1464583" y="109"/>
                    <a:pt x="1425943" y="35442"/>
                    <a:pt x="1425943" y="78841"/>
                  </a:cubicBezTo>
                  <a:lnTo>
                    <a:pt x="1425950" y="127955"/>
                  </a:lnTo>
                  <a:cubicBezTo>
                    <a:pt x="1425950" y="174770"/>
                    <a:pt x="1461276" y="212855"/>
                    <a:pt x="1504707" y="212855"/>
                  </a:cubicBezTo>
                  <a:lnTo>
                    <a:pt x="1617904" y="212855"/>
                  </a:lnTo>
                  <a:cubicBezTo>
                    <a:pt x="1634522" y="212855"/>
                    <a:pt x="1647896" y="227587"/>
                    <a:pt x="1647896" y="245695"/>
                  </a:cubicBezTo>
                  <a:lnTo>
                    <a:pt x="1647896" y="253571"/>
                  </a:lnTo>
                  <a:cubicBezTo>
                    <a:pt x="1647896" y="270195"/>
                    <a:pt x="1633324" y="283710"/>
                    <a:pt x="1615221" y="283710"/>
                  </a:cubicBezTo>
                  <a:lnTo>
                    <a:pt x="1438279" y="283710"/>
                  </a:lnTo>
                  <a:cubicBezTo>
                    <a:pt x="1432978" y="283710"/>
                    <a:pt x="1428288" y="286775"/>
                    <a:pt x="1426625" y="291344"/>
                  </a:cubicBezTo>
                  <a:cubicBezTo>
                    <a:pt x="1426160" y="292593"/>
                    <a:pt x="1425937" y="293727"/>
                    <a:pt x="1425937" y="294804"/>
                  </a:cubicBezTo>
                  <a:lnTo>
                    <a:pt x="1425937" y="335858"/>
                  </a:lnTo>
                  <a:cubicBezTo>
                    <a:pt x="1425937" y="341981"/>
                    <a:pt x="1431474" y="346964"/>
                    <a:pt x="1438279" y="346964"/>
                  </a:cubicBezTo>
                  <a:lnTo>
                    <a:pt x="1583113" y="346964"/>
                  </a:lnTo>
                  <a:lnTo>
                    <a:pt x="1632241" y="346939"/>
                  </a:lnTo>
                  <a:cubicBezTo>
                    <a:pt x="1679036" y="346939"/>
                    <a:pt x="1717026" y="311613"/>
                    <a:pt x="1717026" y="268169"/>
                  </a:cubicBezTo>
                  <a:lnTo>
                    <a:pt x="1717026" y="227440"/>
                  </a:lnTo>
                  <a:close/>
                  <a:moveTo>
                    <a:pt x="94179" y="63306"/>
                  </a:moveTo>
                  <a:lnTo>
                    <a:pt x="276199" y="63306"/>
                  </a:lnTo>
                  <a:cubicBezTo>
                    <a:pt x="282864" y="63306"/>
                    <a:pt x="288293" y="58425"/>
                    <a:pt x="288293" y="52423"/>
                  </a:cubicBezTo>
                  <a:lnTo>
                    <a:pt x="288293" y="10999"/>
                  </a:lnTo>
                  <a:cubicBezTo>
                    <a:pt x="288293" y="4984"/>
                    <a:pt x="283119" y="78"/>
                    <a:pt x="276199" y="78"/>
                  </a:cubicBezTo>
                  <a:lnTo>
                    <a:pt x="92911" y="78"/>
                  </a:lnTo>
                  <a:cubicBezTo>
                    <a:pt x="41878" y="78"/>
                    <a:pt x="352" y="38283"/>
                    <a:pt x="352" y="85346"/>
                  </a:cubicBezTo>
                  <a:lnTo>
                    <a:pt x="352" y="261721"/>
                  </a:lnTo>
                  <a:cubicBezTo>
                    <a:pt x="352" y="308765"/>
                    <a:pt x="41878" y="346983"/>
                    <a:pt x="92911" y="346983"/>
                  </a:cubicBezTo>
                  <a:lnTo>
                    <a:pt x="276199" y="346983"/>
                  </a:lnTo>
                  <a:cubicBezTo>
                    <a:pt x="282864" y="346983"/>
                    <a:pt x="288293" y="342096"/>
                    <a:pt x="288293" y="336094"/>
                  </a:cubicBezTo>
                  <a:lnTo>
                    <a:pt x="288293" y="294670"/>
                  </a:lnTo>
                  <a:cubicBezTo>
                    <a:pt x="288293" y="288668"/>
                    <a:pt x="282864" y="283793"/>
                    <a:pt x="276199" y="283793"/>
                  </a:cubicBezTo>
                  <a:lnTo>
                    <a:pt x="94179" y="283793"/>
                  </a:lnTo>
                  <a:cubicBezTo>
                    <a:pt x="80791" y="283793"/>
                    <a:pt x="69475" y="273184"/>
                    <a:pt x="69475" y="260631"/>
                  </a:cubicBezTo>
                  <a:lnTo>
                    <a:pt x="69475" y="212230"/>
                  </a:lnTo>
                  <a:lnTo>
                    <a:pt x="178333" y="212230"/>
                  </a:lnTo>
                  <a:cubicBezTo>
                    <a:pt x="184998" y="212230"/>
                    <a:pt x="190420" y="207337"/>
                    <a:pt x="190420" y="201334"/>
                  </a:cubicBezTo>
                  <a:lnTo>
                    <a:pt x="190420" y="160790"/>
                  </a:lnTo>
                  <a:cubicBezTo>
                    <a:pt x="190420" y="154775"/>
                    <a:pt x="184998" y="149881"/>
                    <a:pt x="178333" y="149881"/>
                  </a:cubicBezTo>
                  <a:lnTo>
                    <a:pt x="69475" y="149881"/>
                  </a:lnTo>
                  <a:lnTo>
                    <a:pt x="69475" y="86481"/>
                  </a:lnTo>
                  <a:cubicBezTo>
                    <a:pt x="69475" y="73915"/>
                    <a:pt x="80791" y="63306"/>
                    <a:pt x="94179" y="63306"/>
                  </a:cubicBezTo>
                  <a:moveTo>
                    <a:pt x="397068" y="63312"/>
                  </a:moveTo>
                  <a:lnTo>
                    <a:pt x="397068" y="334647"/>
                  </a:lnTo>
                  <a:cubicBezTo>
                    <a:pt x="397068" y="341446"/>
                    <a:pt x="392073" y="346977"/>
                    <a:pt x="385943" y="346977"/>
                  </a:cubicBezTo>
                  <a:lnTo>
                    <a:pt x="339026" y="346977"/>
                  </a:lnTo>
                  <a:cubicBezTo>
                    <a:pt x="332897" y="346977"/>
                    <a:pt x="327914" y="341446"/>
                    <a:pt x="327914" y="334647"/>
                  </a:cubicBezTo>
                  <a:lnTo>
                    <a:pt x="327914" y="12439"/>
                  </a:lnTo>
                  <a:cubicBezTo>
                    <a:pt x="327914" y="5627"/>
                    <a:pt x="332897" y="90"/>
                    <a:pt x="339026" y="90"/>
                  </a:cubicBezTo>
                  <a:lnTo>
                    <a:pt x="481840" y="90"/>
                  </a:lnTo>
                  <a:cubicBezTo>
                    <a:pt x="555736" y="90"/>
                    <a:pt x="615855" y="55558"/>
                    <a:pt x="615855" y="123756"/>
                  </a:cubicBezTo>
                  <a:lnTo>
                    <a:pt x="615855" y="335883"/>
                  </a:lnTo>
                  <a:cubicBezTo>
                    <a:pt x="615855" y="342007"/>
                    <a:pt x="610324" y="346977"/>
                    <a:pt x="603519" y="346977"/>
                  </a:cubicBezTo>
                  <a:lnTo>
                    <a:pt x="559119" y="346977"/>
                  </a:lnTo>
                  <a:cubicBezTo>
                    <a:pt x="552320" y="346977"/>
                    <a:pt x="546789" y="342007"/>
                    <a:pt x="546789" y="335883"/>
                  </a:cubicBezTo>
                  <a:lnTo>
                    <a:pt x="546789" y="123756"/>
                  </a:lnTo>
                  <a:cubicBezTo>
                    <a:pt x="546789" y="90450"/>
                    <a:pt x="517657" y="63344"/>
                    <a:pt x="481840" y="63344"/>
                  </a:cubicBezTo>
                  <a:lnTo>
                    <a:pt x="397068" y="63312"/>
                  </a:lnTo>
                  <a:close/>
                </a:path>
              </a:pathLst>
            </a:custGeom>
            <a:solidFill>
              <a:schemeClr val="tx2"/>
            </a:solidFill>
            <a:ln w="6362" cap="flat">
              <a:noFill/>
              <a:prstDash val="solid"/>
              <a:round/>
            </a:ln>
          </p:spPr>
          <p:txBody>
            <a:bodyPr rtlCol="0" anchor="ctr"/>
            <a:lstStyle/>
            <a:p>
              <a:endParaRPr lang="fr-FR"/>
            </a:p>
          </p:txBody>
        </p:sp>
      </p:grpSp>
      <p:sp>
        <p:nvSpPr>
          <p:cNvPr id="13" name="Espace réservé du texte 12">
            <a:extLst>
              <a:ext uri="{FF2B5EF4-FFF2-40B4-BE49-F238E27FC236}">
                <a16:creationId xmlns:a16="http://schemas.microsoft.com/office/drawing/2014/main" id="{F9B6F8A9-9A1E-478A-8B80-2A55B884E0AE}"/>
              </a:ext>
            </a:extLst>
          </p:cNvPr>
          <p:cNvSpPr>
            <a:spLocks noGrp="1"/>
          </p:cNvSpPr>
          <p:nvPr>
            <p:ph type="body" sz="quarter" idx="13" hasCustomPrompt="1"/>
          </p:nvPr>
        </p:nvSpPr>
        <p:spPr>
          <a:xfrm>
            <a:off x="9058786" y="6168695"/>
            <a:ext cx="2636837" cy="207749"/>
          </a:xfrm>
        </p:spPr>
        <p:txBody>
          <a:bodyPr/>
          <a:lstStyle>
            <a:lvl1pPr algn="r">
              <a:defRPr sz="1500">
                <a:solidFill>
                  <a:schemeClr val="tx2"/>
                </a:solidFill>
                <a:latin typeface="Enedis Light" pitchFamily="50" charset="0"/>
              </a:defRPr>
            </a:lvl1pPr>
          </a:lstStyle>
          <a:p>
            <a:pPr lvl="0"/>
            <a:r>
              <a:rPr lang="fr-FR"/>
              <a:t>00 / 00 / 2021</a:t>
            </a:r>
          </a:p>
        </p:txBody>
      </p:sp>
      <p:pic>
        <p:nvPicPr>
          <p:cNvPr id="12" name="Graphique 11">
            <a:extLst>
              <a:ext uri="{FF2B5EF4-FFF2-40B4-BE49-F238E27FC236}">
                <a16:creationId xmlns:a16="http://schemas.microsoft.com/office/drawing/2014/main" id="{B8B49D24-AAE8-4F13-AFEA-073C45BC55A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0" y="3702273"/>
            <a:ext cx="12192000" cy="1714054"/>
          </a:xfrm>
          <a:prstGeom prst="rect">
            <a:avLst/>
          </a:prstGeom>
        </p:spPr>
      </p:pic>
    </p:spTree>
    <p:extLst>
      <p:ext uri="{BB962C8B-B14F-4D97-AF65-F5344CB8AC3E}">
        <p14:creationId xmlns:p14="http://schemas.microsoft.com/office/powerpoint/2010/main" val="31236806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uverture A">
    <p:bg>
      <p:bgPr>
        <a:solidFill>
          <a:schemeClr val="tx2"/>
        </a:solidFill>
        <a:effectLst/>
      </p:bgPr>
    </p:bg>
    <p:spTree>
      <p:nvGrpSpPr>
        <p:cNvPr id="1" name=""/>
        <p:cNvGrpSpPr/>
        <p:nvPr/>
      </p:nvGrpSpPr>
      <p:grpSpPr>
        <a:xfrm>
          <a:off x="0" y="0"/>
          <a:ext cx="0" cy="0"/>
          <a:chOff x="0" y="0"/>
          <a:chExt cx="0" cy="0"/>
        </a:xfrm>
      </p:grpSpPr>
      <p:pic>
        <p:nvPicPr>
          <p:cNvPr id="10" name="Graphique 9">
            <a:extLst>
              <a:ext uri="{FF2B5EF4-FFF2-40B4-BE49-F238E27FC236}">
                <a16:creationId xmlns:a16="http://schemas.microsoft.com/office/drawing/2014/main" id="{E7E00268-DFEE-40A0-8BA0-46BB9D234D68}"/>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3125"/>
          <a:stretch/>
        </p:blipFill>
        <p:spPr>
          <a:xfrm>
            <a:off x="-1" y="605605"/>
            <a:ext cx="12192001" cy="5652000"/>
          </a:xfrm>
          <a:prstGeom prst="rect">
            <a:avLst/>
          </a:prstGeom>
        </p:spPr>
      </p:pic>
      <p:sp>
        <p:nvSpPr>
          <p:cNvPr id="2" name="Title 1"/>
          <p:cNvSpPr>
            <a:spLocks noGrp="1"/>
          </p:cNvSpPr>
          <p:nvPr>
            <p:ph type="ctrTitle" hasCustomPrompt="1"/>
          </p:nvPr>
        </p:nvSpPr>
        <p:spPr>
          <a:xfrm>
            <a:off x="482248" y="461010"/>
            <a:ext cx="7320632" cy="2161361"/>
          </a:xfrm>
        </p:spPr>
        <p:txBody>
          <a:bodyPr anchor="b"/>
          <a:lstStyle>
            <a:lvl1pPr algn="l">
              <a:lnSpc>
                <a:spcPct val="76000"/>
              </a:lnSpc>
              <a:defRPr sz="6000">
                <a:solidFill>
                  <a:schemeClr val="bg1"/>
                </a:solidFill>
              </a:defRPr>
            </a:lvl1pPr>
          </a:lstStyle>
          <a:p>
            <a:r>
              <a:rPr lang="fr-FR"/>
              <a:t>Titre de la </a:t>
            </a:r>
            <a:br>
              <a:rPr lang="fr-FR"/>
            </a:br>
            <a:r>
              <a:rPr lang="fr-FR"/>
              <a:t>présentation </a:t>
            </a:r>
            <a:br>
              <a:rPr lang="fr-FR"/>
            </a:br>
            <a:r>
              <a:rPr lang="fr-FR"/>
              <a:t>sur trois lignes</a:t>
            </a:r>
            <a:endParaRPr lang="en-US"/>
          </a:p>
        </p:txBody>
      </p:sp>
      <p:sp>
        <p:nvSpPr>
          <p:cNvPr id="3" name="Subtitle 2"/>
          <p:cNvSpPr>
            <a:spLocks noGrp="1"/>
          </p:cNvSpPr>
          <p:nvPr>
            <p:ph type="subTitle" idx="1" hasCustomPrompt="1"/>
          </p:nvPr>
        </p:nvSpPr>
        <p:spPr>
          <a:xfrm>
            <a:off x="494948" y="2854145"/>
            <a:ext cx="6432902" cy="615553"/>
          </a:xfrm>
        </p:spPr>
        <p:txBody>
          <a:bodyPr/>
          <a:lstStyle>
            <a:lvl1pPr marL="0" indent="0" algn="l">
              <a:lnSpc>
                <a:spcPct val="80000"/>
              </a:lnSpc>
              <a:buNone/>
              <a:defRPr sz="2500">
                <a:solidFill>
                  <a:schemeClr val="bg1"/>
                </a:solidFill>
                <a:latin typeface="Enedis Light" pitchFamily="50"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Sous-titre de la présentation </a:t>
            </a:r>
            <a:br>
              <a:rPr lang="fr-FR"/>
            </a:br>
            <a:r>
              <a:rPr lang="fr-FR"/>
              <a:t>sur deux lignes</a:t>
            </a:r>
            <a:endParaRPr lang="en-US"/>
          </a:p>
        </p:txBody>
      </p:sp>
      <p:pic>
        <p:nvPicPr>
          <p:cNvPr id="11" name="Graphique 10">
            <a:extLst>
              <a:ext uri="{FF2B5EF4-FFF2-40B4-BE49-F238E27FC236}">
                <a16:creationId xmlns:a16="http://schemas.microsoft.com/office/drawing/2014/main" id="{DDD9CC10-5D4B-493F-9CC4-F817D28FB66C}"/>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513998" y="5991463"/>
            <a:ext cx="1717234" cy="347269"/>
          </a:xfrm>
          <a:prstGeom prst="rect">
            <a:avLst/>
          </a:prstGeom>
        </p:spPr>
      </p:pic>
      <p:sp>
        <p:nvSpPr>
          <p:cNvPr id="13" name="Espace réservé du texte 12">
            <a:extLst>
              <a:ext uri="{FF2B5EF4-FFF2-40B4-BE49-F238E27FC236}">
                <a16:creationId xmlns:a16="http://schemas.microsoft.com/office/drawing/2014/main" id="{F9B6F8A9-9A1E-478A-8B80-2A55B884E0AE}"/>
              </a:ext>
            </a:extLst>
          </p:cNvPr>
          <p:cNvSpPr>
            <a:spLocks noGrp="1"/>
          </p:cNvSpPr>
          <p:nvPr>
            <p:ph type="body" sz="quarter" idx="13" hasCustomPrompt="1"/>
          </p:nvPr>
        </p:nvSpPr>
        <p:spPr>
          <a:xfrm>
            <a:off x="9058786" y="6168695"/>
            <a:ext cx="2636837" cy="207749"/>
          </a:xfrm>
        </p:spPr>
        <p:txBody>
          <a:bodyPr/>
          <a:lstStyle>
            <a:lvl1pPr algn="r">
              <a:defRPr sz="1500">
                <a:solidFill>
                  <a:schemeClr val="bg1"/>
                </a:solidFill>
                <a:latin typeface="Enedis Light" pitchFamily="50" charset="0"/>
              </a:defRPr>
            </a:lvl1pPr>
          </a:lstStyle>
          <a:p>
            <a:pPr lvl="0"/>
            <a:r>
              <a:rPr lang="fr-FR"/>
              <a:t>00 / 00 / 2021</a:t>
            </a:r>
          </a:p>
        </p:txBody>
      </p:sp>
    </p:spTree>
    <p:extLst>
      <p:ext uri="{BB962C8B-B14F-4D97-AF65-F5344CB8AC3E}">
        <p14:creationId xmlns:p14="http://schemas.microsoft.com/office/powerpoint/2010/main" val="30383795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hapitre 4 (fond bleu)">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248" y="1219874"/>
            <a:ext cx="7320632" cy="1408847"/>
          </a:xfrm>
        </p:spPr>
        <p:txBody>
          <a:bodyPr anchor="b"/>
          <a:lstStyle>
            <a:lvl1pPr algn="l">
              <a:lnSpc>
                <a:spcPct val="76000"/>
              </a:lnSpc>
              <a:defRPr sz="6000">
                <a:solidFill>
                  <a:schemeClr val="bg1"/>
                </a:solidFill>
              </a:defRPr>
            </a:lvl1pPr>
          </a:lstStyle>
          <a:p>
            <a:r>
              <a:rPr lang="fr-FR"/>
              <a:t>Titre du chapitre</a:t>
            </a:r>
            <a:br>
              <a:rPr lang="fr-FR"/>
            </a:br>
            <a:r>
              <a:rPr lang="fr-FR"/>
              <a:t>sur deux lignes</a:t>
            </a:r>
            <a:endParaRPr lang="en-US"/>
          </a:p>
        </p:txBody>
      </p:sp>
      <p:sp>
        <p:nvSpPr>
          <p:cNvPr id="3" name="Subtitle 2"/>
          <p:cNvSpPr>
            <a:spLocks noGrp="1"/>
          </p:cNvSpPr>
          <p:nvPr>
            <p:ph type="subTitle" idx="1" hasCustomPrompt="1"/>
          </p:nvPr>
        </p:nvSpPr>
        <p:spPr>
          <a:xfrm>
            <a:off x="482248" y="3384370"/>
            <a:ext cx="6432902" cy="615553"/>
          </a:xfrm>
        </p:spPr>
        <p:txBody>
          <a:bodyPr/>
          <a:lstStyle>
            <a:lvl1pPr marL="0" indent="0" algn="l">
              <a:lnSpc>
                <a:spcPct val="80000"/>
              </a:lnSpc>
              <a:buNone/>
              <a:defRPr sz="2500">
                <a:solidFill>
                  <a:schemeClr val="bg1"/>
                </a:solidFill>
                <a:latin typeface="Enedis Light" pitchFamily="50"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Sous-titre du chapitre</a:t>
            </a:r>
            <a:br>
              <a:rPr lang="fr-FR"/>
            </a:br>
            <a:r>
              <a:rPr lang="fr-FR"/>
              <a:t>sur deux lignes</a:t>
            </a:r>
            <a:endParaRPr lang="en-US"/>
          </a:p>
        </p:txBody>
      </p:sp>
      <p:grpSp>
        <p:nvGrpSpPr>
          <p:cNvPr id="7" name="Groupe 6">
            <a:extLst>
              <a:ext uri="{FF2B5EF4-FFF2-40B4-BE49-F238E27FC236}">
                <a16:creationId xmlns:a16="http://schemas.microsoft.com/office/drawing/2014/main" id="{B7BC255B-DFCD-4EF7-9463-34D91D976B6D}"/>
              </a:ext>
            </a:extLst>
          </p:cNvPr>
          <p:cNvGrpSpPr>
            <a:grpSpLocks noChangeAspect="1"/>
          </p:cNvGrpSpPr>
          <p:nvPr userDrawn="1"/>
        </p:nvGrpSpPr>
        <p:grpSpPr>
          <a:xfrm>
            <a:off x="518307" y="6473033"/>
            <a:ext cx="767567" cy="155112"/>
            <a:chOff x="3231832" y="7185063"/>
            <a:chExt cx="5132298" cy="1037158"/>
          </a:xfrm>
        </p:grpSpPr>
        <p:sp>
          <p:nvSpPr>
            <p:cNvPr id="8" name="Forme libre : forme 7">
              <a:extLst>
                <a:ext uri="{FF2B5EF4-FFF2-40B4-BE49-F238E27FC236}">
                  <a16:creationId xmlns:a16="http://schemas.microsoft.com/office/drawing/2014/main" id="{DD506600-C9A7-4A00-A946-6E4283064B70}"/>
                </a:ext>
              </a:extLst>
            </p:cNvPr>
            <p:cNvSpPr/>
            <p:nvPr/>
          </p:nvSpPr>
          <p:spPr>
            <a:xfrm>
              <a:off x="5071966" y="7185101"/>
              <a:ext cx="1117644" cy="1037120"/>
            </a:xfrm>
            <a:custGeom>
              <a:avLst/>
              <a:gdLst>
                <a:gd name="connsiteX0" fmla="*/ 519115 w 1117644"/>
                <a:gd name="connsiteY0" fmla="*/ 848219 h 1037120"/>
                <a:gd name="connsiteX1" fmla="*/ 324919 w 1117644"/>
                <a:gd name="connsiteY1" fmla="*/ 668711 h 1037120"/>
                <a:gd name="connsiteX2" fmla="*/ 325338 w 1117644"/>
                <a:gd name="connsiteY2" fmla="*/ 636136 h 1037120"/>
                <a:gd name="connsiteX3" fmla="*/ 739428 w 1117644"/>
                <a:gd name="connsiteY3" fmla="*/ 636136 h 1037120"/>
                <a:gd name="connsiteX4" fmla="*/ 999289 w 1117644"/>
                <a:gd name="connsiteY4" fmla="*/ 394601 h 1037120"/>
                <a:gd name="connsiteX5" fmla="*/ 999289 w 1117644"/>
                <a:gd name="connsiteY5" fmla="*/ 241572 h 1037120"/>
                <a:gd name="connsiteX6" fmla="*/ 739428 w 1117644"/>
                <a:gd name="connsiteY6" fmla="*/ 37 h 1037120"/>
                <a:gd name="connsiteX7" fmla="*/ 378107 w 1117644"/>
                <a:gd name="connsiteY7" fmla="*/ 37 h 1037120"/>
                <a:gd name="connsiteX8" fmla="*/ 317775 w 1117644"/>
                <a:gd name="connsiteY8" fmla="*/ 4647 h 1037120"/>
                <a:gd name="connsiteX9" fmla="*/ 118684 w 1117644"/>
                <a:gd name="connsiteY9" fmla="*/ 241572 h 1037120"/>
                <a:gd name="connsiteX10" fmla="*/ 118684 w 1117644"/>
                <a:gd name="connsiteY10" fmla="*/ 330402 h 1037120"/>
                <a:gd name="connsiteX11" fmla="*/ 151850 w 1117644"/>
                <a:gd name="connsiteY11" fmla="*/ 367302 h 1037120"/>
                <a:gd name="connsiteX12" fmla="*/ 292096 w 1117644"/>
                <a:gd name="connsiteY12" fmla="*/ 367302 h 1037120"/>
                <a:gd name="connsiteX13" fmla="*/ 325300 w 1117644"/>
                <a:gd name="connsiteY13" fmla="*/ 330402 h 1037120"/>
                <a:gd name="connsiteX14" fmla="*/ 325300 w 1117644"/>
                <a:gd name="connsiteY14" fmla="*/ 273062 h 1037120"/>
                <a:gd name="connsiteX15" fmla="*/ 417369 w 1117644"/>
                <a:gd name="connsiteY15" fmla="*/ 188994 h 1037120"/>
                <a:gd name="connsiteX16" fmla="*/ 700680 w 1117644"/>
                <a:gd name="connsiteY16" fmla="*/ 188994 h 1037120"/>
                <a:gd name="connsiteX17" fmla="*/ 792768 w 1117644"/>
                <a:gd name="connsiteY17" fmla="*/ 273062 h 1037120"/>
                <a:gd name="connsiteX18" fmla="*/ 792768 w 1117644"/>
                <a:gd name="connsiteY18" fmla="*/ 363892 h 1037120"/>
                <a:gd name="connsiteX19" fmla="*/ 700680 w 1117644"/>
                <a:gd name="connsiteY19" fmla="*/ 447884 h 1037120"/>
                <a:gd name="connsiteX20" fmla="*/ 250 w 1117644"/>
                <a:gd name="connsiteY20" fmla="*/ 447884 h 1037120"/>
                <a:gd name="connsiteX21" fmla="*/ 250 w 1117644"/>
                <a:gd name="connsiteY21" fmla="*/ 636136 h 1037120"/>
                <a:gd name="connsiteX22" fmla="*/ 118188 w 1117644"/>
                <a:gd name="connsiteY22" fmla="*/ 636136 h 1037120"/>
                <a:gd name="connsiteX23" fmla="*/ 118188 w 1117644"/>
                <a:gd name="connsiteY23" fmla="*/ 668673 h 1037120"/>
                <a:gd name="connsiteX24" fmla="*/ 519800 w 1117644"/>
                <a:gd name="connsiteY24" fmla="*/ 1037157 h 1037120"/>
                <a:gd name="connsiteX25" fmla="*/ 1117894 w 1117644"/>
                <a:gd name="connsiteY25" fmla="*/ 1037157 h 1037120"/>
                <a:gd name="connsiteX26" fmla="*/ 1117894 w 1117644"/>
                <a:gd name="connsiteY26" fmla="*/ 848200 h 1037120"/>
                <a:gd name="connsiteX27" fmla="*/ 519115 w 1117644"/>
                <a:gd name="connsiteY27" fmla="*/ 848219 h 103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17644" h="1037120">
                  <a:moveTo>
                    <a:pt x="519115" y="848219"/>
                  </a:moveTo>
                  <a:cubicBezTo>
                    <a:pt x="412035" y="848219"/>
                    <a:pt x="324919" y="768248"/>
                    <a:pt x="324919" y="668711"/>
                  </a:cubicBezTo>
                  <a:lnTo>
                    <a:pt x="325338" y="636136"/>
                  </a:lnTo>
                  <a:lnTo>
                    <a:pt x="739428" y="636136"/>
                  </a:lnTo>
                  <a:cubicBezTo>
                    <a:pt x="882741" y="636136"/>
                    <a:pt x="999289" y="527798"/>
                    <a:pt x="999289" y="394601"/>
                  </a:cubicBezTo>
                  <a:lnTo>
                    <a:pt x="999289" y="241572"/>
                  </a:lnTo>
                  <a:cubicBezTo>
                    <a:pt x="999289" y="108375"/>
                    <a:pt x="882741" y="37"/>
                    <a:pt x="739428" y="37"/>
                  </a:cubicBezTo>
                  <a:lnTo>
                    <a:pt x="378107" y="37"/>
                  </a:lnTo>
                  <a:cubicBezTo>
                    <a:pt x="358028" y="37"/>
                    <a:pt x="337740" y="228"/>
                    <a:pt x="317775" y="4647"/>
                  </a:cubicBezTo>
                  <a:cubicBezTo>
                    <a:pt x="200294" y="30727"/>
                    <a:pt x="118684" y="129349"/>
                    <a:pt x="118684" y="241572"/>
                  </a:cubicBezTo>
                  <a:lnTo>
                    <a:pt x="118684" y="330402"/>
                  </a:lnTo>
                  <a:cubicBezTo>
                    <a:pt x="118684" y="350729"/>
                    <a:pt x="133543" y="367302"/>
                    <a:pt x="151850" y="367302"/>
                  </a:cubicBezTo>
                  <a:lnTo>
                    <a:pt x="292096" y="367302"/>
                  </a:lnTo>
                  <a:cubicBezTo>
                    <a:pt x="310422" y="367302"/>
                    <a:pt x="325300" y="350729"/>
                    <a:pt x="325300" y="330402"/>
                  </a:cubicBezTo>
                  <a:lnTo>
                    <a:pt x="325300" y="273062"/>
                  </a:lnTo>
                  <a:cubicBezTo>
                    <a:pt x="325300" y="226713"/>
                    <a:pt x="366600" y="188994"/>
                    <a:pt x="417369" y="188994"/>
                  </a:cubicBezTo>
                  <a:lnTo>
                    <a:pt x="700680" y="188994"/>
                  </a:lnTo>
                  <a:cubicBezTo>
                    <a:pt x="751467" y="188994"/>
                    <a:pt x="792768" y="226713"/>
                    <a:pt x="792768" y="273062"/>
                  </a:cubicBezTo>
                  <a:lnTo>
                    <a:pt x="792768" y="363892"/>
                  </a:lnTo>
                  <a:cubicBezTo>
                    <a:pt x="792768" y="410203"/>
                    <a:pt x="751467" y="447884"/>
                    <a:pt x="700680" y="447884"/>
                  </a:cubicBezTo>
                  <a:lnTo>
                    <a:pt x="250" y="447884"/>
                  </a:lnTo>
                  <a:lnTo>
                    <a:pt x="250" y="636136"/>
                  </a:lnTo>
                  <a:lnTo>
                    <a:pt x="118188" y="636136"/>
                  </a:lnTo>
                  <a:lnTo>
                    <a:pt x="118188" y="668673"/>
                  </a:lnTo>
                  <a:cubicBezTo>
                    <a:pt x="118188" y="872527"/>
                    <a:pt x="298859" y="1037157"/>
                    <a:pt x="519800" y="1037157"/>
                  </a:cubicBezTo>
                  <a:lnTo>
                    <a:pt x="1117894" y="1037157"/>
                  </a:lnTo>
                  <a:lnTo>
                    <a:pt x="1117894" y="848200"/>
                  </a:lnTo>
                  <a:lnTo>
                    <a:pt x="519115" y="848219"/>
                  </a:lnTo>
                  <a:close/>
                </a:path>
              </a:pathLst>
            </a:custGeom>
            <a:solidFill>
              <a:srgbClr val="96CD32"/>
            </a:solidFill>
            <a:ln w="19050" cap="flat">
              <a:noFill/>
              <a:prstDash val="solid"/>
              <a:round/>
            </a:ln>
          </p:spPr>
          <p:txBody>
            <a:bodyPr rtlCol="0" anchor="ctr"/>
            <a:lstStyle/>
            <a:p>
              <a:endParaRPr lang="fr-FR"/>
            </a:p>
          </p:txBody>
        </p:sp>
        <p:sp>
          <p:nvSpPr>
            <p:cNvPr id="9" name="Forme libre : forme 8">
              <a:extLst>
                <a:ext uri="{FF2B5EF4-FFF2-40B4-BE49-F238E27FC236}">
                  <a16:creationId xmlns:a16="http://schemas.microsoft.com/office/drawing/2014/main" id="{E28A74C4-9E5C-4375-A3C1-F3DDF3707BFD}"/>
                </a:ext>
              </a:extLst>
            </p:cNvPr>
            <p:cNvSpPr/>
            <p:nvPr/>
          </p:nvSpPr>
          <p:spPr>
            <a:xfrm>
              <a:off x="3231832" y="7185063"/>
              <a:ext cx="5132298" cy="1037139"/>
            </a:xfrm>
            <a:custGeom>
              <a:avLst/>
              <a:gdLst>
                <a:gd name="connsiteX0" fmla="*/ 4143956 w 5132298"/>
                <a:gd name="connsiteY0" fmla="*/ 78849 h 1037139"/>
                <a:gd name="connsiteX1" fmla="*/ 4143651 w 5132298"/>
                <a:gd name="connsiteY1" fmla="*/ 36939 h 1037139"/>
                <a:gd name="connsiteX2" fmla="*/ 4110447 w 5132298"/>
                <a:gd name="connsiteY2" fmla="*/ 78 h 1037139"/>
                <a:gd name="connsiteX3" fmla="*/ 3970639 w 5132298"/>
                <a:gd name="connsiteY3" fmla="*/ 78 h 1037139"/>
                <a:gd name="connsiteX4" fmla="*/ 3937435 w 5132298"/>
                <a:gd name="connsiteY4" fmla="*/ 36939 h 1037139"/>
                <a:gd name="connsiteX5" fmla="*/ 3937435 w 5132298"/>
                <a:gd name="connsiteY5" fmla="*/ 78849 h 1037139"/>
                <a:gd name="connsiteX6" fmla="*/ 3937454 w 5132298"/>
                <a:gd name="connsiteY6" fmla="*/ 78849 h 1037139"/>
                <a:gd name="connsiteX7" fmla="*/ 3937759 w 5132298"/>
                <a:gd name="connsiteY7" fmla="*/ 152249 h 1037139"/>
                <a:gd name="connsiteX8" fmla="*/ 3970963 w 5132298"/>
                <a:gd name="connsiteY8" fmla="*/ 189111 h 1037139"/>
                <a:gd name="connsiteX9" fmla="*/ 4110771 w 5132298"/>
                <a:gd name="connsiteY9" fmla="*/ 189111 h 1037139"/>
                <a:gd name="connsiteX10" fmla="*/ 4143975 w 5132298"/>
                <a:gd name="connsiteY10" fmla="*/ 152249 h 1037139"/>
                <a:gd name="connsiteX11" fmla="*/ 4143975 w 5132298"/>
                <a:gd name="connsiteY11" fmla="*/ 78849 h 1037139"/>
                <a:gd name="connsiteX12" fmla="*/ 4143956 w 5132298"/>
                <a:gd name="connsiteY12" fmla="*/ 78849 h 1037139"/>
                <a:gd name="connsiteX13" fmla="*/ 4143956 w 5132298"/>
                <a:gd name="connsiteY13" fmla="*/ 653397 h 1037139"/>
                <a:gd name="connsiteX14" fmla="*/ 4143651 w 5132298"/>
                <a:gd name="connsiteY14" fmla="*/ 306706 h 1037139"/>
                <a:gd name="connsiteX15" fmla="*/ 4110447 w 5132298"/>
                <a:gd name="connsiteY15" fmla="*/ 269845 h 1037139"/>
                <a:gd name="connsiteX16" fmla="*/ 3970639 w 5132298"/>
                <a:gd name="connsiteY16" fmla="*/ 269845 h 1037139"/>
                <a:gd name="connsiteX17" fmla="*/ 3937435 w 5132298"/>
                <a:gd name="connsiteY17" fmla="*/ 306706 h 1037139"/>
                <a:gd name="connsiteX18" fmla="*/ 3937435 w 5132298"/>
                <a:gd name="connsiteY18" fmla="*/ 653397 h 1037139"/>
                <a:gd name="connsiteX19" fmla="*/ 3937454 w 5132298"/>
                <a:gd name="connsiteY19" fmla="*/ 653397 h 1037139"/>
                <a:gd name="connsiteX20" fmla="*/ 3937759 w 5132298"/>
                <a:gd name="connsiteY20" fmla="*/ 1000069 h 1037139"/>
                <a:gd name="connsiteX21" fmla="*/ 3970963 w 5132298"/>
                <a:gd name="connsiteY21" fmla="*/ 1036931 h 1037139"/>
                <a:gd name="connsiteX22" fmla="*/ 4110771 w 5132298"/>
                <a:gd name="connsiteY22" fmla="*/ 1036931 h 1037139"/>
                <a:gd name="connsiteX23" fmla="*/ 4143975 w 5132298"/>
                <a:gd name="connsiteY23" fmla="*/ 1000069 h 1037139"/>
                <a:gd name="connsiteX24" fmla="*/ 4143975 w 5132298"/>
                <a:gd name="connsiteY24" fmla="*/ 653397 h 1037139"/>
                <a:gd name="connsiteX25" fmla="*/ 4143956 w 5132298"/>
                <a:gd name="connsiteY25" fmla="*/ 653397 h 1037139"/>
                <a:gd name="connsiteX26" fmla="*/ 3441430 w 5132298"/>
                <a:gd name="connsiteY26" fmla="*/ 78 h 1037139"/>
                <a:gd name="connsiteX27" fmla="*/ 2991355 w 5132298"/>
                <a:gd name="connsiteY27" fmla="*/ 78 h 1037139"/>
                <a:gd name="connsiteX28" fmla="*/ 2958131 w 5132298"/>
                <a:gd name="connsiteY28" fmla="*/ 37035 h 1037139"/>
                <a:gd name="connsiteX29" fmla="*/ 2958131 w 5132298"/>
                <a:gd name="connsiteY29" fmla="*/ 646958 h 1037139"/>
                <a:gd name="connsiteX30" fmla="*/ 2991297 w 5132298"/>
                <a:gd name="connsiteY30" fmla="*/ 683858 h 1037139"/>
                <a:gd name="connsiteX31" fmla="*/ 3131391 w 5132298"/>
                <a:gd name="connsiteY31" fmla="*/ 683858 h 1037139"/>
                <a:gd name="connsiteX32" fmla="*/ 3164595 w 5132298"/>
                <a:gd name="connsiteY32" fmla="*/ 646958 h 1037139"/>
                <a:gd name="connsiteX33" fmla="*/ 3164786 w 5132298"/>
                <a:gd name="connsiteY33" fmla="*/ 189015 h 1037139"/>
                <a:gd name="connsiteX34" fmla="*/ 3418284 w 5132298"/>
                <a:gd name="connsiteY34" fmla="*/ 189111 h 1037139"/>
                <a:gd name="connsiteX35" fmla="*/ 3612499 w 5132298"/>
                <a:gd name="connsiteY35" fmla="*/ 369762 h 1037139"/>
                <a:gd name="connsiteX36" fmla="*/ 3612499 w 5132298"/>
                <a:gd name="connsiteY36" fmla="*/ 702794 h 1037139"/>
                <a:gd name="connsiteX37" fmla="*/ 3418284 w 5132298"/>
                <a:gd name="connsiteY37" fmla="*/ 847822 h 1037139"/>
                <a:gd name="connsiteX38" fmla="*/ 2958131 w 5132298"/>
                <a:gd name="connsiteY38" fmla="*/ 848298 h 1037139"/>
                <a:gd name="connsiteX39" fmla="*/ 2958131 w 5132298"/>
                <a:gd name="connsiteY39" fmla="*/ 1037217 h 1037139"/>
                <a:gd name="connsiteX40" fmla="*/ 3418284 w 5132298"/>
                <a:gd name="connsiteY40" fmla="*/ 1036931 h 1037139"/>
                <a:gd name="connsiteX41" fmla="*/ 3818982 w 5132298"/>
                <a:gd name="connsiteY41" fmla="*/ 702794 h 1037139"/>
                <a:gd name="connsiteX42" fmla="*/ 3818982 w 5132298"/>
                <a:gd name="connsiteY42" fmla="*/ 367590 h 1037139"/>
                <a:gd name="connsiteX43" fmla="*/ 3441430 w 5132298"/>
                <a:gd name="connsiteY43" fmla="*/ 78 h 1037139"/>
                <a:gd name="connsiteX44" fmla="*/ 5132651 w 5132298"/>
                <a:gd name="connsiteY44" fmla="*/ 679820 h 1037139"/>
                <a:gd name="connsiteX45" fmla="*/ 5131660 w 5132298"/>
                <a:gd name="connsiteY45" fmla="*/ 650425 h 1037139"/>
                <a:gd name="connsiteX46" fmla="*/ 4877591 w 5132298"/>
                <a:gd name="connsiteY46" fmla="*/ 447943 h 1037139"/>
                <a:gd name="connsiteX47" fmla="*/ 4567171 w 5132298"/>
                <a:gd name="connsiteY47" fmla="*/ 447943 h 1037139"/>
                <a:gd name="connsiteX48" fmla="*/ 4559208 w 5132298"/>
                <a:gd name="connsiteY48" fmla="*/ 447924 h 1037139"/>
                <a:gd name="connsiteX49" fmla="*/ 4469063 w 5132298"/>
                <a:gd name="connsiteY49" fmla="*/ 349759 h 1037139"/>
                <a:gd name="connsiteX50" fmla="*/ 4469368 w 5132298"/>
                <a:gd name="connsiteY50" fmla="*/ 279312 h 1037139"/>
                <a:gd name="connsiteX51" fmla="*/ 4567533 w 5132298"/>
                <a:gd name="connsiteY51" fmla="*/ 189187 h 1037139"/>
                <a:gd name="connsiteX52" fmla="*/ 4690043 w 5132298"/>
                <a:gd name="connsiteY52" fmla="*/ 189187 h 1037139"/>
                <a:gd name="connsiteX53" fmla="*/ 4691243 w 5132298"/>
                <a:gd name="connsiteY53" fmla="*/ 189225 h 1037139"/>
                <a:gd name="connsiteX54" fmla="*/ 5000825 w 5132298"/>
                <a:gd name="connsiteY54" fmla="*/ 189225 h 1037139"/>
                <a:gd name="connsiteX55" fmla="*/ 5035706 w 5132298"/>
                <a:gd name="connsiteY55" fmla="*/ 166270 h 1037139"/>
                <a:gd name="connsiteX56" fmla="*/ 5037687 w 5132298"/>
                <a:gd name="connsiteY56" fmla="*/ 156021 h 1037139"/>
                <a:gd name="connsiteX57" fmla="*/ 5037687 w 5132298"/>
                <a:gd name="connsiteY57" fmla="*/ 33282 h 1037139"/>
                <a:gd name="connsiteX58" fmla="*/ 5000825 w 5132298"/>
                <a:gd name="connsiteY58" fmla="*/ 116 h 1037139"/>
                <a:gd name="connsiteX59" fmla="*/ 4517869 w 5132298"/>
                <a:gd name="connsiteY59" fmla="*/ 173 h 1037139"/>
                <a:gd name="connsiteX60" fmla="*/ 4262409 w 5132298"/>
                <a:gd name="connsiteY60" fmla="*/ 235555 h 1037139"/>
                <a:gd name="connsiteX61" fmla="*/ 4262428 w 5132298"/>
                <a:gd name="connsiteY61" fmla="*/ 382392 h 1037139"/>
                <a:gd name="connsiteX62" fmla="*/ 4497886 w 5132298"/>
                <a:gd name="connsiteY62" fmla="*/ 636214 h 1037139"/>
                <a:gd name="connsiteX63" fmla="*/ 4836309 w 5132298"/>
                <a:gd name="connsiteY63" fmla="*/ 636214 h 1037139"/>
                <a:gd name="connsiteX64" fmla="*/ 4925977 w 5132298"/>
                <a:gd name="connsiteY64" fmla="*/ 734398 h 1037139"/>
                <a:gd name="connsiteX65" fmla="*/ 4925977 w 5132298"/>
                <a:gd name="connsiteY65" fmla="*/ 757944 h 1037139"/>
                <a:gd name="connsiteX66" fmla="*/ 4828289 w 5132298"/>
                <a:gd name="connsiteY66" fmla="*/ 848050 h 1037139"/>
                <a:gd name="connsiteX67" fmla="*/ 4299290 w 5132298"/>
                <a:gd name="connsiteY67" fmla="*/ 848050 h 1037139"/>
                <a:gd name="connsiteX68" fmla="*/ 4264447 w 5132298"/>
                <a:gd name="connsiteY68" fmla="*/ 870872 h 1037139"/>
                <a:gd name="connsiteX69" fmla="*/ 4262390 w 5132298"/>
                <a:gd name="connsiteY69" fmla="*/ 881216 h 1037139"/>
                <a:gd name="connsiteX70" fmla="*/ 4262390 w 5132298"/>
                <a:gd name="connsiteY70" fmla="*/ 1003955 h 1037139"/>
                <a:gd name="connsiteX71" fmla="*/ 4299290 w 5132298"/>
                <a:gd name="connsiteY71" fmla="*/ 1037160 h 1037139"/>
                <a:gd name="connsiteX72" fmla="*/ 4732296 w 5132298"/>
                <a:gd name="connsiteY72" fmla="*/ 1037160 h 1037139"/>
                <a:gd name="connsiteX73" fmla="*/ 4879172 w 5132298"/>
                <a:gd name="connsiteY73" fmla="*/ 1037083 h 1037139"/>
                <a:gd name="connsiteX74" fmla="*/ 5132651 w 5132298"/>
                <a:gd name="connsiteY74" fmla="*/ 801587 h 1037139"/>
                <a:gd name="connsiteX75" fmla="*/ 5132651 w 5132298"/>
                <a:gd name="connsiteY75" fmla="*/ 679820 h 1037139"/>
                <a:gd name="connsiteX76" fmla="*/ 280863 w 5132298"/>
                <a:gd name="connsiteY76" fmla="*/ 189111 h 1037139"/>
                <a:gd name="connsiteX77" fmla="*/ 825046 w 5132298"/>
                <a:gd name="connsiteY77" fmla="*/ 189111 h 1037139"/>
                <a:gd name="connsiteX78" fmla="*/ 861203 w 5132298"/>
                <a:gd name="connsiteY78" fmla="*/ 156573 h 1037139"/>
                <a:gd name="connsiteX79" fmla="*/ 861203 w 5132298"/>
                <a:gd name="connsiteY79" fmla="*/ 32729 h 1037139"/>
                <a:gd name="connsiteX80" fmla="*/ 825046 w 5132298"/>
                <a:gd name="connsiteY80" fmla="*/ 78 h 1037139"/>
                <a:gd name="connsiteX81" fmla="*/ 277073 w 5132298"/>
                <a:gd name="connsiteY81" fmla="*/ 78 h 1037139"/>
                <a:gd name="connsiteX82" fmla="*/ 352 w 5132298"/>
                <a:gd name="connsiteY82" fmla="*/ 255005 h 1037139"/>
                <a:gd name="connsiteX83" fmla="*/ 352 w 5132298"/>
                <a:gd name="connsiteY83" fmla="*/ 782309 h 1037139"/>
                <a:gd name="connsiteX84" fmla="*/ 277073 w 5132298"/>
                <a:gd name="connsiteY84" fmla="*/ 1037217 h 1037139"/>
                <a:gd name="connsiteX85" fmla="*/ 825046 w 5132298"/>
                <a:gd name="connsiteY85" fmla="*/ 1037217 h 1037139"/>
                <a:gd name="connsiteX86" fmla="*/ 861203 w 5132298"/>
                <a:gd name="connsiteY86" fmla="*/ 1004660 h 1037139"/>
                <a:gd name="connsiteX87" fmla="*/ 861203 w 5132298"/>
                <a:gd name="connsiteY87" fmla="*/ 880816 h 1037139"/>
                <a:gd name="connsiteX88" fmla="*/ 825046 w 5132298"/>
                <a:gd name="connsiteY88" fmla="*/ 848298 h 1037139"/>
                <a:gd name="connsiteX89" fmla="*/ 280863 w 5132298"/>
                <a:gd name="connsiteY89" fmla="*/ 848298 h 1037139"/>
                <a:gd name="connsiteX90" fmla="*/ 207006 w 5132298"/>
                <a:gd name="connsiteY90" fmla="*/ 779051 h 1037139"/>
                <a:gd name="connsiteX91" fmla="*/ 207006 w 5132298"/>
                <a:gd name="connsiteY91" fmla="*/ 634347 h 1037139"/>
                <a:gd name="connsiteX92" fmla="*/ 532457 w 5132298"/>
                <a:gd name="connsiteY92" fmla="*/ 634347 h 1037139"/>
                <a:gd name="connsiteX93" fmla="*/ 568595 w 5132298"/>
                <a:gd name="connsiteY93" fmla="*/ 601772 h 1037139"/>
                <a:gd name="connsiteX94" fmla="*/ 568595 w 5132298"/>
                <a:gd name="connsiteY94" fmla="*/ 480557 h 1037139"/>
                <a:gd name="connsiteX95" fmla="*/ 532457 w 5132298"/>
                <a:gd name="connsiteY95" fmla="*/ 447943 h 1037139"/>
                <a:gd name="connsiteX96" fmla="*/ 207006 w 5132298"/>
                <a:gd name="connsiteY96" fmla="*/ 447943 h 1037139"/>
                <a:gd name="connsiteX97" fmla="*/ 207006 w 5132298"/>
                <a:gd name="connsiteY97" fmla="*/ 258395 h 1037139"/>
                <a:gd name="connsiteX98" fmla="*/ 280863 w 5132298"/>
                <a:gd name="connsiteY98" fmla="*/ 189111 h 1037139"/>
                <a:gd name="connsiteX99" fmla="*/ 1186405 w 5132298"/>
                <a:gd name="connsiteY99" fmla="*/ 189130 h 1037139"/>
                <a:gd name="connsiteX100" fmla="*/ 1186405 w 5132298"/>
                <a:gd name="connsiteY100" fmla="*/ 1000336 h 1037139"/>
                <a:gd name="connsiteX101" fmla="*/ 1153144 w 5132298"/>
                <a:gd name="connsiteY101" fmla="*/ 1037198 h 1037139"/>
                <a:gd name="connsiteX102" fmla="*/ 1012879 w 5132298"/>
                <a:gd name="connsiteY102" fmla="*/ 1037198 h 1037139"/>
                <a:gd name="connsiteX103" fmla="*/ 979656 w 5132298"/>
                <a:gd name="connsiteY103" fmla="*/ 1000336 h 1037139"/>
                <a:gd name="connsiteX104" fmla="*/ 979656 w 5132298"/>
                <a:gd name="connsiteY104" fmla="*/ 37035 h 1037139"/>
                <a:gd name="connsiteX105" fmla="*/ 1012879 w 5132298"/>
                <a:gd name="connsiteY105" fmla="*/ 116 h 1037139"/>
                <a:gd name="connsiteX106" fmla="*/ 1439846 w 5132298"/>
                <a:gd name="connsiteY106" fmla="*/ 116 h 1037139"/>
                <a:gd name="connsiteX107" fmla="*/ 1840506 w 5132298"/>
                <a:gd name="connsiteY107" fmla="*/ 369838 h 1037139"/>
                <a:gd name="connsiteX108" fmla="*/ 1840506 w 5132298"/>
                <a:gd name="connsiteY108" fmla="*/ 1004032 h 1037139"/>
                <a:gd name="connsiteX109" fmla="*/ 1803625 w 5132298"/>
                <a:gd name="connsiteY109" fmla="*/ 1037198 h 1037139"/>
                <a:gd name="connsiteX110" fmla="*/ 1670885 w 5132298"/>
                <a:gd name="connsiteY110" fmla="*/ 1037198 h 1037139"/>
                <a:gd name="connsiteX111" fmla="*/ 1634023 w 5132298"/>
                <a:gd name="connsiteY111" fmla="*/ 1004032 h 1037139"/>
                <a:gd name="connsiteX112" fmla="*/ 1634023 w 5132298"/>
                <a:gd name="connsiteY112" fmla="*/ 369838 h 1037139"/>
                <a:gd name="connsiteX113" fmla="*/ 1439846 w 5132298"/>
                <a:gd name="connsiteY113" fmla="*/ 189225 h 1037139"/>
                <a:gd name="connsiteX114" fmla="*/ 1186405 w 5132298"/>
                <a:gd name="connsiteY114" fmla="*/ 189130 h 103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132298" h="1037139">
                  <a:moveTo>
                    <a:pt x="4143956" y="78849"/>
                  </a:moveTo>
                  <a:lnTo>
                    <a:pt x="4143651" y="36939"/>
                  </a:lnTo>
                  <a:cubicBezTo>
                    <a:pt x="4143651" y="16613"/>
                    <a:pt x="4128754" y="78"/>
                    <a:pt x="4110447" y="78"/>
                  </a:cubicBezTo>
                  <a:lnTo>
                    <a:pt x="3970639" y="78"/>
                  </a:lnTo>
                  <a:cubicBezTo>
                    <a:pt x="3952351" y="78"/>
                    <a:pt x="3937435" y="16613"/>
                    <a:pt x="3937435" y="36939"/>
                  </a:cubicBezTo>
                  <a:lnTo>
                    <a:pt x="3937435" y="78849"/>
                  </a:lnTo>
                  <a:lnTo>
                    <a:pt x="3937454" y="78849"/>
                  </a:lnTo>
                  <a:lnTo>
                    <a:pt x="3937759" y="152249"/>
                  </a:lnTo>
                  <a:cubicBezTo>
                    <a:pt x="3937759" y="172575"/>
                    <a:pt x="3952637" y="189111"/>
                    <a:pt x="3970963" y="189111"/>
                  </a:cubicBezTo>
                  <a:lnTo>
                    <a:pt x="4110771" y="189111"/>
                  </a:lnTo>
                  <a:cubicBezTo>
                    <a:pt x="4129059" y="189111"/>
                    <a:pt x="4143975" y="172575"/>
                    <a:pt x="4143975" y="152249"/>
                  </a:cubicBezTo>
                  <a:lnTo>
                    <a:pt x="4143975" y="78849"/>
                  </a:lnTo>
                  <a:lnTo>
                    <a:pt x="4143956" y="78849"/>
                  </a:lnTo>
                  <a:close/>
                  <a:moveTo>
                    <a:pt x="4143956" y="653397"/>
                  </a:moveTo>
                  <a:lnTo>
                    <a:pt x="4143651" y="306706"/>
                  </a:lnTo>
                  <a:cubicBezTo>
                    <a:pt x="4143651" y="286361"/>
                    <a:pt x="4128754" y="269845"/>
                    <a:pt x="4110447" y="269845"/>
                  </a:cubicBezTo>
                  <a:lnTo>
                    <a:pt x="3970639" y="269845"/>
                  </a:lnTo>
                  <a:cubicBezTo>
                    <a:pt x="3952351" y="269845"/>
                    <a:pt x="3937435" y="286361"/>
                    <a:pt x="3937435" y="306706"/>
                  </a:cubicBezTo>
                  <a:lnTo>
                    <a:pt x="3937435" y="653397"/>
                  </a:lnTo>
                  <a:lnTo>
                    <a:pt x="3937454" y="653397"/>
                  </a:lnTo>
                  <a:lnTo>
                    <a:pt x="3937759" y="1000069"/>
                  </a:lnTo>
                  <a:cubicBezTo>
                    <a:pt x="3937759" y="1020396"/>
                    <a:pt x="3952637" y="1036931"/>
                    <a:pt x="3970963" y="1036931"/>
                  </a:cubicBezTo>
                  <a:lnTo>
                    <a:pt x="4110771" y="1036931"/>
                  </a:lnTo>
                  <a:cubicBezTo>
                    <a:pt x="4129059" y="1036931"/>
                    <a:pt x="4143975" y="1020396"/>
                    <a:pt x="4143975" y="1000069"/>
                  </a:cubicBezTo>
                  <a:lnTo>
                    <a:pt x="4143975" y="653397"/>
                  </a:lnTo>
                  <a:lnTo>
                    <a:pt x="4143956" y="653397"/>
                  </a:lnTo>
                  <a:close/>
                  <a:moveTo>
                    <a:pt x="3441430" y="78"/>
                  </a:moveTo>
                  <a:lnTo>
                    <a:pt x="2991355" y="78"/>
                  </a:lnTo>
                  <a:cubicBezTo>
                    <a:pt x="2973029" y="78"/>
                    <a:pt x="2958131" y="16670"/>
                    <a:pt x="2958131" y="37035"/>
                  </a:cubicBezTo>
                  <a:lnTo>
                    <a:pt x="2958131" y="646958"/>
                  </a:lnTo>
                  <a:cubicBezTo>
                    <a:pt x="2958131" y="667323"/>
                    <a:pt x="2973009" y="683858"/>
                    <a:pt x="2991297" y="683858"/>
                  </a:cubicBezTo>
                  <a:lnTo>
                    <a:pt x="3131391" y="683858"/>
                  </a:lnTo>
                  <a:cubicBezTo>
                    <a:pt x="3149717" y="683858"/>
                    <a:pt x="3164595" y="667323"/>
                    <a:pt x="3164595" y="646958"/>
                  </a:cubicBezTo>
                  <a:lnTo>
                    <a:pt x="3164786" y="189015"/>
                  </a:lnTo>
                  <a:lnTo>
                    <a:pt x="3418284" y="189111"/>
                  </a:lnTo>
                  <a:cubicBezTo>
                    <a:pt x="3525383" y="189111"/>
                    <a:pt x="3612499" y="270149"/>
                    <a:pt x="3612499" y="369762"/>
                  </a:cubicBezTo>
                  <a:lnTo>
                    <a:pt x="3612499" y="702794"/>
                  </a:lnTo>
                  <a:cubicBezTo>
                    <a:pt x="3612499" y="802368"/>
                    <a:pt x="3525383" y="847822"/>
                    <a:pt x="3418284" y="847822"/>
                  </a:cubicBezTo>
                  <a:lnTo>
                    <a:pt x="2958131" y="848298"/>
                  </a:lnTo>
                  <a:lnTo>
                    <a:pt x="2958131" y="1037217"/>
                  </a:lnTo>
                  <a:lnTo>
                    <a:pt x="3418284" y="1036931"/>
                  </a:lnTo>
                  <a:cubicBezTo>
                    <a:pt x="3639226" y="1036931"/>
                    <a:pt x="3818982" y="906648"/>
                    <a:pt x="3818982" y="702794"/>
                  </a:cubicBezTo>
                  <a:lnTo>
                    <a:pt x="3818982" y="367590"/>
                  </a:lnTo>
                  <a:cubicBezTo>
                    <a:pt x="3818982" y="171985"/>
                    <a:pt x="3654866" y="78"/>
                    <a:pt x="3441430" y="78"/>
                  </a:cubicBezTo>
                  <a:moveTo>
                    <a:pt x="5132651" y="679820"/>
                  </a:moveTo>
                  <a:cubicBezTo>
                    <a:pt x="5132651" y="670447"/>
                    <a:pt x="5132575" y="660846"/>
                    <a:pt x="5131660" y="650425"/>
                  </a:cubicBezTo>
                  <a:cubicBezTo>
                    <a:pt x="5121469" y="535230"/>
                    <a:pt x="5002749" y="447943"/>
                    <a:pt x="4877591" y="447943"/>
                  </a:cubicBezTo>
                  <a:lnTo>
                    <a:pt x="4567171" y="447943"/>
                  </a:lnTo>
                  <a:lnTo>
                    <a:pt x="4559208" y="447924"/>
                  </a:lnTo>
                  <a:cubicBezTo>
                    <a:pt x="4509487" y="447924"/>
                    <a:pt x="4469063" y="403861"/>
                    <a:pt x="4469063" y="349759"/>
                  </a:cubicBezTo>
                  <a:lnTo>
                    <a:pt x="4469368" y="279312"/>
                  </a:lnTo>
                  <a:cubicBezTo>
                    <a:pt x="4469368" y="229630"/>
                    <a:pt x="4513412" y="189187"/>
                    <a:pt x="4567533" y="189187"/>
                  </a:cubicBezTo>
                  <a:lnTo>
                    <a:pt x="4690043" y="189187"/>
                  </a:lnTo>
                  <a:lnTo>
                    <a:pt x="4691243" y="189225"/>
                  </a:lnTo>
                  <a:lnTo>
                    <a:pt x="5000825" y="189225"/>
                  </a:lnTo>
                  <a:cubicBezTo>
                    <a:pt x="5016656" y="189225"/>
                    <a:pt x="5030676" y="180005"/>
                    <a:pt x="5035706" y="166270"/>
                  </a:cubicBezTo>
                  <a:cubicBezTo>
                    <a:pt x="5037039" y="162612"/>
                    <a:pt x="5037687" y="159259"/>
                    <a:pt x="5037687" y="156021"/>
                  </a:cubicBezTo>
                  <a:lnTo>
                    <a:pt x="5037687" y="33282"/>
                  </a:lnTo>
                  <a:cubicBezTo>
                    <a:pt x="5037687" y="14956"/>
                    <a:pt x="5021151" y="116"/>
                    <a:pt x="5000825" y="116"/>
                  </a:cubicBezTo>
                  <a:lnTo>
                    <a:pt x="4517869" y="173"/>
                  </a:lnTo>
                  <a:cubicBezTo>
                    <a:pt x="4377928" y="173"/>
                    <a:pt x="4262409" y="105805"/>
                    <a:pt x="4262409" y="235555"/>
                  </a:cubicBezTo>
                  <a:lnTo>
                    <a:pt x="4262428" y="382392"/>
                  </a:lnTo>
                  <a:cubicBezTo>
                    <a:pt x="4262428" y="522352"/>
                    <a:pt x="4368041" y="636214"/>
                    <a:pt x="4497886" y="636214"/>
                  </a:cubicBezTo>
                  <a:lnTo>
                    <a:pt x="4836309" y="636214"/>
                  </a:lnTo>
                  <a:cubicBezTo>
                    <a:pt x="4885992" y="636214"/>
                    <a:pt x="4925977" y="680258"/>
                    <a:pt x="4925977" y="734398"/>
                  </a:cubicBezTo>
                  <a:lnTo>
                    <a:pt x="4925977" y="757944"/>
                  </a:lnTo>
                  <a:cubicBezTo>
                    <a:pt x="4925977" y="807645"/>
                    <a:pt x="4882410" y="848050"/>
                    <a:pt x="4828289" y="848050"/>
                  </a:cubicBezTo>
                  <a:lnTo>
                    <a:pt x="4299290" y="848050"/>
                  </a:lnTo>
                  <a:cubicBezTo>
                    <a:pt x="4283440" y="848050"/>
                    <a:pt x="4269419" y="857213"/>
                    <a:pt x="4264447" y="870872"/>
                  </a:cubicBezTo>
                  <a:cubicBezTo>
                    <a:pt x="4263057" y="874606"/>
                    <a:pt x="4262390" y="877997"/>
                    <a:pt x="4262390" y="881216"/>
                  </a:cubicBezTo>
                  <a:lnTo>
                    <a:pt x="4262390" y="1003955"/>
                  </a:lnTo>
                  <a:cubicBezTo>
                    <a:pt x="4262390" y="1022262"/>
                    <a:pt x="4278944" y="1037160"/>
                    <a:pt x="4299290" y="1037160"/>
                  </a:cubicBezTo>
                  <a:lnTo>
                    <a:pt x="4732296" y="1037160"/>
                  </a:lnTo>
                  <a:lnTo>
                    <a:pt x="4879172" y="1037083"/>
                  </a:lnTo>
                  <a:cubicBezTo>
                    <a:pt x="5019075" y="1037083"/>
                    <a:pt x="5132651" y="931470"/>
                    <a:pt x="5132651" y="801587"/>
                  </a:cubicBezTo>
                  <a:lnTo>
                    <a:pt x="5132651" y="679820"/>
                  </a:lnTo>
                  <a:close/>
                  <a:moveTo>
                    <a:pt x="280863" y="189111"/>
                  </a:moveTo>
                  <a:lnTo>
                    <a:pt x="825046" y="189111"/>
                  </a:lnTo>
                  <a:cubicBezTo>
                    <a:pt x="844972" y="189111"/>
                    <a:pt x="861203" y="174518"/>
                    <a:pt x="861203" y="156573"/>
                  </a:cubicBezTo>
                  <a:lnTo>
                    <a:pt x="861203" y="32729"/>
                  </a:lnTo>
                  <a:cubicBezTo>
                    <a:pt x="861203" y="14746"/>
                    <a:pt x="845734" y="78"/>
                    <a:pt x="825046" y="78"/>
                  </a:cubicBezTo>
                  <a:lnTo>
                    <a:pt x="277073" y="78"/>
                  </a:lnTo>
                  <a:cubicBezTo>
                    <a:pt x="124501" y="78"/>
                    <a:pt x="352" y="114301"/>
                    <a:pt x="352" y="255005"/>
                  </a:cubicBezTo>
                  <a:lnTo>
                    <a:pt x="352" y="782309"/>
                  </a:lnTo>
                  <a:cubicBezTo>
                    <a:pt x="352" y="922955"/>
                    <a:pt x="124501" y="1037217"/>
                    <a:pt x="277073" y="1037217"/>
                  </a:cubicBezTo>
                  <a:lnTo>
                    <a:pt x="825046" y="1037217"/>
                  </a:lnTo>
                  <a:cubicBezTo>
                    <a:pt x="844972" y="1037217"/>
                    <a:pt x="861203" y="1022605"/>
                    <a:pt x="861203" y="1004660"/>
                  </a:cubicBezTo>
                  <a:lnTo>
                    <a:pt x="861203" y="880816"/>
                  </a:lnTo>
                  <a:cubicBezTo>
                    <a:pt x="861203" y="862871"/>
                    <a:pt x="844972" y="848298"/>
                    <a:pt x="825046" y="848298"/>
                  </a:cubicBezTo>
                  <a:lnTo>
                    <a:pt x="280863" y="848298"/>
                  </a:lnTo>
                  <a:cubicBezTo>
                    <a:pt x="240839" y="848298"/>
                    <a:pt x="207006" y="816580"/>
                    <a:pt x="207006" y="779051"/>
                  </a:cubicBezTo>
                  <a:lnTo>
                    <a:pt x="207006" y="634347"/>
                  </a:lnTo>
                  <a:lnTo>
                    <a:pt x="532457" y="634347"/>
                  </a:lnTo>
                  <a:cubicBezTo>
                    <a:pt x="552383" y="634347"/>
                    <a:pt x="568595" y="619717"/>
                    <a:pt x="568595" y="601772"/>
                  </a:cubicBezTo>
                  <a:lnTo>
                    <a:pt x="568595" y="480557"/>
                  </a:lnTo>
                  <a:cubicBezTo>
                    <a:pt x="568595" y="462573"/>
                    <a:pt x="552383" y="447943"/>
                    <a:pt x="532457" y="447943"/>
                  </a:cubicBezTo>
                  <a:lnTo>
                    <a:pt x="207006" y="447943"/>
                  </a:lnTo>
                  <a:lnTo>
                    <a:pt x="207006" y="258395"/>
                  </a:lnTo>
                  <a:cubicBezTo>
                    <a:pt x="207006" y="220829"/>
                    <a:pt x="240839" y="189111"/>
                    <a:pt x="280863" y="189111"/>
                  </a:cubicBezTo>
                  <a:moveTo>
                    <a:pt x="1186405" y="189130"/>
                  </a:moveTo>
                  <a:lnTo>
                    <a:pt x="1186405" y="1000336"/>
                  </a:lnTo>
                  <a:cubicBezTo>
                    <a:pt x="1186405" y="1020662"/>
                    <a:pt x="1171470" y="1037198"/>
                    <a:pt x="1153144" y="1037198"/>
                  </a:cubicBezTo>
                  <a:lnTo>
                    <a:pt x="1012879" y="1037198"/>
                  </a:lnTo>
                  <a:cubicBezTo>
                    <a:pt x="994553" y="1037198"/>
                    <a:pt x="979656" y="1020662"/>
                    <a:pt x="979656" y="1000336"/>
                  </a:cubicBezTo>
                  <a:lnTo>
                    <a:pt x="979656" y="37035"/>
                  </a:lnTo>
                  <a:cubicBezTo>
                    <a:pt x="979656" y="16670"/>
                    <a:pt x="994553" y="116"/>
                    <a:pt x="1012879" y="116"/>
                  </a:cubicBezTo>
                  <a:lnTo>
                    <a:pt x="1439846" y="116"/>
                  </a:lnTo>
                  <a:cubicBezTo>
                    <a:pt x="1660769" y="116"/>
                    <a:pt x="1840506" y="165946"/>
                    <a:pt x="1840506" y="369838"/>
                  </a:cubicBezTo>
                  <a:lnTo>
                    <a:pt x="1840506" y="1004032"/>
                  </a:lnTo>
                  <a:cubicBezTo>
                    <a:pt x="1840506" y="1022339"/>
                    <a:pt x="1823971" y="1037198"/>
                    <a:pt x="1803625" y="1037198"/>
                  </a:cubicBezTo>
                  <a:lnTo>
                    <a:pt x="1670885" y="1037198"/>
                  </a:lnTo>
                  <a:cubicBezTo>
                    <a:pt x="1650559" y="1037198"/>
                    <a:pt x="1634023" y="1022339"/>
                    <a:pt x="1634023" y="1004032"/>
                  </a:cubicBezTo>
                  <a:lnTo>
                    <a:pt x="1634023" y="369838"/>
                  </a:lnTo>
                  <a:cubicBezTo>
                    <a:pt x="1634023" y="270264"/>
                    <a:pt x="1546926" y="189225"/>
                    <a:pt x="1439846" y="189225"/>
                  </a:cubicBezTo>
                  <a:lnTo>
                    <a:pt x="1186405" y="189130"/>
                  </a:lnTo>
                  <a:close/>
                </a:path>
              </a:pathLst>
            </a:custGeom>
            <a:solidFill>
              <a:schemeClr val="bg1"/>
            </a:solidFill>
            <a:ln w="19050" cap="flat">
              <a:noFill/>
              <a:prstDash val="solid"/>
              <a:round/>
            </a:ln>
          </p:spPr>
          <p:txBody>
            <a:bodyPr rtlCol="0" anchor="ctr"/>
            <a:lstStyle/>
            <a:p>
              <a:endParaRPr lang="fr-FR"/>
            </a:p>
          </p:txBody>
        </p:sp>
      </p:grpSp>
      <p:sp>
        <p:nvSpPr>
          <p:cNvPr id="14" name="Espace réservé du numéro de diapositive 13">
            <a:extLst>
              <a:ext uri="{FF2B5EF4-FFF2-40B4-BE49-F238E27FC236}">
                <a16:creationId xmlns:a16="http://schemas.microsoft.com/office/drawing/2014/main" id="{FDC00936-BF14-4A2E-8AFC-70AF3C367646}"/>
              </a:ext>
            </a:extLst>
          </p:cNvPr>
          <p:cNvSpPr>
            <a:spLocks noGrp="1"/>
          </p:cNvSpPr>
          <p:nvPr>
            <p:ph type="sldNum" sz="quarter" idx="16"/>
          </p:nvPr>
        </p:nvSpPr>
        <p:spPr/>
        <p:txBody>
          <a:bodyPr/>
          <a:lstStyle>
            <a:lvl1pPr>
              <a:defRPr>
                <a:solidFill>
                  <a:schemeClr val="bg1"/>
                </a:solidFill>
              </a:defRPr>
            </a:lvl1pPr>
          </a:lstStyle>
          <a:p>
            <a:fld id="{6B54B0F7-55DD-40D6-B7F4-70B586885C0B}" type="slidenum">
              <a:rPr lang="fr-FR" smtClean="0"/>
              <a:pPr/>
              <a:t>‹N°›</a:t>
            </a:fld>
            <a:endParaRPr lang="fr-FR"/>
          </a:p>
        </p:txBody>
      </p:sp>
      <p:sp>
        <p:nvSpPr>
          <p:cNvPr id="15" name="Espace réservé du graphique SmartArt 11">
            <a:extLst>
              <a:ext uri="{FF2B5EF4-FFF2-40B4-BE49-F238E27FC236}">
                <a16:creationId xmlns:a16="http://schemas.microsoft.com/office/drawing/2014/main" id="{CFB53AB0-4BB0-4F43-A0F3-8ADB2202AD6C}"/>
              </a:ext>
            </a:extLst>
          </p:cNvPr>
          <p:cNvSpPr>
            <a:spLocks noGrp="1"/>
          </p:cNvSpPr>
          <p:nvPr>
            <p:ph type="dgm" sz="quarter" idx="20"/>
          </p:nvPr>
        </p:nvSpPr>
        <p:spPr>
          <a:xfrm>
            <a:off x="520922" y="2964787"/>
            <a:ext cx="349020" cy="47313"/>
          </a:xfrm>
          <a:solidFill>
            <a:schemeClr val="accent1"/>
          </a:solidFill>
        </p:spPr>
        <p:txBody>
          <a:bodyPr>
            <a:noAutofit/>
          </a:bodyPr>
          <a:lstStyle>
            <a:lvl1pPr>
              <a:defRPr sz="100">
                <a:noFill/>
              </a:defRPr>
            </a:lvl1pPr>
          </a:lstStyle>
          <a:p>
            <a:endParaRPr lang="fr-FR"/>
          </a:p>
        </p:txBody>
      </p:sp>
      <p:pic>
        <p:nvPicPr>
          <p:cNvPr id="10" name="Image 9">
            <a:extLst>
              <a:ext uri="{FF2B5EF4-FFF2-40B4-BE49-F238E27FC236}">
                <a16:creationId xmlns:a16="http://schemas.microsoft.com/office/drawing/2014/main" id="{0549185B-AEA1-4472-A681-E2906BABA2B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6741281" y="0"/>
            <a:ext cx="5450719" cy="6858000"/>
          </a:xfrm>
          <a:prstGeom prst="rect">
            <a:avLst/>
          </a:prstGeom>
        </p:spPr>
      </p:pic>
    </p:spTree>
    <p:extLst>
      <p:ext uri="{BB962C8B-B14F-4D97-AF65-F5344CB8AC3E}">
        <p14:creationId xmlns:p14="http://schemas.microsoft.com/office/powerpoint/2010/main" val="8252659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ommaire C">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fr-FR" smtClean="0"/>
              <a:t>Comité Pilotage Stratégique #9 V1.2 - 08/06/23</a:t>
            </a:r>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N°›</a:t>
            </a:fld>
            <a:endParaRPr lang="en-US"/>
          </a:p>
        </p:txBody>
      </p:sp>
      <p:sp>
        <p:nvSpPr>
          <p:cNvPr id="2" name="Title 1"/>
          <p:cNvSpPr>
            <a:spLocks noGrp="1"/>
          </p:cNvSpPr>
          <p:nvPr>
            <p:ph type="title" hasCustomPrompt="1"/>
          </p:nvPr>
        </p:nvSpPr>
        <p:spPr>
          <a:xfrm>
            <a:off x="814387" y="515230"/>
            <a:ext cx="10515600" cy="415498"/>
          </a:xfrm>
        </p:spPr>
        <p:txBody>
          <a:bodyPr anchor="b"/>
          <a:lstStyle>
            <a:lvl1pPr>
              <a:defRPr sz="2900" b="0" cap="all" baseline="0">
                <a:latin typeface="Enedis Light" pitchFamily="50" charset="0"/>
              </a:defRPr>
            </a:lvl1pPr>
          </a:lstStyle>
          <a:p>
            <a:r>
              <a:rPr lang="fr-FR"/>
              <a:t>sommaire</a:t>
            </a:r>
            <a:endParaRPr lang="en-US"/>
          </a:p>
        </p:txBody>
      </p:sp>
      <p:sp>
        <p:nvSpPr>
          <p:cNvPr id="21" name="Espace réservé du texte 9">
            <a:extLst>
              <a:ext uri="{FF2B5EF4-FFF2-40B4-BE49-F238E27FC236}">
                <a16:creationId xmlns:a16="http://schemas.microsoft.com/office/drawing/2014/main" id="{333A2529-524E-424E-924E-41868CE07631}"/>
              </a:ext>
            </a:extLst>
          </p:cNvPr>
          <p:cNvSpPr>
            <a:spLocks noGrp="1"/>
          </p:cNvSpPr>
          <p:nvPr>
            <p:ph type="body" sz="quarter" idx="13" hasCustomPrompt="1"/>
          </p:nvPr>
        </p:nvSpPr>
        <p:spPr>
          <a:xfrm>
            <a:off x="758782" y="1245914"/>
            <a:ext cx="1441494" cy="914096"/>
          </a:xfrm>
        </p:spPr>
        <p:txBody>
          <a:bodyPr/>
          <a:lstStyle>
            <a:lvl1pPr>
              <a:defRPr sz="6500">
                <a:solidFill>
                  <a:schemeClr val="tx2"/>
                </a:solidFill>
                <a:latin typeface="Enedis Black" pitchFamily="50" charset="0"/>
              </a:defRPr>
            </a:lvl1pPr>
          </a:lstStyle>
          <a:p>
            <a:pPr lvl="0"/>
            <a:r>
              <a:rPr lang="fr-FR"/>
              <a:t>01</a:t>
            </a:r>
          </a:p>
        </p:txBody>
      </p:sp>
      <p:sp>
        <p:nvSpPr>
          <p:cNvPr id="22" name="Espace réservé du graphique SmartArt 11">
            <a:extLst>
              <a:ext uri="{FF2B5EF4-FFF2-40B4-BE49-F238E27FC236}">
                <a16:creationId xmlns:a16="http://schemas.microsoft.com/office/drawing/2014/main" id="{A4741A7F-2E50-495A-917A-7B763C6DA07E}"/>
              </a:ext>
            </a:extLst>
          </p:cNvPr>
          <p:cNvSpPr>
            <a:spLocks noGrp="1"/>
          </p:cNvSpPr>
          <p:nvPr>
            <p:ph type="dgm" sz="quarter" idx="14"/>
          </p:nvPr>
        </p:nvSpPr>
        <p:spPr>
          <a:xfrm>
            <a:off x="816769" y="2178621"/>
            <a:ext cx="349020" cy="47313"/>
          </a:xfrm>
          <a:solidFill>
            <a:schemeClr val="accent4"/>
          </a:solidFill>
        </p:spPr>
        <p:txBody>
          <a:bodyPr>
            <a:noAutofit/>
          </a:bodyPr>
          <a:lstStyle>
            <a:lvl1pPr>
              <a:defRPr sz="100">
                <a:noFill/>
              </a:defRPr>
            </a:lvl1pPr>
          </a:lstStyle>
          <a:p>
            <a:endParaRPr lang="fr-FR"/>
          </a:p>
        </p:txBody>
      </p:sp>
      <p:sp>
        <p:nvSpPr>
          <p:cNvPr id="23" name="Espace réservé du texte 13">
            <a:extLst>
              <a:ext uri="{FF2B5EF4-FFF2-40B4-BE49-F238E27FC236}">
                <a16:creationId xmlns:a16="http://schemas.microsoft.com/office/drawing/2014/main" id="{1BF9193B-B2D7-4C09-A23D-F377355B7F8C}"/>
              </a:ext>
            </a:extLst>
          </p:cNvPr>
          <p:cNvSpPr>
            <a:spLocks noGrp="1"/>
          </p:cNvSpPr>
          <p:nvPr>
            <p:ph type="body" sz="quarter" idx="15" hasCustomPrompt="1"/>
          </p:nvPr>
        </p:nvSpPr>
        <p:spPr>
          <a:xfrm>
            <a:off x="812798" y="2409994"/>
            <a:ext cx="2594766" cy="501612"/>
          </a:xfrm>
        </p:spPr>
        <p:txBody>
          <a:bodyPr/>
          <a:lstStyle>
            <a:lvl1pPr>
              <a:lnSpc>
                <a:spcPct val="101000"/>
              </a:lnSpc>
              <a:tabLst>
                <a:tab pos="266700" algn="l"/>
              </a:tabLst>
              <a:defRPr sz="1000">
                <a:solidFill>
                  <a:schemeClr val="tx2"/>
                </a:solidFill>
                <a:latin typeface="Enedis Light" pitchFamily="50" charset="0"/>
              </a:defRPr>
            </a:lvl1pPr>
            <a:lvl2pPr marL="0" indent="0">
              <a:lnSpc>
                <a:spcPct val="101000"/>
              </a:lnSpc>
              <a:spcAft>
                <a:spcPts val="600"/>
              </a:spcAft>
              <a:buNone/>
              <a:defRPr sz="1300" b="1">
                <a:solidFill>
                  <a:schemeClr val="tx2"/>
                </a:solidFill>
                <a:latin typeface="+mj-lt"/>
              </a:defRPr>
            </a:lvl2pPr>
          </a:lstStyle>
          <a:p>
            <a:pPr lvl="0"/>
            <a:r>
              <a:rPr lang="fr-FR"/>
              <a:t>1.1	 Lorem ipsum </a:t>
            </a:r>
            <a:r>
              <a:rPr lang="fr-FR" err="1"/>
              <a:t>dolor</a:t>
            </a:r>
            <a:r>
              <a:rPr lang="fr-FR"/>
              <a:t> </a:t>
            </a:r>
            <a:r>
              <a:rPr lang="fr-FR" err="1"/>
              <a:t>sit</a:t>
            </a:r>
            <a:endParaRPr lang="fr-FR"/>
          </a:p>
          <a:p>
            <a:pPr lvl="0"/>
            <a:r>
              <a:rPr lang="fr-FR"/>
              <a:t>1.2</a:t>
            </a:r>
          </a:p>
          <a:p>
            <a:pPr lvl="1"/>
            <a:r>
              <a:rPr lang="fr-FR"/>
              <a:t>Lorem ipsum </a:t>
            </a:r>
          </a:p>
        </p:txBody>
      </p:sp>
      <p:sp>
        <p:nvSpPr>
          <p:cNvPr id="20" name="Espace réservé du texte 9">
            <a:extLst>
              <a:ext uri="{FF2B5EF4-FFF2-40B4-BE49-F238E27FC236}">
                <a16:creationId xmlns:a16="http://schemas.microsoft.com/office/drawing/2014/main" id="{C874C626-45C1-4869-80A0-9802D226AF9D}"/>
              </a:ext>
            </a:extLst>
          </p:cNvPr>
          <p:cNvSpPr>
            <a:spLocks noGrp="1"/>
          </p:cNvSpPr>
          <p:nvPr>
            <p:ph type="body" sz="quarter" idx="16" hasCustomPrompt="1"/>
          </p:nvPr>
        </p:nvSpPr>
        <p:spPr>
          <a:xfrm>
            <a:off x="3625807" y="1245914"/>
            <a:ext cx="1441494" cy="914096"/>
          </a:xfrm>
        </p:spPr>
        <p:txBody>
          <a:bodyPr/>
          <a:lstStyle>
            <a:lvl1pPr>
              <a:defRPr sz="6500">
                <a:solidFill>
                  <a:schemeClr val="tx2"/>
                </a:solidFill>
                <a:latin typeface="Enedis Black" pitchFamily="50" charset="0"/>
              </a:defRPr>
            </a:lvl1pPr>
          </a:lstStyle>
          <a:p>
            <a:pPr lvl="0"/>
            <a:r>
              <a:rPr lang="fr-FR"/>
              <a:t>02</a:t>
            </a:r>
          </a:p>
        </p:txBody>
      </p:sp>
      <p:sp>
        <p:nvSpPr>
          <p:cNvPr id="33" name="Espace réservé du graphique SmartArt 11">
            <a:extLst>
              <a:ext uri="{FF2B5EF4-FFF2-40B4-BE49-F238E27FC236}">
                <a16:creationId xmlns:a16="http://schemas.microsoft.com/office/drawing/2014/main" id="{1575C659-8717-45D7-AD17-F5BE89E96DE2}"/>
              </a:ext>
            </a:extLst>
          </p:cNvPr>
          <p:cNvSpPr>
            <a:spLocks noGrp="1"/>
          </p:cNvSpPr>
          <p:nvPr>
            <p:ph type="dgm" sz="quarter" idx="17"/>
          </p:nvPr>
        </p:nvSpPr>
        <p:spPr>
          <a:xfrm>
            <a:off x="3683794" y="2178621"/>
            <a:ext cx="349020" cy="47313"/>
          </a:xfrm>
          <a:solidFill>
            <a:schemeClr val="accent2"/>
          </a:solidFill>
        </p:spPr>
        <p:txBody>
          <a:bodyPr>
            <a:noAutofit/>
          </a:bodyPr>
          <a:lstStyle>
            <a:lvl1pPr>
              <a:defRPr sz="100">
                <a:noFill/>
              </a:defRPr>
            </a:lvl1pPr>
          </a:lstStyle>
          <a:p>
            <a:endParaRPr lang="fr-FR"/>
          </a:p>
        </p:txBody>
      </p:sp>
      <p:sp>
        <p:nvSpPr>
          <p:cNvPr id="34" name="Espace réservé du texte 13">
            <a:extLst>
              <a:ext uri="{FF2B5EF4-FFF2-40B4-BE49-F238E27FC236}">
                <a16:creationId xmlns:a16="http://schemas.microsoft.com/office/drawing/2014/main" id="{CC49C434-2CBF-4EE6-887C-B670156BAEE1}"/>
              </a:ext>
            </a:extLst>
          </p:cNvPr>
          <p:cNvSpPr>
            <a:spLocks noGrp="1"/>
          </p:cNvSpPr>
          <p:nvPr>
            <p:ph type="body" sz="quarter" idx="18" hasCustomPrompt="1"/>
          </p:nvPr>
        </p:nvSpPr>
        <p:spPr>
          <a:xfrm>
            <a:off x="3679823" y="2409994"/>
            <a:ext cx="2594766" cy="501612"/>
          </a:xfrm>
        </p:spPr>
        <p:txBody>
          <a:bodyPr/>
          <a:lstStyle>
            <a:lvl1pPr>
              <a:lnSpc>
                <a:spcPct val="101000"/>
              </a:lnSpc>
              <a:tabLst>
                <a:tab pos="266700" algn="l"/>
              </a:tabLst>
              <a:defRPr sz="1000">
                <a:solidFill>
                  <a:schemeClr val="tx2"/>
                </a:solidFill>
                <a:latin typeface="Enedis Light" pitchFamily="50" charset="0"/>
              </a:defRPr>
            </a:lvl1pPr>
            <a:lvl2pPr marL="0" indent="0">
              <a:lnSpc>
                <a:spcPct val="101000"/>
              </a:lnSpc>
              <a:spcAft>
                <a:spcPts val="600"/>
              </a:spcAft>
              <a:buNone/>
              <a:defRPr sz="1300" b="1">
                <a:solidFill>
                  <a:schemeClr val="tx2"/>
                </a:solidFill>
                <a:latin typeface="+mj-lt"/>
              </a:defRPr>
            </a:lvl2pPr>
          </a:lstStyle>
          <a:p>
            <a:pPr lvl="0"/>
            <a:r>
              <a:rPr lang="fr-FR"/>
              <a:t>2.1	 Lorem ipsum </a:t>
            </a:r>
            <a:r>
              <a:rPr lang="fr-FR" err="1"/>
              <a:t>dolor</a:t>
            </a:r>
            <a:r>
              <a:rPr lang="fr-FR"/>
              <a:t> </a:t>
            </a:r>
            <a:r>
              <a:rPr lang="fr-FR" err="1"/>
              <a:t>sit</a:t>
            </a:r>
            <a:endParaRPr lang="fr-FR"/>
          </a:p>
          <a:p>
            <a:pPr lvl="0"/>
            <a:r>
              <a:rPr lang="fr-FR"/>
              <a:t>1.2</a:t>
            </a:r>
          </a:p>
          <a:p>
            <a:pPr lvl="1"/>
            <a:r>
              <a:rPr lang="fr-FR"/>
              <a:t>Lorem ipsum </a:t>
            </a:r>
          </a:p>
        </p:txBody>
      </p:sp>
      <p:sp>
        <p:nvSpPr>
          <p:cNvPr id="35" name="Espace réservé du texte 9">
            <a:extLst>
              <a:ext uri="{FF2B5EF4-FFF2-40B4-BE49-F238E27FC236}">
                <a16:creationId xmlns:a16="http://schemas.microsoft.com/office/drawing/2014/main" id="{B07ED754-1EDD-4CED-A1B6-D7DA04EEBE42}"/>
              </a:ext>
            </a:extLst>
          </p:cNvPr>
          <p:cNvSpPr>
            <a:spLocks noGrp="1"/>
          </p:cNvSpPr>
          <p:nvPr>
            <p:ph type="body" sz="quarter" idx="19" hasCustomPrompt="1"/>
          </p:nvPr>
        </p:nvSpPr>
        <p:spPr>
          <a:xfrm>
            <a:off x="6492832" y="1245914"/>
            <a:ext cx="1441494" cy="914096"/>
          </a:xfrm>
        </p:spPr>
        <p:txBody>
          <a:bodyPr/>
          <a:lstStyle>
            <a:lvl1pPr>
              <a:defRPr sz="6500">
                <a:solidFill>
                  <a:schemeClr val="tx2"/>
                </a:solidFill>
                <a:latin typeface="Enedis Black" pitchFamily="50" charset="0"/>
              </a:defRPr>
            </a:lvl1pPr>
          </a:lstStyle>
          <a:p>
            <a:pPr lvl="0"/>
            <a:r>
              <a:rPr lang="fr-FR"/>
              <a:t>03</a:t>
            </a:r>
          </a:p>
        </p:txBody>
      </p:sp>
      <p:sp>
        <p:nvSpPr>
          <p:cNvPr id="36" name="Espace réservé du graphique SmartArt 11">
            <a:extLst>
              <a:ext uri="{FF2B5EF4-FFF2-40B4-BE49-F238E27FC236}">
                <a16:creationId xmlns:a16="http://schemas.microsoft.com/office/drawing/2014/main" id="{D76339D7-380A-4CAD-8DC6-F87ABD51F4C2}"/>
              </a:ext>
            </a:extLst>
          </p:cNvPr>
          <p:cNvSpPr>
            <a:spLocks noGrp="1"/>
          </p:cNvSpPr>
          <p:nvPr>
            <p:ph type="dgm" sz="quarter" idx="20"/>
          </p:nvPr>
        </p:nvSpPr>
        <p:spPr>
          <a:xfrm>
            <a:off x="6550819" y="2178621"/>
            <a:ext cx="349020" cy="47313"/>
          </a:xfrm>
          <a:solidFill>
            <a:schemeClr val="accent1"/>
          </a:solidFill>
        </p:spPr>
        <p:txBody>
          <a:bodyPr>
            <a:noAutofit/>
          </a:bodyPr>
          <a:lstStyle>
            <a:lvl1pPr>
              <a:defRPr sz="100">
                <a:noFill/>
              </a:defRPr>
            </a:lvl1pPr>
          </a:lstStyle>
          <a:p>
            <a:endParaRPr lang="fr-FR"/>
          </a:p>
        </p:txBody>
      </p:sp>
      <p:sp>
        <p:nvSpPr>
          <p:cNvPr id="37" name="Espace réservé du texte 13">
            <a:extLst>
              <a:ext uri="{FF2B5EF4-FFF2-40B4-BE49-F238E27FC236}">
                <a16:creationId xmlns:a16="http://schemas.microsoft.com/office/drawing/2014/main" id="{3794E4C0-570C-43AC-9B90-033E52E41DDA}"/>
              </a:ext>
            </a:extLst>
          </p:cNvPr>
          <p:cNvSpPr>
            <a:spLocks noGrp="1"/>
          </p:cNvSpPr>
          <p:nvPr>
            <p:ph type="body" sz="quarter" idx="21" hasCustomPrompt="1"/>
          </p:nvPr>
        </p:nvSpPr>
        <p:spPr>
          <a:xfrm>
            <a:off x="6546848" y="2409994"/>
            <a:ext cx="2594766" cy="501612"/>
          </a:xfrm>
        </p:spPr>
        <p:txBody>
          <a:bodyPr/>
          <a:lstStyle>
            <a:lvl1pPr>
              <a:lnSpc>
                <a:spcPct val="101000"/>
              </a:lnSpc>
              <a:tabLst>
                <a:tab pos="266700" algn="l"/>
              </a:tabLst>
              <a:defRPr sz="1000">
                <a:solidFill>
                  <a:schemeClr val="tx2"/>
                </a:solidFill>
                <a:latin typeface="Enedis Light" pitchFamily="50" charset="0"/>
              </a:defRPr>
            </a:lvl1pPr>
            <a:lvl2pPr marL="0" indent="0">
              <a:lnSpc>
                <a:spcPct val="101000"/>
              </a:lnSpc>
              <a:spcAft>
                <a:spcPts val="600"/>
              </a:spcAft>
              <a:buNone/>
              <a:defRPr sz="1300" b="1">
                <a:solidFill>
                  <a:schemeClr val="tx2"/>
                </a:solidFill>
                <a:latin typeface="+mj-lt"/>
              </a:defRPr>
            </a:lvl2pPr>
          </a:lstStyle>
          <a:p>
            <a:pPr lvl="0"/>
            <a:r>
              <a:rPr lang="fr-FR"/>
              <a:t>3.1	 Lorem ipsum </a:t>
            </a:r>
            <a:r>
              <a:rPr lang="fr-FR" err="1"/>
              <a:t>dolor</a:t>
            </a:r>
            <a:r>
              <a:rPr lang="fr-FR"/>
              <a:t> </a:t>
            </a:r>
            <a:r>
              <a:rPr lang="fr-FR" err="1"/>
              <a:t>sit</a:t>
            </a:r>
            <a:endParaRPr lang="fr-FR"/>
          </a:p>
          <a:p>
            <a:pPr lvl="0"/>
            <a:r>
              <a:rPr lang="fr-FR"/>
              <a:t>1.2</a:t>
            </a:r>
          </a:p>
          <a:p>
            <a:pPr lvl="1"/>
            <a:r>
              <a:rPr lang="fr-FR"/>
              <a:t>Lorem ipsum </a:t>
            </a:r>
          </a:p>
        </p:txBody>
      </p:sp>
      <p:sp>
        <p:nvSpPr>
          <p:cNvPr id="38" name="Espace réservé du texte 9">
            <a:extLst>
              <a:ext uri="{FF2B5EF4-FFF2-40B4-BE49-F238E27FC236}">
                <a16:creationId xmlns:a16="http://schemas.microsoft.com/office/drawing/2014/main" id="{B3FD27EA-E9C9-4E24-8811-EFBEAC1E5285}"/>
              </a:ext>
            </a:extLst>
          </p:cNvPr>
          <p:cNvSpPr>
            <a:spLocks noGrp="1"/>
          </p:cNvSpPr>
          <p:nvPr>
            <p:ph type="body" sz="quarter" idx="22" hasCustomPrompt="1"/>
          </p:nvPr>
        </p:nvSpPr>
        <p:spPr>
          <a:xfrm>
            <a:off x="9359857" y="1245914"/>
            <a:ext cx="1441494" cy="914096"/>
          </a:xfrm>
        </p:spPr>
        <p:txBody>
          <a:bodyPr/>
          <a:lstStyle>
            <a:lvl1pPr>
              <a:defRPr sz="6500">
                <a:solidFill>
                  <a:schemeClr val="tx2"/>
                </a:solidFill>
                <a:latin typeface="Enedis Black" pitchFamily="50" charset="0"/>
              </a:defRPr>
            </a:lvl1pPr>
          </a:lstStyle>
          <a:p>
            <a:pPr lvl="0"/>
            <a:r>
              <a:rPr lang="fr-FR"/>
              <a:t>04</a:t>
            </a:r>
          </a:p>
        </p:txBody>
      </p:sp>
      <p:sp>
        <p:nvSpPr>
          <p:cNvPr id="39" name="Espace réservé du graphique SmartArt 11">
            <a:extLst>
              <a:ext uri="{FF2B5EF4-FFF2-40B4-BE49-F238E27FC236}">
                <a16:creationId xmlns:a16="http://schemas.microsoft.com/office/drawing/2014/main" id="{5B9C1650-E33A-490E-97E5-3BB054BA4C58}"/>
              </a:ext>
            </a:extLst>
          </p:cNvPr>
          <p:cNvSpPr>
            <a:spLocks noGrp="1"/>
          </p:cNvSpPr>
          <p:nvPr>
            <p:ph type="dgm" sz="quarter" idx="23"/>
          </p:nvPr>
        </p:nvSpPr>
        <p:spPr>
          <a:xfrm>
            <a:off x="9417844" y="2178621"/>
            <a:ext cx="349020" cy="47313"/>
          </a:xfrm>
          <a:solidFill>
            <a:srgbClr val="1D80D1"/>
          </a:solidFill>
        </p:spPr>
        <p:txBody>
          <a:bodyPr>
            <a:noAutofit/>
          </a:bodyPr>
          <a:lstStyle>
            <a:lvl1pPr>
              <a:defRPr sz="100">
                <a:noFill/>
              </a:defRPr>
            </a:lvl1pPr>
          </a:lstStyle>
          <a:p>
            <a:endParaRPr lang="fr-FR"/>
          </a:p>
        </p:txBody>
      </p:sp>
      <p:sp>
        <p:nvSpPr>
          <p:cNvPr id="40" name="Espace réservé du texte 13">
            <a:extLst>
              <a:ext uri="{FF2B5EF4-FFF2-40B4-BE49-F238E27FC236}">
                <a16:creationId xmlns:a16="http://schemas.microsoft.com/office/drawing/2014/main" id="{6CAC93EF-2024-4B0D-90A8-AE4CD90E3C65}"/>
              </a:ext>
            </a:extLst>
          </p:cNvPr>
          <p:cNvSpPr>
            <a:spLocks noGrp="1"/>
          </p:cNvSpPr>
          <p:nvPr>
            <p:ph type="body" sz="quarter" idx="24" hasCustomPrompt="1"/>
          </p:nvPr>
        </p:nvSpPr>
        <p:spPr>
          <a:xfrm>
            <a:off x="9413873" y="2409994"/>
            <a:ext cx="2594766" cy="501612"/>
          </a:xfrm>
        </p:spPr>
        <p:txBody>
          <a:bodyPr/>
          <a:lstStyle>
            <a:lvl1pPr>
              <a:lnSpc>
                <a:spcPct val="101000"/>
              </a:lnSpc>
              <a:tabLst>
                <a:tab pos="266700" algn="l"/>
              </a:tabLst>
              <a:defRPr sz="1000">
                <a:solidFill>
                  <a:schemeClr val="tx2"/>
                </a:solidFill>
                <a:latin typeface="Enedis Light" pitchFamily="50" charset="0"/>
              </a:defRPr>
            </a:lvl1pPr>
            <a:lvl2pPr marL="0" indent="0">
              <a:lnSpc>
                <a:spcPct val="101000"/>
              </a:lnSpc>
              <a:spcAft>
                <a:spcPts val="600"/>
              </a:spcAft>
              <a:buNone/>
              <a:defRPr sz="1300" b="1">
                <a:solidFill>
                  <a:schemeClr val="tx2"/>
                </a:solidFill>
                <a:latin typeface="+mj-lt"/>
              </a:defRPr>
            </a:lvl2pPr>
          </a:lstStyle>
          <a:p>
            <a:pPr lvl="0"/>
            <a:r>
              <a:rPr lang="fr-FR"/>
              <a:t>4.1	 Lorem ipsum </a:t>
            </a:r>
            <a:r>
              <a:rPr lang="fr-FR" err="1"/>
              <a:t>dolor</a:t>
            </a:r>
            <a:r>
              <a:rPr lang="fr-FR"/>
              <a:t> </a:t>
            </a:r>
            <a:r>
              <a:rPr lang="fr-FR" err="1"/>
              <a:t>sit</a:t>
            </a:r>
            <a:endParaRPr lang="fr-FR"/>
          </a:p>
          <a:p>
            <a:pPr lvl="0"/>
            <a:r>
              <a:rPr lang="fr-FR"/>
              <a:t>1.2</a:t>
            </a:r>
          </a:p>
          <a:p>
            <a:pPr lvl="1"/>
            <a:r>
              <a:rPr lang="fr-FR"/>
              <a:t>Lorem ipsum </a:t>
            </a:r>
          </a:p>
        </p:txBody>
      </p:sp>
      <p:sp>
        <p:nvSpPr>
          <p:cNvPr id="41" name="Espace réservé du texte 9">
            <a:extLst>
              <a:ext uri="{FF2B5EF4-FFF2-40B4-BE49-F238E27FC236}">
                <a16:creationId xmlns:a16="http://schemas.microsoft.com/office/drawing/2014/main" id="{6DC5F123-E1B0-40B1-B95D-C900AF328AAC}"/>
              </a:ext>
            </a:extLst>
          </p:cNvPr>
          <p:cNvSpPr>
            <a:spLocks noGrp="1"/>
          </p:cNvSpPr>
          <p:nvPr>
            <p:ph type="body" sz="quarter" idx="25" hasCustomPrompt="1"/>
          </p:nvPr>
        </p:nvSpPr>
        <p:spPr>
          <a:xfrm>
            <a:off x="758782" y="3593133"/>
            <a:ext cx="1441494" cy="914096"/>
          </a:xfrm>
        </p:spPr>
        <p:txBody>
          <a:bodyPr/>
          <a:lstStyle>
            <a:lvl1pPr>
              <a:defRPr sz="6500">
                <a:solidFill>
                  <a:schemeClr val="tx2"/>
                </a:solidFill>
                <a:latin typeface="Enedis Black" pitchFamily="50" charset="0"/>
              </a:defRPr>
            </a:lvl1pPr>
          </a:lstStyle>
          <a:p>
            <a:pPr lvl="0"/>
            <a:r>
              <a:rPr lang="fr-FR"/>
              <a:t>05</a:t>
            </a:r>
          </a:p>
        </p:txBody>
      </p:sp>
      <p:sp>
        <p:nvSpPr>
          <p:cNvPr id="42" name="Espace réservé du graphique SmartArt 11">
            <a:extLst>
              <a:ext uri="{FF2B5EF4-FFF2-40B4-BE49-F238E27FC236}">
                <a16:creationId xmlns:a16="http://schemas.microsoft.com/office/drawing/2014/main" id="{9BEDF3BA-F00A-4514-A432-A0E832836261}"/>
              </a:ext>
            </a:extLst>
          </p:cNvPr>
          <p:cNvSpPr>
            <a:spLocks noGrp="1"/>
          </p:cNvSpPr>
          <p:nvPr>
            <p:ph type="dgm" sz="quarter" idx="26"/>
          </p:nvPr>
        </p:nvSpPr>
        <p:spPr>
          <a:xfrm>
            <a:off x="816769" y="4525840"/>
            <a:ext cx="349020" cy="47313"/>
          </a:xfrm>
          <a:solidFill>
            <a:schemeClr val="accent5"/>
          </a:solidFill>
        </p:spPr>
        <p:txBody>
          <a:bodyPr>
            <a:noAutofit/>
          </a:bodyPr>
          <a:lstStyle>
            <a:lvl1pPr>
              <a:defRPr sz="100">
                <a:noFill/>
              </a:defRPr>
            </a:lvl1pPr>
          </a:lstStyle>
          <a:p>
            <a:endParaRPr lang="fr-FR"/>
          </a:p>
        </p:txBody>
      </p:sp>
      <p:sp>
        <p:nvSpPr>
          <p:cNvPr id="43" name="Espace réservé du texte 13">
            <a:extLst>
              <a:ext uri="{FF2B5EF4-FFF2-40B4-BE49-F238E27FC236}">
                <a16:creationId xmlns:a16="http://schemas.microsoft.com/office/drawing/2014/main" id="{EEF505F8-687B-4B5F-A320-CBD06625D261}"/>
              </a:ext>
            </a:extLst>
          </p:cNvPr>
          <p:cNvSpPr>
            <a:spLocks noGrp="1"/>
          </p:cNvSpPr>
          <p:nvPr>
            <p:ph type="body" sz="quarter" idx="27" hasCustomPrompt="1"/>
          </p:nvPr>
        </p:nvSpPr>
        <p:spPr>
          <a:xfrm>
            <a:off x="812798" y="4757213"/>
            <a:ext cx="2594766" cy="501612"/>
          </a:xfrm>
        </p:spPr>
        <p:txBody>
          <a:bodyPr/>
          <a:lstStyle>
            <a:lvl1pPr>
              <a:lnSpc>
                <a:spcPct val="101000"/>
              </a:lnSpc>
              <a:tabLst>
                <a:tab pos="266700" algn="l"/>
              </a:tabLst>
              <a:defRPr sz="1000">
                <a:solidFill>
                  <a:schemeClr val="tx2"/>
                </a:solidFill>
                <a:latin typeface="Enedis Light" pitchFamily="50" charset="0"/>
              </a:defRPr>
            </a:lvl1pPr>
            <a:lvl2pPr marL="0" indent="0">
              <a:lnSpc>
                <a:spcPct val="101000"/>
              </a:lnSpc>
              <a:spcAft>
                <a:spcPts val="600"/>
              </a:spcAft>
              <a:buNone/>
              <a:defRPr sz="1300" b="1">
                <a:solidFill>
                  <a:schemeClr val="tx2"/>
                </a:solidFill>
                <a:latin typeface="+mj-lt"/>
              </a:defRPr>
            </a:lvl2pPr>
          </a:lstStyle>
          <a:p>
            <a:pPr lvl="0"/>
            <a:r>
              <a:rPr lang="fr-FR"/>
              <a:t>5.1	 Lorem ipsum </a:t>
            </a:r>
            <a:r>
              <a:rPr lang="fr-FR" err="1"/>
              <a:t>dolor</a:t>
            </a:r>
            <a:r>
              <a:rPr lang="fr-FR"/>
              <a:t> </a:t>
            </a:r>
            <a:r>
              <a:rPr lang="fr-FR" err="1"/>
              <a:t>sit</a:t>
            </a:r>
            <a:endParaRPr lang="fr-FR"/>
          </a:p>
          <a:p>
            <a:pPr lvl="0"/>
            <a:r>
              <a:rPr lang="fr-FR"/>
              <a:t>1.2</a:t>
            </a:r>
          </a:p>
          <a:p>
            <a:pPr lvl="1"/>
            <a:r>
              <a:rPr lang="fr-FR"/>
              <a:t>Lorem ipsum </a:t>
            </a:r>
          </a:p>
        </p:txBody>
      </p:sp>
      <p:sp>
        <p:nvSpPr>
          <p:cNvPr id="44" name="Espace réservé du texte 9">
            <a:extLst>
              <a:ext uri="{FF2B5EF4-FFF2-40B4-BE49-F238E27FC236}">
                <a16:creationId xmlns:a16="http://schemas.microsoft.com/office/drawing/2014/main" id="{16973B62-3419-4129-A2E6-4F7715103E2D}"/>
              </a:ext>
            </a:extLst>
          </p:cNvPr>
          <p:cNvSpPr>
            <a:spLocks noGrp="1"/>
          </p:cNvSpPr>
          <p:nvPr>
            <p:ph type="body" sz="quarter" idx="28" hasCustomPrompt="1"/>
          </p:nvPr>
        </p:nvSpPr>
        <p:spPr>
          <a:xfrm>
            <a:off x="3625807" y="3593133"/>
            <a:ext cx="1441494" cy="914096"/>
          </a:xfrm>
        </p:spPr>
        <p:txBody>
          <a:bodyPr/>
          <a:lstStyle>
            <a:lvl1pPr>
              <a:defRPr sz="6500">
                <a:solidFill>
                  <a:schemeClr val="tx2"/>
                </a:solidFill>
                <a:latin typeface="Enedis Black" pitchFamily="50" charset="0"/>
              </a:defRPr>
            </a:lvl1pPr>
          </a:lstStyle>
          <a:p>
            <a:pPr lvl="0"/>
            <a:r>
              <a:rPr lang="fr-FR"/>
              <a:t>06</a:t>
            </a:r>
          </a:p>
        </p:txBody>
      </p:sp>
      <p:sp>
        <p:nvSpPr>
          <p:cNvPr id="45" name="Espace réservé du graphique SmartArt 11">
            <a:extLst>
              <a:ext uri="{FF2B5EF4-FFF2-40B4-BE49-F238E27FC236}">
                <a16:creationId xmlns:a16="http://schemas.microsoft.com/office/drawing/2014/main" id="{F5251D23-12DD-4A77-B2F1-63D7461C418B}"/>
              </a:ext>
            </a:extLst>
          </p:cNvPr>
          <p:cNvSpPr>
            <a:spLocks noGrp="1"/>
          </p:cNvSpPr>
          <p:nvPr>
            <p:ph type="dgm" sz="quarter" idx="29"/>
          </p:nvPr>
        </p:nvSpPr>
        <p:spPr>
          <a:xfrm>
            <a:off x="3683794" y="4525840"/>
            <a:ext cx="349020" cy="47313"/>
          </a:xfrm>
          <a:solidFill>
            <a:srgbClr val="41A67E"/>
          </a:solidFill>
        </p:spPr>
        <p:txBody>
          <a:bodyPr>
            <a:noAutofit/>
          </a:bodyPr>
          <a:lstStyle>
            <a:lvl1pPr>
              <a:defRPr sz="100">
                <a:noFill/>
              </a:defRPr>
            </a:lvl1pPr>
          </a:lstStyle>
          <a:p>
            <a:endParaRPr lang="fr-FR"/>
          </a:p>
        </p:txBody>
      </p:sp>
      <p:sp>
        <p:nvSpPr>
          <p:cNvPr id="46" name="Espace réservé du texte 13">
            <a:extLst>
              <a:ext uri="{FF2B5EF4-FFF2-40B4-BE49-F238E27FC236}">
                <a16:creationId xmlns:a16="http://schemas.microsoft.com/office/drawing/2014/main" id="{575B7750-B561-46E8-9C6B-13A8CB98B6C9}"/>
              </a:ext>
            </a:extLst>
          </p:cNvPr>
          <p:cNvSpPr>
            <a:spLocks noGrp="1"/>
          </p:cNvSpPr>
          <p:nvPr>
            <p:ph type="body" sz="quarter" idx="30" hasCustomPrompt="1"/>
          </p:nvPr>
        </p:nvSpPr>
        <p:spPr>
          <a:xfrm>
            <a:off x="3679823" y="4757213"/>
            <a:ext cx="2594766" cy="501612"/>
          </a:xfrm>
        </p:spPr>
        <p:txBody>
          <a:bodyPr/>
          <a:lstStyle>
            <a:lvl1pPr>
              <a:lnSpc>
                <a:spcPct val="101000"/>
              </a:lnSpc>
              <a:tabLst>
                <a:tab pos="266700" algn="l"/>
              </a:tabLst>
              <a:defRPr sz="1000">
                <a:solidFill>
                  <a:schemeClr val="tx2"/>
                </a:solidFill>
                <a:latin typeface="Enedis Light" pitchFamily="50" charset="0"/>
              </a:defRPr>
            </a:lvl1pPr>
            <a:lvl2pPr marL="0" indent="0">
              <a:lnSpc>
                <a:spcPct val="101000"/>
              </a:lnSpc>
              <a:spcAft>
                <a:spcPts val="600"/>
              </a:spcAft>
              <a:buNone/>
              <a:defRPr sz="1300" b="1">
                <a:solidFill>
                  <a:schemeClr val="tx2"/>
                </a:solidFill>
                <a:latin typeface="+mj-lt"/>
              </a:defRPr>
            </a:lvl2pPr>
          </a:lstStyle>
          <a:p>
            <a:pPr lvl="0"/>
            <a:r>
              <a:rPr lang="fr-FR"/>
              <a:t>6.1	 Lorem ipsum </a:t>
            </a:r>
            <a:r>
              <a:rPr lang="fr-FR" err="1"/>
              <a:t>dolor</a:t>
            </a:r>
            <a:r>
              <a:rPr lang="fr-FR"/>
              <a:t> </a:t>
            </a:r>
            <a:r>
              <a:rPr lang="fr-FR" err="1"/>
              <a:t>sit</a:t>
            </a:r>
            <a:endParaRPr lang="fr-FR"/>
          </a:p>
          <a:p>
            <a:pPr lvl="0"/>
            <a:r>
              <a:rPr lang="fr-FR"/>
              <a:t>1.2</a:t>
            </a:r>
          </a:p>
          <a:p>
            <a:pPr lvl="1"/>
            <a:r>
              <a:rPr lang="fr-FR"/>
              <a:t>Lorem ipsum </a:t>
            </a:r>
          </a:p>
        </p:txBody>
      </p:sp>
      <p:sp>
        <p:nvSpPr>
          <p:cNvPr id="47" name="Espace réservé du texte 9">
            <a:extLst>
              <a:ext uri="{FF2B5EF4-FFF2-40B4-BE49-F238E27FC236}">
                <a16:creationId xmlns:a16="http://schemas.microsoft.com/office/drawing/2014/main" id="{AC9DFC03-9E7B-4C05-9638-1F101542EBA0}"/>
              </a:ext>
            </a:extLst>
          </p:cNvPr>
          <p:cNvSpPr>
            <a:spLocks noGrp="1"/>
          </p:cNvSpPr>
          <p:nvPr>
            <p:ph type="body" sz="quarter" idx="31" hasCustomPrompt="1"/>
          </p:nvPr>
        </p:nvSpPr>
        <p:spPr>
          <a:xfrm>
            <a:off x="6492832" y="3593133"/>
            <a:ext cx="1441494" cy="914096"/>
          </a:xfrm>
        </p:spPr>
        <p:txBody>
          <a:bodyPr/>
          <a:lstStyle>
            <a:lvl1pPr>
              <a:defRPr sz="6500">
                <a:solidFill>
                  <a:schemeClr val="tx2"/>
                </a:solidFill>
                <a:latin typeface="Enedis Black" pitchFamily="50" charset="0"/>
              </a:defRPr>
            </a:lvl1pPr>
          </a:lstStyle>
          <a:p>
            <a:pPr lvl="0"/>
            <a:r>
              <a:rPr lang="fr-FR"/>
              <a:t>07</a:t>
            </a:r>
          </a:p>
        </p:txBody>
      </p:sp>
      <p:sp>
        <p:nvSpPr>
          <p:cNvPr id="48" name="Espace réservé du graphique SmartArt 11">
            <a:extLst>
              <a:ext uri="{FF2B5EF4-FFF2-40B4-BE49-F238E27FC236}">
                <a16:creationId xmlns:a16="http://schemas.microsoft.com/office/drawing/2014/main" id="{BD654057-923B-4E41-9B3A-2265447B2DA0}"/>
              </a:ext>
            </a:extLst>
          </p:cNvPr>
          <p:cNvSpPr>
            <a:spLocks noGrp="1"/>
          </p:cNvSpPr>
          <p:nvPr>
            <p:ph type="dgm" sz="quarter" idx="32"/>
          </p:nvPr>
        </p:nvSpPr>
        <p:spPr>
          <a:xfrm>
            <a:off x="6550819" y="4525840"/>
            <a:ext cx="349020" cy="47313"/>
          </a:xfrm>
          <a:solidFill>
            <a:srgbClr val="C8AF87"/>
          </a:solidFill>
        </p:spPr>
        <p:txBody>
          <a:bodyPr>
            <a:noAutofit/>
          </a:bodyPr>
          <a:lstStyle>
            <a:lvl1pPr>
              <a:defRPr sz="100">
                <a:noFill/>
              </a:defRPr>
            </a:lvl1pPr>
          </a:lstStyle>
          <a:p>
            <a:endParaRPr lang="fr-FR"/>
          </a:p>
        </p:txBody>
      </p:sp>
      <p:sp>
        <p:nvSpPr>
          <p:cNvPr id="49" name="Espace réservé du texte 13">
            <a:extLst>
              <a:ext uri="{FF2B5EF4-FFF2-40B4-BE49-F238E27FC236}">
                <a16:creationId xmlns:a16="http://schemas.microsoft.com/office/drawing/2014/main" id="{E6554B18-892E-447C-83A8-74996E0AF309}"/>
              </a:ext>
            </a:extLst>
          </p:cNvPr>
          <p:cNvSpPr>
            <a:spLocks noGrp="1"/>
          </p:cNvSpPr>
          <p:nvPr>
            <p:ph type="body" sz="quarter" idx="33" hasCustomPrompt="1"/>
          </p:nvPr>
        </p:nvSpPr>
        <p:spPr>
          <a:xfrm>
            <a:off x="6546848" y="4757213"/>
            <a:ext cx="2594766" cy="501612"/>
          </a:xfrm>
        </p:spPr>
        <p:txBody>
          <a:bodyPr/>
          <a:lstStyle>
            <a:lvl1pPr>
              <a:lnSpc>
                <a:spcPct val="101000"/>
              </a:lnSpc>
              <a:tabLst>
                <a:tab pos="266700" algn="l"/>
              </a:tabLst>
              <a:defRPr sz="1000">
                <a:solidFill>
                  <a:schemeClr val="tx2"/>
                </a:solidFill>
                <a:latin typeface="Enedis Light" pitchFamily="50" charset="0"/>
              </a:defRPr>
            </a:lvl1pPr>
            <a:lvl2pPr marL="0" indent="0">
              <a:lnSpc>
                <a:spcPct val="101000"/>
              </a:lnSpc>
              <a:spcAft>
                <a:spcPts val="600"/>
              </a:spcAft>
              <a:buNone/>
              <a:defRPr sz="1300" b="1">
                <a:solidFill>
                  <a:schemeClr val="tx2"/>
                </a:solidFill>
                <a:latin typeface="+mj-lt"/>
              </a:defRPr>
            </a:lvl2pPr>
          </a:lstStyle>
          <a:p>
            <a:pPr lvl="0"/>
            <a:r>
              <a:rPr lang="fr-FR"/>
              <a:t>7.1	 Lorem ipsum </a:t>
            </a:r>
            <a:r>
              <a:rPr lang="fr-FR" err="1"/>
              <a:t>dolor</a:t>
            </a:r>
            <a:r>
              <a:rPr lang="fr-FR"/>
              <a:t> </a:t>
            </a:r>
            <a:r>
              <a:rPr lang="fr-FR" err="1"/>
              <a:t>sit</a:t>
            </a:r>
            <a:endParaRPr lang="fr-FR"/>
          </a:p>
          <a:p>
            <a:pPr lvl="0"/>
            <a:r>
              <a:rPr lang="fr-FR"/>
              <a:t>1.2</a:t>
            </a:r>
          </a:p>
          <a:p>
            <a:pPr lvl="1"/>
            <a:r>
              <a:rPr lang="fr-FR"/>
              <a:t>Lorem ipsum </a:t>
            </a:r>
          </a:p>
        </p:txBody>
      </p:sp>
      <p:sp>
        <p:nvSpPr>
          <p:cNvPr id="50" name="Espace réservé du texte 9">
            <a:extLst>
              <a:ext uri="{FF2B5EF4-FFF2-40B4-BE49-F238E27FC236}">
                <a16:creationId xmlns:a16="http://schemas.microsoft.com/office/drawing/2014/main" id="{A562011F-95DD-4B3E-9FA5-C856AAC67EE6}"/>
              </a:ext>
            </a:extLst>
          </p:cNvPr>
          <p:cNvSpPr>
            <a:spLocks noGrp="1"/>
          </p:cNvSpPr>
          <p:nvPr>
            <p:ph type="body" sz="quarter" idx="34" hasCustomPrompt="1"/>
          </p:nvPr>
        </p:nvSpPr>
        <p:spPr>
          <a:xfrm>
            <a:off x="9359857" y="3593133"/>
            <a:ext cx="1441494" cy="914096"/>
          </a:xfrm>
        </p:spPr>
        <p:txBody>
          <a:bodyPr/>
          <a:lstStyle>
            <a:lvl1pPr>
              <a:defRPr sz="6500">
                <a:solidFill>
                  <a:schemeClr val="tx2"/>
                </a:solidFill>
                <a:latin typeface="Enedis Black" pitchFamily="50" charset="0"/>
              </a:defRPr>
            </a:lvl1pPr>
          </a:lstStyle>
          <a:p>
            <a:pPr lvl="0"/>
            <a:r>
              <a:rPr lang="fr-FR"/>
              <a:t>08</a:t>
            </a:r>
          </a:p>
        </p:txBody>
      </p:sp>
      <p:sp>
        <p:nvSpPr>
          <p:cNvPr id="51" name="Espace réservé du graphique SmartArt 11">
            <a:extLst>
              <a:ext uri="{FF2B5EF4-FFF2-40B4-BE49-F238E27FC236}">
                <a16:creationId xmlns:a16="http://schemas.microsoft.com/office/drawing/2014/main" id="{8888B22D-3F45-4EBB-BC4F-CE8ED1B58C86}"/>
              </a:ext>
            </a:extLst>
          </p:cNvPr>
          <p:cNvSpPr>
            <a:spLocks noGrp="1"/>
          </p:cNvSpPr>
          <p:nvPr>
            <p:ph type="dgm" sz="quarter" idx="35"/>
          </p:nvPr>
        </p:nvSpPr>
        <p:spPr>
          <a:xfrm>
            <a:off x="9417844" y="4525840"/>
            <a:ext cx="349020" cy="47313"/>
          </a:xfrm>
          <a:solidFill>
            <a:schemeClr val="accent6"/>
          </a:solidFill>
        </p:spPr>
        <p:txBody>
          <a:bodyPr>
            <a:noAutofit/>
          </a:bodyPr>
          <a:lstStyle>
            <a:lvl1pPr>
              <a:defRPr sz="100">
                <a:noFill/>
              </a:defRPr>
            </a:lvl1pPr>
          </a:lstStyle>
          <a:p>
            <a:endParaRPr lang="fr-FR"/>
          </a:p>
        </p:txBody>
      </p:sp>
      <p:sp>
        <p:nvSpPr>
          <p:cNvPr id="52" name="Espace réservé du texte 13">
            <a:extLst>
              <a:ext uri="{FF2B5EF4-FFF2-40B4-BE49-F238E27FC236}">
                <a16:creationId xmlns:a16="http://schemas.microsoft.com/office/drawing/2014/main" id="{9E2A303D-7266-42FB-9330-C2712394C02E}"/>
              </a:ext>
            </a:extLst>
          </p:cNvPr>
          <p:cNvSpPr>
            <a:spLocks noGrp="1"/>
          </p:cNvSpPr>
          <p:nvPr>
            <p:ph type="body" sz="quarter" idx="36" hasCustomPrompt="1"/>
          </p:nvPr>
        </p:nvSpPr>
        <p:spPr>
          <a:xfrm>
            <a:off x="9413873" y="4757213"/>
            <a:ext cx="2594766" cy="501612"/>
          </a:xfrm>
        </p:spPr>
        <p:txBody>
          <a:bodyPr/>
          <a:lstStyle>
            <a:lvl1pPr>
              <a:lnSpc>
                <a:spcPct val="101000"/>
              </a:lnSpc>
              <a:tabLst>
                <a:tab pos="266700" algn="l"/>
              </a:tabLst>
              <a:defRPr sz="1000">
                <a:solidFill>
                  <a:schemeClr val="tx2"/>
                </a:solidFill>
                <a:latin typeface="Enedis Light" pitchFamily="50" charset="0"/>
              </a:defRPr>
            </a:lvl1pPr>
            <a:lvl2pPr marL="0" indent="0">
              <a:lnSpc>
                <a:spcPct val="101000"/>
              </a:lnSpc>
              <a:spcAft>
                <a:spcPts val="600"/>
              </a:spcAft>
              <a:buNone/>
              <a:defRPr sz="1300" b="1">
                <a:solidFill>
                  <a:schemeClr val="tx2"/>
                </a:solidFill>
                <a:latin typeface="+mj-lt"/>
              </a:defRPr>
            </a:lvl2pPr>
          </a:lstStyle>
          <a:p>
            <a:pPr lvl="0"/>
            <a:r>
              <a:rPr lang="fr-FR"/>
              <a:t>8.1	 Lorem ipsum </a:t>
            </a:r>
            <a:r>
              <a:rPr lang="fr-FR" err="1"/>
              <a:t>dolor</a:t>
            </a:r>
            <a:r>
              <a:rPr lang="fr-FR"/>
              <a:t> </a:t>
            </a:r>
            <a:r>
              <a:rPr lang="fr-FR" err="1"/>
              <a:t>sit</a:t>
            </a:r>
            <a:endParaRPr lang="fr-FR"/>
          </a:p>
          <a:p>
            <a:pPr lvl="0"/>
            <a:r>
              <a:rPr lang="fr-FR"/>
              <a:t>1.2</a:t>
            </a:r>
          </a:p>
          <a:p>
            <a:pPr lvl="1"/>
            <a:r>
              <a:rPr lang="fr-FR"/>
              <a:t>Lorem ipsum </a:t>
            </a:r>
          </a:p>
        </p:txBody>
      </p:sp>
    </p:spTree>
    <p:extLst>
      <p:ext uri="{BB962C8B-B14F-4D97-AF65-F5344CB8AC3E}">
        <p14:creationId xmlns:p14="http://schemas.microsoft.com/office/powerpoint/2010/main" val="19674495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apositive I">
    <p:spTree>
      <p:nvGrpSpPr>
        <p:cNvPr id="1" name=""/>
        <p:cNvGrpSpPr/>
        <p:nvPr/>
      </p:nvGrpSpPr>
      <p:grpSpPr>
        <a:xfrm>
          <a:off x="0" y="0"/>
          <a:ext cx="0" cy="0"/>
          <a:chOff x="0" y="0"/>
          <a:chExt cx="0" cy="0"/>
        </a:xfrm>
      </p:grpSpPr>
      <p:sp>
        <p:nvSpPr>
          <p:cNvPr id="11" name="Espace réservé du pied de page 10">
            <a:extLst>
              <a:ext uri="{FF2B5EF4-FFF2-40B4-BE49-F238E27FC236}">
                <a16:creationId xmlns:a16="http://schemas.microsoft.com/office/drawing/2014/main" id="{05070C08-0C4F-480C-A4AD-38AC3DBE4AC8}"/>
              </a:ext>
            </a:extLst>
          </p:cNvPr>
          <p:cNvSpPr>
            <a:spLocks noGrp="1"/>
          </p:cNvSpPr>
          <p:nvPr>
            <p:ph type="ftr" sz="quarter" idx="20"/>
          </p:nvPr>
        </p:nvSpPr>
        <p:spPr/>
        <p:txBody>
          <a:bodyPr/>
          <a:lstStyle/>
          <a:p>
            <a:r>
              <a:rPr lang="fr-FR" smtClean="0"/>
              <a:t>Comité Pilotage Stratégique #9 V1.2 - 08/06/23</a:t>
            </a:r>
            <a:endParaRPr lang="fr-FR"/>
          </a:p>
        </p:txBody>
      </p:sp>
      <p:sp>
        <p:nvSpPr>
          <p:cNvPr id="12" name="Espace réservé du numéro de diapositive 11">
            <a:extLst>
              <a:ext uri="{FF2B5EF4-FFF2-40B4-BE49-F238E27FC236}">
                <a16:creationId xmlns:a16="http://schemas.microsoft.com/office/drawing/2014/main" id="{A20B3F73-B7A3-4D47-82E4-C5AA9E80D66F}"/>
              </a:ext>
            </a:extLst>
          </p:cNvPr>
          <p:cNvSpPr>
            <a:spLocks noGrp="1"/>
          </p:cNvSpPr>
          <p:nvPr>
            <p:ph type="sldNum" sz="quarter" idx="21"/>
          </p:nvPr>
        </p:nvSpPr>
        <p:spPr/>
        <p:txBody>
          <a:bodyPr/>
          <a:lstStyle>
            <a:lvl1pPr>
              <a:defRPr>
                <a:solidFill>
                  <a:schemeClr val="tx2"/>
                </a:solidFill>
              </a:defRPr>
            </a:lvl1pPr>
          </a:lstStyle>
          <a:p>
            <a:fld id="{6B54B0F7-55DD-40D6-B7F4-70B586885C0B}" type="slidenum">
              <a:rPr lang="fr-FR" smtClean="0"/>
              <a:pPr/>
              <a:t>‹N°›</a:t>
            </a:fld>
            <a:endParaRPr lang="fr-FR"/>
          </a:p>
        </p:txBody>
      </p:sp>
      <p:sp>
        <p:nvSpPr>
          <p:cNvPr id="16" name="Titre 8">
            <a:extLst>
              <a:ext uri="{FF2B5EF4-FFF2-40B4-BE49-F238E27FC236}">
                <a16:creationId xmlns:a16="http://schemas.microsoft.com/office/drawing/2014/main" id="{EC6C1856-89A9-40CF-B4C0-D16A188E2C62}"/>
              </a:ext>
            </a:extLst>
          </p:cNvPr>
          <p:cNvSpPr>
            <a:spLocks noGrp="1"/>
          </p:cNvSpPr>
          <p:nvPr>
            <p:ph type="title" hasCustomPrompt="1"/>
          </p:nvPr>
        </p:nvSpPr>
        <p:spPr>
          <a:xfrm>
            <a:off x="493391" y="488357"/>
            <a:ext cx="11175540" cy="891911"/>
          </a:xfrm>
        </p:spPr>
        <p:txBody>
          <a:bodyPr/>
          <a:lstStyle>
            <a:lvl1pPr>
              <a:lnSpc>
                <a:spcPct val="84000"/>
              </a:lnSpc>
              <a:defRPr sz="3450"/>
            </a:lvl1pPr>
          </a:lstStyle>
          <a:p>
            <a:r>
              <a:rPr lang="fr-FR"/>
              <a:t>Lorem ipsum </a:t>
            </a:r>
            <a:r>
              <a:rPr lang="fr-FR" err="1"/>
              <a:t>dolor</a:t>
            </a:r>
            <a:r>
              <a:rPr lang="fr-FR"/>
              <a:t> </a:t>
            </a:r>
            <a:r>
              <a:rPr lang="fr-FR" err="1"/>
              <a:t>sit</a:t>
            </a:r>
            <a:r>
              <a:rPr lang="fr-FR"/>
              <a:t> </a:t>
            </a:r>
            <a:r>
              <a:rPr lang="fr-FR" err="1"/>
              <a:t>amet</a:t>
            </a:r>
            <a:r>
              <a:rPr lang="fr-FR"/>
              <a:t>, </a:t>
            </a:r>
            <a:r>
              <a:rPr lang="fr-FR" err="1"/>
              <a:t>consectetuer</a:t>
            </a:r>
            <a:r>
              <a:rPr lang="fr-FR"/>
              <a:t/>
            </a:r>
            <a:br>
              <a:rPr lang="fr-FR"/>
            </a:br>
            <a:r>
              <a:rPr lang="fr-FR" err="1"/>
              <a:t>adipiscing</a:t>
            </a:r>
            <a:r>
              <a:rPr lang="fr-FR"/>
              <a:t> </a:t>
            </a:r>
            <a:r>
              <a:rPr lang="fr-FR" err="1"/>
              <a:t>elit</a:t>
            </a:r>
            <a:r>
              <a:rPr lang="fr-FR"/>
              <a:t>, </a:t>
            </a:r>
            <a:r>
              <a:rPr lang="fr-FR" err="1"/>
              <a:t>sed</a:t>
            </a:r>
            <a:r>
              <a:rPr lang="fr-FR"/>
              <a:t> diam </a:t>
            </a:r>
            <a:r>
              <a:rPr lang="fr-FR" err="1"/>
              <a:t>nonummy</a:t>
            </a:r>
            <a:r>
              <a:rPr lang="fr-FR"/>
              <a:t> </a:t>
            </a:r>
            <a:r>
              <a:rPr lang="fr-FR" err="1"/>
              <a:t>nibh</a:t>
            </a:r>
            <a:r>
              <a:rPr lang="fr-FR"/>
              <a:t> </a:t>
            </a:r>
            <a:r>
              <a:rPr lang="fr-FR" err="1"/>
              <a:t>euismod</a:t>
            </a:r>
            <a:endParaRPr lang="fr-FR"/>
          </a:p>
        </p:txBody>
      </p:sp>
      <p:sp>
        <p:nvSpPr>
          <p:cNvPr id="18" name="Espace réservé du texte 12">
            <a:extLst>
              <a:ext uri="{FF2B5EF4-FFF2-40B4-BE49-F238E27FC236}">
                <a16:creationId xmlns:a16="http://schemas.microsoft.com/office/drawing/2014/main" id="{DCE6F3B6-60EE-44F2-BA84-2C199F1096D5}"/>
              </a:ext>
            </a:extLst>
          </p:cNvPr>
          <p:cNvSpPr>
            <a:spLocks noGrp="1"/>
          </p:cNvSpPr>
          <p:nvPr>
            <p:ph type="body" sz="quarter" idx="18"/>
          </p:nvPr>
        </p:nvSpPr>
        <p:spPr>
          <a:xfrm>
            <a:off x="493391" y="1620838"/>
            <a:ext cx="7298059" cy="872547"/>
          </a:xfrm>
        </p:spPr>
        <p:txBody>
          <a:bodyPr/>
          <a:lstStyle>
            <a:lvl1pPr>
              <a:defRPr/>
            </a:lvl1pPr>
            <a:lvl5pPr>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97261397"/>
      </p:ext>
    </p:extLst>
  </p:cSld>
  <p:clrMapOvr>
    <a:masterClrMapping/>
  </p:clrMapOvr>
  <p:extLst mod="1">
    <p:ext uri="{DCECCB84-F9BA-43D5-87BE-67443E8EF086}">
      <p15:sldGuideLst xmlns:p15="http://schemas.microsoft.com/office/powerpoint/2012/main">
        <p15:guide id="1" pos="5110">
          <p15:clr>
            <a:srgbClr val="FBAE40"/>
          </p15:clr>
        </p15:guide>
        <p15:guide id="2" orient="horz" pos="1275">
          <p15:clr>
            <a:srgbClr val="FBAE40"/>
          </p15:clr>
        </p15:guide>
        <p15:guide id="3" orient="horz" pos="338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apositive P">
    <p:spTree>
      <p:nvGrpSpPr>
        <p:cNvPr id="1" name=""/>
        <p:cNvGrpSpPr/>
        <p:nvPr/>
      </p:nvGrpSpPr>
      <p:grpSpPr>
        <a:xfrm>
          <a:off x="0" y="0"/>
          <a:ext cx="0" cy="0"/>
          <a:chOff x="0" y="0"/>
          <a:chExt cx="0" cy="0"/>
        </a:xfrm>
      </p:grpSpPr>
      <p:sp>
        <p:nvSpPr>
          <p:cNvPr id="10" name="Espace réservé de la date 9">
            <a:extLst>
              <a:ext uri="{FF2B5EF4-FFF2-40B4-BE49-F238E27FC236}">
                <a16:creationId xmlns:a16="http://schemas.microsoft.com/office/drawing/2014/main" id="{506D7A77-3261-4789-90AF-4391ECC68EB7}"/>
              </a:ext>
            </a:extLst>
          </p:cNvPr>
          <p:cNvSpPr>
            <a:spLocks noGrp="1"/>
          </p:cNvSpPr>
          <p:nvPr>
            <p:ph type="dt" sz="half" idx="19"/>
          </p:nvPr>
        </p:nvSpPr>
        <p:spPr/>
        <p:txBody>
          <a:bodyPr/>
          <a:lstStyle>
            <a:lvl1pPr>
              <a:defRPr>
                <a:solidFill>
                  <a:schemeClr val="tx2"/>
                </a:solidFill>
              </a:defRPr>
            </a:lvl1pPr>
          </a:lstStyle>
          <a:p>
            <a:endParaRPr lang="fr-FR"/>
          </a:p>
        </p:txBody>
      </p:sp>
      <p:sp>
        <p:nvSpPr>
          <p:cNvPr id="11" name="Espace réservé du pied de page 10">
            <a:extLst>
              <a:ext uri="{FF2B5EF4-FFF2-40B4-BE49-F238E27FC236}">
                <a16:creationId xmlns:a16="http://schemas.microsoft.com/office/drawing/2014/main" id="{05070C08-0C4F-480C-A4AD-38AC3DBE4AC8}"/>
              </a:ext>
            </a:extLst>
          </p:cNvPr>
          <p:cNvSpPr>
            <a:spLocks noGrp="1"/>
          </p:cNvSpPr>
          <p:nvPr>
            <p:ph type="ftr" sz="quarter" idx="20"/>
          </p:nvPr>
        </p:nvSpPr>
        <p:spPr/>
        <p:txBody>
          <a:bodyPr/>
          <a:lstStyle/>
          <a:p>
            <a:r>
              <a:rPr lang="fr-FR" smtClean="0"/>
              <a:t>Comité Pilotage Stratégique #9 V1.2 - 08/06/23</a:t>
            </a:r>
            <a:endParaRPr lang="fr-FR"/>
          </a:p>
        </p:txBody>
      </p:sp>
      <p:sp>
        <p:nvSpPr>
          <p:cNvPr id="12" name="Espace réservé du numéro de diapositive 11">
            <a:extLst>
              <a:ext uri="{FF2B5EF4-FFF2-40B4-BE49-F238E27FC236}">
                <a16:creationId xmlns:a16="http://schemas.microsoft.com/office/drawing/2014/main" id="{A20B3F73-B7A3-4D47-82E4-C5AA9E80D66F}"/>
              </a:ext>
            </a:extLst>
          </p:cNvPr>
          <p:cNvSpPr>
            <a:spLocks noGrp="1"/>
          </p:cNvSpPr>
          <p:nvPr>
            <p:ph type="sldNum" sz="quarter" idx="21"/>
          </p:nvPr>
        </p:nvSpPr>
        <p:spPr/>
        <p:txBody>
          <a:bodyPr/>
          <a:lstStyle>
            <a:lvl1pPr>
              <a:defRPr>
                <a:solidFill>
                  <a:schemeClr val="tx2"/>
                </a:solidFill>
              </a:defRPr>
            </a:lvl1pPr>
          </a:lstStyle>
          <a:p>
            <a:fld id="{6B54B0F7-55DD-40D6-B7F4-70B586885C0B}" type="slidenum">
              <a:rPr lang="fr-FR" smtClean="0"/>
              <a:pPr/>
              <a:t>‹N°›</a:t>
            </a:fld>
            <a:endParaRPr lang="fr-FR"/>
          </a:p>
        </p:txBody>
      </p:sp>
      <p:sp>
        <p:nvSpPr>
          <p:cNvPr id="16" name="Titre 8">
            <a:extLst>
              <a:ext uri="{FF2B5EF4-FFF2-40B4-BE49-F238E27FC236}">
                <a16:creationId xmlns:a16="http://schemas.microsoft.com/office/drawing/2014/main" id="{EC6C1856-89A9-40CF-B4C0-D16A188E2C62}"/>
              </a:ext>
            </a:extLst>
          </p:cNvPr>
          <p:cNvSpPr>
            <a:spLocks noGrp="1"/>
          </p:cNvSpPr>
          <p:nvPr>
            <p:ph type="title" hasCustomPrompt="1"/>
          </p:nvPr>
        </p:nvSpPr>
        <p:spPr>
          <a:xfrm>
            <a:off x="493391" y="488357"/>
            <a:ext cx="11175540" cy="891911"/>
          </a:xfrm>
        </p:spPr>
        <p:txBody>
          <a:bodyPr/>
          <a:lstStyle>
            <a:lvl1pPr>
              <a:lnSpc>
                <a:spcPct val="84000"/>
              </a:lnSpc>
              <a:defRPr sz="3450"/>
            </a:lvl1pPr>
          </a:lstStyle>
          <a:p>
            <a:r>
              <a:rPr lang="fr-FR"/>
              <a:t>Lorem ipsum </a:t>
            </a:r>
            <a:r>
              <a:rPr lang="fr-FR" err="1"/>
              <a:t>dolor</a:t>
            </a:r>
            <a:r>
              <a:rPr lang="fr-FR"/>
              <a:t> </a:t>
            </a:r>
            <a:r>
              <a:rPr lang="fr-FR" err="1"/>
              <a:t>sit</a:t>
            </a:r>
            <a:r>
              <a:rPr lang="fr-FR"/>
              <a:t> </a:t>
            </a:r>
            <a:r>
              <a:rPr lang="fr-FR" err="1"/>
              <a:t>amet</a:t>
            </a:r>
            <a:r>
              <a:rPr lang="fr-FR"/>
              <a:t>, </a:t>
            </a:r>
            <a:r>
              <a:rPr lang="fr-FR" err="1"/>
              <a:t>consectetuer</a:t>
            </a:r>
            <a:r>
              <a:rPr lang="fr-FR"/>
              <a:t/>
            </a:r>
            <a:br>
              <a:rPr lang="fr-FR"/>
            </a:br>
            <a:r>
              <a:rPr lang="fr-FR" err="1"/>
              <a:t>adipiscing</a:t>
            </a:r>
            <a:r>
              <a:rPr lang="fr-FR"/>
              <a:t> </a:t>
            </a:r>
            <a:r>
              <a:rPr lang="fr-FR" err="1"/>
              <a:t>elit</a:t>
            </a:r>
            <a:r>
              <a:rPr lang="fr-FR"/>
              <a:t>, </a:t>
            </a:r>
            <a:r>
              <a:rPr lang="fr-FR" err="1"/>
              <a:t>sed</a:t>
            </a:r>
            <a:r>
              <a:rPr lang="fr-FR"/>
              <a:t> diam </a:t>
            </a:r>
            <a:r>
              <a:rPr lang="fr-FR" err="1"/>
              <a:t>nonummy</a:t>
            </a:r>
            <a:r>
              <a:rPr lang="fr-FR"/>
              <a:t> </a:t>
            </a:r>
            <a:r>
              <a:rPr lang="fr-FR" err="1"/>
              <a:t>nibh</a:t>
            </a:r>
            <a:r>
              <a:rPr lang="fr-FR"/>
              <a:t> </a:t>
            </a:r>
            <a:r>
              <a:rPr lang="fr-FR" err="1"/>
              <a:t>euismod</a:t>
            </a:r>
            <a:endParaRPr lang="fr-FR"/>
          </a:p>
        </p:txBody>
      </p:sp>
      <p:sp>
        <p:nvSpPr>
          <p:cNvPr id="13" name="Espace réservé pour une image  9">
            <a:extLst>
              <a:ext uri="{FF2B5EF4-FFF2-40B4-BE49-F238E27FC236}">
                <a16:creationId xmlns:a16="http://schemas.microsoft.com/office/drawing/2014/main" id="{D477D808-AC77-4B40-8AE2-7D345B62B029}"/>
              </a:ext>
            </a:extLst>
          </p:cNvPr>
          <p:cNvSpPr>
            <a:spLocks noGrp="1"/>
          </p:cNvSpPr>
          <p:nvPr>
            <p:ph type="pic" sz="quarter" idx="17"/>
          </p:nvPr>
        </p:nvSpPr>
        <p:spPr>
          <a:xfrm>
            <a:off x="493391" y="1629520"/>
            <a:ext cx="11175540" cy="4527439"/>
          </a:xfrm>
        </p:spPr>
        <p:txBody>
          <a:bodyPr>
            <a:noAutofit/>
          </a:bodyPr>
          <a:lstStyle>
            <a:lvl1pPr>
              <a:defRPr>
                <a:noFill/>
              </a:defRPr>
            </a:lvl1pPr>
          </a:lstStyle>
          <a:p>
            <a:endParaRPr lang="fr-FR"/>
          </a:p>
        </p:txBody>
      </p:sp>
    </p:spTree>
    <p:extLst>
      <p:ext uri="{BB962C8B-B14F-4D97-AF65-F5344CB8AC3E}">
        <p14:creationId xmlns:p14="http://schemas.microsoft.com/office/powerpoint/2010/main" val="608656255"/>
      </p:ext>
    </p:extLst>
  </p:cSld>
  <p:clrMapOvr>
    <a:masterClrMapping/>
  </p:clrMapOvr>
  <p:extLst mod="1">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ommaire A">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fr-FR" smtClean="0"/>
              <a:t>Comité Pilotage Stratégique #9 V1.2 - 08/06/23</a:t>
            </a:r>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N°›</a:t>
            </a:fld>
            <a:endParaRPr lang="en-US"/>
          </a:p>
        </p:txBody>
      </p:sp>
      <p:sp>
        <p:nvSpPr>
          <p:cNvPr id="2" name="Title 1"/>
          <p:cNvSpPr>
            <a:spLocks noGrp="1"/>
          </p:cNvSpPr>
          <p:nvPr>
            <p:ph type="title" hasCustomPrompt="1"/>
          </p:nvPr>
        </p:nvSpPr>
        <p:spPr>
          <a:xfrm>
            <a:off x="865417" y="1341524"/>
            <a:ext cx="10515600" cy="415498"/>
          </a:xfrm>
        </p:spPr>
        <p:txBody>
          <a:bodyPr anchor="b"/>
          <a:lstStyle>
            <a:lvl1pPr>
              <a:defRPr sz="2900" b="0" cap="all" baseline="0">
                <a:latin typeface="Enedis Light" pitchFamily="50" charset="0"/>
              </a:defRPr>
            </a:lvl1pPr>
          </a:lstStyle>
          <a:p>
            <a:r>
              <a:rPr lang="fr-FR"/>
              <a:t>sommaire</a:t>
            </a:r>
            <a:endParaRPr lang="en-US"/>
          </a:p>
        </p:txBody>
      </p:sp>
      <p:sp>
        <p:nvSpPr>
          <p:cNvPr id="10" name="Espace réservé du texte 9">
            <a:extLst>
              <a:ext uri="{FF2B5EF4-FFF2-40B4-BE49-F238E27FC236}">
                <a16:creationId xmlns:a16="http://schemas.microsoft.com/office/drawing/2014/main" id="{12AA1315-127C-4D9F-9D23-288A3BA03D32}"/>
              </a:ext>
            </a:extLst>
          </p:cNvPr>
          <p:cNvSpPr>
            <a:spLocks noGrp="1"/>
          </p:cNvSpPr>
          <p:nvPr>
            <p:ph type="body" sz="quarter" idx="13" hasCustomPrompt="1"/>
          </p:nvPr>
        </p:nvSpPr>
        <p:spPr>
          <a:xfrm>
            <a:off x="781597" y="1991220"/>
            <a:ext cx="2540723" cy="1301895"/>
          </a:xfrm>
        </p:spPr>
        <p:txBody>
          <a:bodyPr/>
          <a:lstStyle>
            <a:lvl1pPr>
              <a:defRPr sz="9300">
                <a:solidFill>
                  <a:schemeClr val="tx2"/>
                </a:solidFill>
                <a:latin typeface="Enedis Black" pitchFamily="50" charset="0"/>
              </a:defRPr>
            </a:lvl1pPr>
          </a:lstStyle>
          <a:p>
            <a:pPr lvl="0"/>
            <a:r>
              <a:rPr lang="fr-FR"/>
              <a:t>01</a:t>
            </a:r>
          </a:p>
        </p:txBody>
      </p:sp>
      <p:sp>
        <p:nvSpPr>
          <p:cNvPr id="12" name="Espace réservé du graphique SmartArt 11">
            <a:extLst>
              <a:ext uri="{FF2B5EF4-FFF2-40B4-BE49-F238E27FC236}">
                <a16:creationId xmlns:a16="http://schemas.microsoft.com/office/drawing/2014/main" id="{4D60CC07-941F-49FE-B4A3-940DAE7B42DC}"/>
              </a:ext>
            </a:extLst>
          </p:cNvPr>
          <p:cNvSpPr>
            <a:spLocks noGrp="1"/>
          </p:cNvSpPr>
          <p:nvPr>
            <p:ph type="dgm" sz="quarter" idx="14"/>
          </p:nvPr>
        </p:nvSpPr>
        <p:spPr>
          <a:xfrm>
            <a:off x="867799" y="3336443"/>
            <a:ext cx="349020" cy="47313"/>
          </a:xfrm>
          <a:solidFill>
            <a:schemeClr val="accent4"/>
          </a:solidFill>
        </p:spPr>
        <p:txBody>
          <a:bodyPr>
            <a:noAutofit/>
          </a:bodyPr>
          <a:lstStyle>
            <a:lvl1pPr>
              <a:defRPr sz="100">
                <a:noFill/>
              </a:defRPr>
            </a:lvl1pPr>
          </a:lstStyle>
          <a:p>
            <a:endParaRPr lang="fr-FR"/>
          </a:p>
        </p:txBody>
      </p:sp>
      <p:sp>
        <p:nvSpPr>
          <p:cNvPr id="14" name="Espace réservé du texte 13">
            <a:extLst>
              <a:ext uri="{FF2B5EF4-FFF2-40B4-BE49-F238E27FC236}">
                <a16:creationId xmlns:a16="http://schemas.microsoft.com/office/drawing/2014/main" id="{4E792D4C-793F-4C5B-BA93-5F723ACE2CA0}"/>
              </a:ext>
            </a:extLst>
          </p:cNvPr>
          <p:cNvSpPr>
            <a:spLocks noGrp="1"/>
          </p:cNvSpPr>
          <p:nvPr>
            <p:ph type="body" sz="quarter" idx="15" hasCustomPrompt="1"/>
          </p:nvPr>
        </p:nvSpPr>
        <p:spPr>
          <a:xfrm>
            <a:off x="865417" y="3663040"/>
            <a:ext cx="3009900" cy="611321"/>
          </a:xfrm>
        </p:spPr>
        <p:txBody>
          <a:bodyPr/>
          <a:lstStyle>
            <a:lvl1pPr>
              <a:lnSpc>
                <a:spcPct val="101000"/>
              </a:lnSpc>
              <a:tabLst>
                <a:tab pos="361950" algn="l"/>
              </a:tabLst>
              <a:defRPr sz="1400">
                <a:solidFill>
                  <a:schemeClr val="tx2"/>
                </a:solidFill>
                <a:latin typeface="Enedis Light" pitchFamily="50" charset="0"/>
              </a:defRPr>
            </a:lvl1pPr>
            <a:lvl2pPr marL="0" indent="0">
              <a:lnSpc>
                <a:spcPct val="101000"/>
              </a:lnSpc>
              <a:spcAft>
                <a:spcPts val="800"/>
              </a:spcAft>
              <a:buNone/>
              <a:defRPr b="1">
                <a:solidFill>
                  <a:schemeClr val="tx2"/>
                </a:solidFill>
                <a:latin typeface="+mj-lt"/>
              </a:defRPr>
            </a:lvl2pPr>
          </a:lstStyle>
          <a:p>
            <a:pPr lvl="0"/>
            <a:r>
              <a:rPr lang="fr-FR"/>
              <a:t>1.1	 Lorem ipsum </a:t>
            </a:r>
            <a:r>
              <a:rPr lang="fr-FR" err="1"/>
              <a:t>dolor</a:t>
            </a:r>
            <a:r>
              <a:rPr lang="fr-FR"/>
              <a:t> </a:t>
            </a:r>
            <a:r>
              <a:rPr lang="fr-FR" err="1"/>
              <a:t>sit</a:t>
            </a:r>
            <a:endParaRPr lang="fr-FR"/>
          </a:p>
          <a:p>
            <a:pPr lvl="0"/>
            <a:r>
              <a:rPr lang="fr-FR"/>
              <a:t>1.2</a:t>
            </a:r>
          </a:p>
          <a:p>
            <a:pPr lvl="1"/>
            <a:r>
              <a:rPr lang="fr-FR"/>
              <a:t>Lorem ipsum </a:t>
            </a:r>
          </a:p>
        </p:txBody>
      </p:sp>
      <p:sp>
        <p:nvSpPr>
          <p:cNvPr id="15" name="Espace réservé du texte 9">
            <a:extLst>
              <a:ext uri="{FF2B5EF4-FFF2-40B4-BE49-F238E27FC236}">
                <a16:creationId xmlns:a16="http://schemas.microsoft.com/office/drawing/2014/main" id="{9F834AC8-2CEB-4052-9436-7EAF7A88BEC1}"/>
              </a:ext>
            </a:extLst>
          </p:cNvPr>
          <p:cNvSpPr>
            <a:spLocks noGrp="1"/>
          </p:cNvSpPr>
          <p:nvPr>
            <p:ph type="body" sz="quarter" idx="16" hasCustomPrompt="1"/>
          </p:nvPr>
        </p:nvSpPr>
        <p:spPr>
          <a:xfrm>
            <a:off x="4592235" y="1990098"/>
            <a:ext cx="2540723" cy="1301895"/>
          </a:xfrm>
        </p:spPr>
        <p:txBody>
          <a:bodyPr/>
          <a:lstStyle>
            <a:lvl1pPr>
              <a:defRPr sz="9300">
                <a:solidFill>
                  <a:schemeClr val="tx2"/>
                </a:solidFill>
                <a:latin typeface="Enedis Black" pitchFamily="50" charset="0"/>
              </a:defRPr>
            </a:lvl1pPr>
          </a:lstStyle>
          <a:p>
            <a:pPr lvl="0"/>
            <a:r>
              <a:rPr lang="fr-FR"/>
              <a:t>02</a:t>
            </a:r>
          </a:p>
        </p:txBody>
      </p:sp>
      <p:sp>
        <p:nvSpPr>
          <p:cNvPr id="16" name="Espace réservé du graphique SmartArt 11">
            <a:extLst>
              <a:ext uri="{FF2B5EF4-FFF2-40B4-BE49-F238E27FC236}">
                <a16:creationId xmlns:a16="http://schemas.microsoft.com/office/drawing/2014/main" id="{EA18FD4C-29DC-4523-86DA-570BEB10C0B0}"/>
              </a:ext>
            </a:extLst>
          </p:cNvPr>
          <p:cNvSpPr>
            <a:spLocks noGrp="1"/>
          </p:cNvSpPr>
          <p:nvPr>
            <p:ph type="dgm" sz="quarter" idx="17"/>
          </p:nvPr>
        </p:nvSpPr>
        <p:spPr>
          <a:xfrm>
            <a:off x="4678437" y="3335321"/>
            <a:ext cx="349020" cy="47313"/>
          </a:xfrm>
          <a:solidFill>
            <a:schemeClr val="accent2"/>
          </a:solidFill>
        </p:spPr>
        <p:txBody>
          <a:bodyPr>
            <a:noAutofit/>
          </a:bodyPr>
          <a:lstStyle>
            <a:lvl1pPr>
              <a:defRPr sz="100">
                <a:noFill/>
              </a:defRPr>
            </a:lvl1pPr>
          </a:lstStyle>
          <a:p>
            <a:endParaRPr lang="fr-FR"/>
          </a:p>
        </p:txBody>
      </p:sp>
      <p:sp>
        <p:nvSpPr>
          <p:cNvPr id="17" name="Espace réservé du texte 13">
            <a:extLst>
              <a:ext uri="{FF2B5EF4-FFF2-40B4-BE49-F238E27FC236}">
                <a16:creationId xmlns:a16="http://schemas.microsoft.com/office/drawing/2014/main" id="{D4E791AC-82FB-49DE-A7E2-E0509CB3352B}"/>
              </a:ext>
            </a:extLst>
          </p:cNvPr>
          <p:cNvSpPr>
            <a:spLocks noGrp="1"/>
          </p:cNvSpPr>
          <p:nvPr>
            <p:ph type="body" sz="quarter" idx="18" hasCustomPrompt="1"/>
          </p:nvPr>
        </p:nvSpPr>
        <p:spPr>
          <a:xfrm>
            <a:off x="4676055" y="3661918"/>
            <a:ext cx="3009900" cy="611321"/>
          </a:xfrm>
        </p:spPr>
        <p:txBody>
          <a:bodyPr/>
          <a:lstStyle>
            <a:lvl1pPr>
              <a:lnSpc>
                <a:spcPct val="101000"/>
              </a:lnSpc>
              <a:tabLst>
                <a:tab pos="361950" algn="l"/>
              </a:tabLst>
              <a:defRPr sz="1400">
                <a:solidFill>
                  <a:schemeClr val="tx2"/>
                </a:solidFill>
                <a:latin typeface="Enedis Light" pitchFamily="50" charset="0"/>
              </a:defRPr>
            </a:lvl1pPr>
            <a:lvl2pPr marL="0" indent="0">
              <a:lnSpc>
                <a:spcPct val="101000"/>
              </a:lnSpc>
              <a:spcAft>
                <a:spcPts val="800"/>
              </a:spcAft>
              <a:buNone/>
              <a:defRPr b="1">
                <a:solidFill>
                  <a:schemeClr val="tx2"/>
                </a:solidFill>
                <a:latin typeface="+mj-lt"/>
              </a:defRPr>
            </a:lvl2pPr>
          </a:lstStyle>
          <a:p>
            <a:pPr lvl="0"/>
            <a:r>
              <a:rPr lang="fr-FR"/>
              <a:t>2.1	 Lorem ipsum </a:t>
            </a:r>
            <a:r>
              <a:rPr lang="fr-FR" err="1"/>
              <a:t>dolor</a:t>
            </a:r>
            <a:r>
              <a:rPr lang="fr-FR"/>
              <a:t> </a:t>
            </a:r>
            <a:r>
              <a:rPr lang="fr-FR" err="1"/>
              <a:t>sit</a:t>
            </a:r>
            <a:endParaRPr lang="fr-FR"/>
          </a:p>
          <a:p>
            <a:pPr lvl="0"/>
            <a:r>
              <a:rPr lang="fr-FR"/>
              <a:t>2.2</a:t>
            </a:r>
          </a:p>
          <a:p>
            <a:pPr lvl="1"/>
            <a:r>
              <a:rPr lang="fr-FR"/>
              <a:t>Lorem ipsum </a:t>
            </a:r>
          </a:p>
        </p:txBody>
      </p:sp>
      <p:sp>
        <p:nvSpPr>
          <p:cNvPr id="18" name="Espace réservé du texte 9">
            <a:extLst>
              <a:ext uri="{FF2B5EF4-FFF2-40B4-BE49-F238E27FC236}">
                <a16:creationId xmlns:a16="http://schemas.microsoft.com/office/drawing/2014/main" id="{AA27E8A2-26D4-49B7-820C-512B08D08B3C}"/>
              </a:ext>
            </a:extLst>
          </p:cNvPr>
          <p:cNvSpPr>
            <a:spLocks noGrp="1"/>
          </p:cNvSpPr>
          <p:nvPr>
            <p:ph type="body" sz="quarter" idx="19" hasCustomPrompt="1"/>
          </p:nvPr>
        </p:nvSpPr>
        <p:spPr>
          <a:xfrm>
            <a:off x="8435802" y="1990098"/>
            <a:ext cx="2540723" cy="1301895"/>
          </a:xfrm>
        </p:spPr>
        <p:txBody>
          <a:bodyPr/>
          <a:lstStyle>
            <a:lvl1pPr>
              <a:defRPr sz="9300">
                <a:solidFill>
                  <a:schemeClr val="tx2"/>
                </a:solidFill>
                <a:latin typeface="Enedis Black" pitchFamily="50" charset="0"/>
              </a:defRPr>
            </a:lvl1pPr>
          </a:lstStyle>
          <a:p>
            <a:pPr lvl="0"/>
            <a:r>
              <a:rPr lang="fr-FR"/>
              <a:t>03</a:t>
            </a:r>
          </a:p>
        </p:txBody>
      </p:sp>
      <p:sp>
        <p:nvSpPr>
          <p:cNvPr id="19" name="Espace réservé du graphique SmartArt 11">
            <a:extLst>
              <a:ext uri="{FF2B5EF4-FFF2-40B4-BE49-F238E27FC236}">
                <a16:creationId xmlns:a16="http://schemas.microsoft.com/office/drawing/2014/main" id="{67FC1B92-223F-4F9B-ACA2-CD6D250404DF}"/>
              </a:ext>
            </a:extLst>
          </p:cNvPr>
          <p:cNvSpPr>
            <a:spLocks noGrp="1"/>
          </p:cNvSpPr>
          <p:nvPr>
            <p:ph type="dgm" sz="quarter" idx="20"/>
          </p:nvPr>
        </p:nvSpPr>
        <p:spPr>
          <a:xfrm>
            <a:off x="8522004" y="3335321"/>
            <a:ext cx="349020" cy="47313"/>
          </a:xfrm>
          <a:solidFill>
            <a:schemeClr val="accent1"/>
          </a:solidFill>
        </p:spPr>
        <p:txBody>
          <a:bodyPr>
            <a:noAutofit/>
          </a:bodyPr>
          <a:lstStyle>
            <a:lvl1pPr>
              <a:defRPr sz="100">
                <a:noFill/>
              </a:defRPr>
            </a:lvl1pPr>
          </a:lstStyle>
          <a:p>
            <a:endParaRPr lang="fr-FR"/>
          </a:p>
        </p:txBody>
      </p:sp>
      <p:sp>
        <p:nvSpPr>
          <p:cNvPr id="20" name="Espace réservé du texte 13">
            <a:extLst>
              <a:ext uri="{FF2B5EF4-FFF2-40B4-BE49-F238E27FC236}">
                <a16:creationId xmlns:a16="http://schemas.microsoft.com/office/drawing/2014/main" id="{818CE6F3-27AD-4062-87BD-5450CD2D00AF}"/>
              </a:ext>
            </a:extLst>
          </p:cNvPr>
          <p:cNvSpPr>
            <a:spLocks noGrp="1"/>
          </p:cNvSpPr>
          <p:nvPr>
            <p:ph type="body" sz="quarter" idx="21" hasCustomPrompt="1"/>
          </p:nvPr>
        </p:nvSpPr>
        <p:spPr>
          <a:xfrm>
            <a:off x="8519622" y="3661918"/>
            <a:ext cx="3009900" cy="611321"/>
          </a:xfrm>
        </p:spPr>
        <p:txBody>
          <a:bodyPr/>
          <a:lstStyle>
            <a:lvl1pPr>
              <a:lnSpc>
                <a:spcPct val="101000"/>
              </a:lnSpc>
              <a:tabLst>
                <a:tab pos="361950" algn="l"/>
              </a:tabLst>
              <a:defRPr sz="1400">
                <a:solidFill>
                  <a:schemeClr val="tx2"/>
                </a:solidFill>
                <a:latin typeface="Enedis Light" pitchFamily="50" charset="0"/>
              </a:defRPr>
            </a:lvl1pPr>
            <a:lvl2pPr marL="0" indent="0">
              <a:lnSpc>
                <a:spcPct val="101000"/>
              </a:lnSpc>
              <a:spcAft>
                <a:spcPts val="800"/>
              </a:spcAft>
              <a:buNone/>
              <a:defRPr b="1">
                <a:solidFill>
                  <a:schemeClr val="tx2"/>
                </a:solidFill>
                <a:latin typeface="+mj-lt"/>
              </a:defRPr>
            </a:lvl2pPr>
          </a:lstStyle>
          <a:p>
            <a:pPr lvl="0"/>
            <a:r>
              <a:rPr lang="fr-FR"/>
              <a:t>3.1	 Lorem ipsum </a:t>
            </a:r>
            <a:r>
              <a:rPr lang="fr-FR" err="1"/>
              <a:t>dolor</a:t>
            </a:r>
            <a:r>
              <a:rPr lang="fr-FR"/>
              <a:t> </a:t>
            </a:r>
            <a:r>
              <a:rPr lang="fr-FR" err="1"/>
              <a:t>sit</a:t>
            </a:r>
            <a:endParaRPr lang="fr-FR"/>
          </a:p>
          <a:p>
            <a:pPr lvl="0"/>
            <a:r>
              <a:rPr lang="fr-FR"/>
              <a:t>3.2</a:t>
            </a:r>
          </a:p>
          <a:p>
            <a:pPr lvl="1"/>
            <a:r>
              <a:rPr lang="fr-FR"/>
              <a:t>Lorem ipsum </a:t>
            </a:r>
          </a:p>
        </p:txBody>
      </p:sp>
    </p:spTree>
    <p:extLst>
      <p:ext uri="{BB962C8B-B14F-4D97-AF65-F5344CB8AC3E}">
        <p14:creationId xmlns:p14="http://schemas.microsoft.com/office/powerpoint/2010/main" val="28768279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a:xfrm>
            <a:off x="609601" y="1628774"/>
            <a:ext cx="5294379" cy="453707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contenu 2"/>
          <p:cNvSpPr>
            <a:spLocks noGrp="1"/>
          </p:cNvSpPr>
          <p:nvPr>
            <p:ph idx="12"/>
          </p:nvPr>
        </p:nvSpPr>
        <p:spPr>
          <a:xfrm>
            <a:off x="6273205" y="1628774"/>
            <a:ext cx="5294379" cy="453707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3602248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anifesto H">
    <p:spTree>
      <p:nvGrpSpPr>
        <p:cNvPr id="1" name=""/>
        <p:cNvGrpSpPr/>
        <p:nvPr/>
      </p:nvGrpSpPr>
      <p:grpSpPr>
        <a:xfrm>
          <a:off x="0" y="0"/>
          <a:ext cx="0" cy="0"/>
          <a:chOff x="0" y="0"/>
          <a:chExt cx="0" cy="0"/>
        </a:xfrm>
      </p:grpSpPr>
      <p:sp>
        <p:nvSpPr>
          <p:cNvPr id="10" name="Espace réservé de la date 9">
            <a:extLst>
              <a:ext uri="{FF2B5EF4-FFF2-40B4-BE49-F238E27FC236}">
                <a16:creationId xmlns:a16="http://schemas.microsoft.com/office/drawing/2014/main" id="{506D7A77-3261-4789-90AF-4391ECC68EB7}"/>
              </a:ext>
            </a:extLst>
          </p:cNvPr>
          <p:cNvSpPr>
            <a:spLocks noGrp="1"/>
          </p:cNvSpPr>
          <p:nvPr>
            <p:ph type="dt" sz="half" idx="19"/>
          </p:nvPr>
        </p:nvSpPr>
        <p:spPr/>
        <p:txBody>
          <a:bodyPr/>
          <a:lstStyle>
            <a:lvl1pPr>
              <a:defRPr>
                <a:solidFill>
                  <a:schemeClr val="tx2"/>
                </a:solidFill>
              </a:defRPr>
            </a:lvl1pPr>
          </a:lstStyle>
          <a:p>
            <a:r>
              <a:rPr lang="fr-FR" smtClean="0"/>
              <a:t>Document confidentiel - Juin 2023</a:t>
            </a:r>
            <a:endParaRPr lang="fr-FR"/>
          </a:p>
        </p:txBody>
      </p:sp>
      <p:sp>
        <p:nvSpPr>
          <p:cNvPr id="11" name="Espace réservé du pied de page 10">
            <a:extLst>
              <a:ext uri="{FF2B5EF4-FFF2-40B4-BE49-F238E27FC236}">
                <a16:creationId xmlns:a16="http://schemas.microsoft.com/office/drawing/2014/main" id="{05070C08-0C4F-480C-A4AD-38AC3DBE4AC8}"/>
              </a:ext>
            </a:extLst>
          </p:cNvPr>
          <p:cNvSpPr>
            <a:spLocks noGrp="1"/>
          </p:cNvSpPr>
          <p:nvPr>
            <p:ph type="ftr" sz="quarter" idx="20"/>
          </p:nvPr>
        </p:nvSpPr>
        <p:spPr/>
        <p:txBody>
          <a:bodyPr/>
          <a:lstStyle>
            <a:lvl1pPr>
              <a:defRPr>
                <a:solidFill>
                  <a:schemeClr val="tx2"/>
                </a:solidFill>
              </a:defRPr>
            </a:lvl1pPr>
          </a:lstStyle>
          <a:p>
            <a:r>
              <a:rPr lang="fr-FR" smtClean="0"/>
              <a:t>Comptage en courant continu</a:t>
            </a:r>
            <a:endParaRPr lang="fr-FR"/>
          </a:p>
        </p:txBody>
      </p:sp>
      <p:sp>
        <p:nvSpPr>
          <p:cNvPr id="12" name="Espace réservé du numéro de diapositive 11">
            <a:extLst>
              <a:ext uri="{FF2B5EF4-FFF2-40B4-BE49-F238E27FC236}">
                <a16:creationId xmlns:a16="http://schemas.microsoft.com/office/drawing/2014/main" id="{A20B3F73-B7A3-4D47-82E4-C5AA9E80D66F}"/>
              </a:ext>
            </a:extLst>
          </p:cNvPr>
          <p:cNvSpPr>
            <a:spLocks noGrp="1"/>
          </p:cNvSpPr>
          <p:nvPr>
            <p:ph type="sldNum" sz="quarter" idx="21"/>
          </p:nvPr>
        </p:nvSpPr>
        <p:spPr/>
        <p:txBody>
          <a:bodyPr/>
          <a:lstStyle>
            <a:lvl1pPr>
              <a:defRPr>
                <a:solidFill>
                  <a:schemeClr val="tx2"/>
                </a:solidFill>
              </a:defRPr>
            </a:lvl1pPr>
          </a:lstStyle>
          <a:p>
            <a:fld id="{6B54B0F7-55DD-40D6-B7F4-70B586885C0B}" type="slidenum">
              <a:rPr lang="fr-FR" smtClean="0"/>
              <a:pPr/>
              <a:t>‹N°›</a:t>
            </a:fld>
            <a:endParaRPr lang="fr-FR"/>
          </a:p>
        </p:txBody>
      </p:sp>
      <p:sp>
        <p:nvSpPr>
          <p:cNvPr id="14" name="Titre 8">
            <a:extLst>
              <a:ext uri="{FF2B5EF4-FFF2-40B4-BE49-F238E27FC236}">
                <a16:creationId xmlns:a16="http://schemas.microsoft.com/office/drawing/2014/main" id="{84C899FF-869A-4315-A506-197107D1CE36}"/>
              </a:ext>
            </a:extLst>
          </p:cNvPr>
          <p:cNvSpPr>
            <a:spLocks noGrp="1"/>
          </p:cNvSpPr>
          <p:nvPr>
            <p:ph type="title" hasCustomPrompt="1"/>
          </p:nvPr>
        </p:nvSpPr>
        <p:spPr>
          <a:xfrm>
            <a:off x="360000" y="180000"/>
            <a:ext cx="11520000" cy="540000"/>
          </a:xfrm>
        </p:spPr>
        <p:txBody>
          <a:bodyPr/>
          <a:lstStyle>
            <a:lvl1pPr>
              <a:lnSpc>
                <a:spcPct val="84000"/>
              </a:lnSpc>
              <a:defRPr sz="2800"/>
            </a:lvl1pPr>
          </a:lstStyle>
          <a:p>
            <a:r>
              <a:rPr lang="fr-FR"/>
              <a:t>Lorem ipsum </a:t>
            </a:r>
            <a:r>
              <a:rPr lang="fr-FR" err="1"/>
              <a:t>dolor</a:t>
            </a:r>
            <a:r>
              <a:rPr lang="fr-FR"/>
              <a:t> </a:t>
            </a:r>
            <a:r>
              <a:rPr lang="fr-FR" err="1"/>
              <a:t>sit</a:t>
            </a:r>
            <a:r>
              <a:rPr lang="fr-FR"/>
              <a:t> </a:t>
            </a:r>
            <a:r>
              <a:rPr lang="fr-FR" err="1"/>
              <a:t>amet</a:t>
            </a:r>
            <a:r>
              <a:rPr lang="fr-FR"/>
              <a:t>, </a:t>
            </a:r>
            <a:r>
              <a:rPr lang="fr-FR" err="1"/>
              <a:t>consectetuer</a:t>
            </a:r>
            <a:r>
              <a:rPr lang="fr-FR"/>
              <a:t/>
            </a:r>
            <a:br>
              <a:rPr lang="fr-FR"/>
            </a:br>
            <a:r>
              <a:rPr lang="fr-FR" err="1"/>
              <a:t>adipiscing</a:t>
            </a:r>
            <a:r>
              <a:rPr lang="fr-FR"/>
              <a:t> </a:t>
            </a:r>
            <a:r>
              <a:rPr lang="fr-FR" err="1"/>
              <a:t>elit</a:t>
            </a:r>
            <a:r>
              <a:rPr lang="fr-FR"/>
              <a:t>, </a:t>
            </a:r>
            <a:r>
              <a:rPr lang="fr-FR" err="1"/>
              <a:t>sed</a:t>
            </a:r>
            <a:r>
              <a:rPr lang="fr-FR"/>
              <a:t> diam </a:t>
            </a:r>
            <a:r>
              <a:rPr lang="fr-FR" err="1"/>
              <a:t>nonummy</a:t>
            </a:r>
            <a:r>
              <a:rPr lang="fr-FR"/>
              <a:t> </a:t>
            </a:r>
            <a:r>
              <a:rPr lang="fr-FR" err="1"/>
              <a:t>nibh</a:t>
            </a:r>
            <a:r>
              <a:rPr lang="fr-FR"/>
              <a:t> </a:t>
            </a:r>
            <a:r>
              <a:rPr lang="fr-FR" err="1"/>
              <a:t>euismod</a:t>
            </a:r>
            <a:endParaRPr lang="fr-FR"/>
          </a:p>
        </p:txBody>
      </p:sp>
      <p:sp>
        <p:nvSpPr>
          <p:cNvPr id="21" name="Espace réservé du texte 12">
            <a:extLst>
              <a:ext uri="{FF2B5EF4-FFF2-40B4-BE49-F238E27FC236}">
                <a16:creationId xmlns:a16="http://schemas.microsoft.com/office/drawing/2014/main" id="{FAD613FF-7307-4886-9872-D6432E72380D}"/>
              </a:ext>
            </a:extLst>
          </p:cNvPr>
          <p:cNvSpPr>
            <a:spLocks noGrp="1"/>
          </p:cNvSpPr>
          <p:nvPr>
            <p:ph type="body" sz="quarter" idx="33" hasCustomPrompt="1"/>
          </p:nvPr>
        </p:nvSpPr>
        <p:spPr>
          <a:xfrm>
            <a:off x="1510700" y="1510290"/>
            <a:ext cx="4303825" cy="623248"/>
          </a:xfrm>
        </p:spPr>
        <p:txBody>
          <a:bodyPr/>
          <a:lstStyle>
            <a:lvl1pPr>
              <a:lnSpc>
                <a:spcPct val="80000"/>
              </a:lnSpc>
              <a:spcBef>
                <a:spcPts val="400"/>
              </a:spcBef>
              <a:defRPr sz="1500">
                <a:latin typeface="+mj-lt"/>
              </a:defRPr>
            </a:lvl1pPr>
            <a:lvl2pPr>
              <a:defRPr sz="1500"/>
            </a:lvl2pPr>
            <a:lvl3pPr>
              <a:defRPr sz="1400"/>
            </a:lvl3pPr>
            <a:lvl5pPr>
              <a:defRPr/>
            </a:lvl5pPr>
          </a:lstStyle>
          <a:p>
            <a:pPr lvl="0"/>
            <a:r>
              <a:rPr lang="fr-FR" dirty="0" err="1"/>
              <a:t>Tation</a:t>
            </a:r>
            <a:r>
              <a:rPr lang="fr-FR" dirty="0"/>
              <a:t> </a:t>
            </a:r>
            <a:r>
              <a:rPr lang="fr-FR" dirty="0" err="1"/>
              <a:t>ullamcorper</a:t>
            </a:r>
            <a:r>
              <a:rPr lang="fr-FR" dirty="0"/>
              <a:t> </a:t>
            </a:r>
            <a:r>
              <a:rPr lang="fr-FR" dirty="0" err="1"/>
              <a:t>suscipit</a:t>
            </a:r>
            <a:r>
              <a:rPr lang="fr-FR" dirty="0"/>
              <a:t> </a:t>
            </a:r>
            <a:r>
              <a:rPr lang="fr-FR" dirty="0" err="1"/>
              <a:t>lobortis</a:t>
            </a:r>
            <a:r>
              <a:rPr lang="fr-FR" dirty="0"/>
              <a:t> </a:t>
            </a:r>
            <a:r>
              <a:rPr lang="fr-FR" dirty="0" err="1"/>
              <a:t>nisl</a:t>
            </a:r>
            <a:r>
              <a:rPr lang="fr-FR" dirty="0"/>
              <a:t> ut</a:t>
            </a:r>
          </a:p>
          <a:p>
            <a:pPr lvl="0"/>
            <a:r>
              <a:rPr lang="fr-FR" dirty="0" err="1"/>
              <a:t>aliquip</a:t>
            </a:r>
            <a:r>
              <a:rPr lang="fr-FR" dirty="0"/>
              <a:t> ex </a:t>
            </a:r>
            <a:r>
              <a:rPr lang="fr-FR" dirty="0" err="1"/>
              <a:t>dolor</a:t>
            </a:r>
            <a:r>
              <a:rPr lang="fr-FR" dirty="0"/>
              <a:t> in </a:t>
            </a:r>
            <a:r>
              <a:rPr lang="fr-FR" dirty="0" err="1" smtClean="0"/>
              <a:t>hendrerit</a:t>
            </a:r>
            <a:r>
              <a:rPr lang="fr-FR" dirty="0" smtClean="0"/>
              <a:t> </a:t>
            </a:r>
            <a:r>
              <a:rPr lang="fr-FR" dirty="0"/>
              <a:t>in </a:t>
            </a:r>
            <a:r>
              <a:rPr lang="fr-FR" dirty="0" err="1"/>
              <a:t>vulputate</a:t>
            </a:r>
            <a:r>
              <a:rPr lang="fr-FR" dirty="0"/>
              <a:t> </a:t>
            </a:r>
            <a:r>
              <a:rPr lang="fr-FR" dirty="0" err="1"/>
              <a:t>velit</a:t>
            </a:r>
            <a:endParaRPr lang="fr-FR" dirty="0"/>
          </a:p>
          <a:p>
            <a:pPr lvl="0"/>
            <a:r>
              <a:rPr lang="fr-FR" dirty="0"/>
              <a:t>esse </a:t>
            </a:r>
            <a:r>
              <a:rPr lang="fr-FR" dirty="0" err="1"/>
              <a:t>molestie</a:t>
            </a:r>
            <a:r>
              <a:rPr lang="fr-FR" dirty="0"/>
              <a:t> </a:t>
            </a:r>
            <a:r>
              <a:rPr lang="fr-FR" dirty="0" err="1"/>
              <a:t>consequat</a:t>
            </a:r>
            <a:r>
              <a:rPr lang="fr-FR" dirty="0"/>
              <a:t>, </a:t>
            </a:r>
            <a:r>
              <a:rPr lang="fr-FR" dirty="0" err="1"/>
              <a:t>vel</a:t>
            </a:r>
            <a:r>
              <a:rPr lang="fr-FR" dirty="0"/>
              <a:t> </a:t>
            </a:r>
            <a:r>
              <a:rPr lang="fr-FR" dirty="0" err="1"/>
              <a:t>illum</a:t>
            </a:r>
            <a:r>
              <a:rPr lang="fr-FR" dirty="0"/>
              <a:t> </a:t>
            </a:r>
            <a:r>
              <a:rPr lang="fr-FR" dirty="0" err="1"/>
              <a:t>dolore</a:t>
            </a:r>
            <a:r>
              <a:rPr lang="fr-FR" dirty="0"/>
              <a:t> </a:t>
            </a:r>
            <a:r>
              <a:rPr lang="fr-FR" dirty="0" smtClean="0"/>
              <a:t>eu</a:t>
            </a:r>
          </a:p>
          <a:p>
            <a:pPr lvl="1"/>
            <a:r>
              <a:rPr lang="fr-FR" dirty="0" err="1" smtClean="0"/>
              <a:t>Ddd</a:t>
            </a:r>
            <a:endParaRPr lang="fr-FR" dirty="0" smtClean="0"/>
          </a:p>
          <a:p>
            <a:pPr lvl="2"/>
            <a:r>
              <a:rPr lang="fr-FR" dirty="0" err="1" smtClean="0"/>
              <a:t>ddd</a:t>
            </a:r>
            <a:endParaRPr lang="fr-FR" dirty="0"/>
          </a:p>
        </p:txBody>
      </p:sp>
      <p:sp>
        <p:nvSpPr>
          <p:cNvPr id="22" name="Espace réservé pour une image  4">
            <a:extLst>
              <a:ext uri="{FF2B5EF4-FFF2-40B4-BE49-F238E27FC236}">
                <a16:creationId xmlns:a16="http://schemas.microsoft.com/office/drawing/2014/main" id="{E04FBDC5-3108-4A68-A848-7297022E59E6}"/>
              </a:ext>
            </a:extLst>
          </p:cNvPr>
          <p:cNvSpPr>
            <a:spLocks noGrp="1"/>
          </p:cNvSpPr>
          <p:nvPr>
            <p:ph type="pic" sz="quarter" idx="36"/>
          </p:nvPr>
        </p:nvSpPr>
        <p:spPr>
          <a:xfrm>
            <a:off x="633448" y="1508896"/>
            <a:ext cx="641350" cy="621854"/>
          </a:xfrm>
        </p:spPr>
        <p:txBody>
          <a:bodyPr>
            <a:noAutofit/>
          </a:bodyPr>
          <a:lstStyle>
            <a:lvl1pPr>
              <a:defRPr>
                <a:noFill/>
              </a:defRPr>
            </a:lvl1pPr>
          </a:lstStyle>
          <a:p>
            <a:endParaRPr lang="fr-FR"/>
          </a:p>
        </p:txBody>
      </p:sp>
      <p:sp>
        <p:nvSpPr>
          <p:cNvPr id="23" name="Espace réservé du texte 12">
            <a:extLst>
              <a:ext uri="{FF2B5EF4-FFF2-40B4-BE49-F238E27FC236}">
                <a16:creationId xmlns:a16="http://schemas.microsoft.com/office/drawing/2014/main" id="{65206111-FFE9-4901-8740-8E14962A9EF9}"/>
              </a:ext>
            </a:extLst>
          </p:cNvPr>
          <p:cNvSpPr>
            <a:spLocks noGrp="1"/>
          </p:cNvSpPr>
          <p:nvPr>
            <p:ph type="body" sz="quarter" idx="37" hasCustomPrompt="1"/>
          </p:nvPr>
        </p:nvSpPr>
        <p:spPr>
          <a:xfrm>
            <a:off x="1510700" y="2915924"/>
            <a:ext cx="4303825" cy="623248"/>
          </a:xfrm>
        </p:spPr>
        <p:txBody>
          <a:bodyPr vert="horz" lIns="0" tIns="0" rIns="0" bIns="0" rtlCol="0">
            <a:noAutofit/>
          </a:bodyPr>
          <a:lstStyle>
            <a:lvl1pPr>
              <a:defRPr lang="fr-FR" sz="1500">
                <a:latin typeface="+mj-lt"/>
              </a:defRPr>
            </a:lvl1pPr>
          </a:lstStyle>
          <a:p>
            <a:pPr lvl="0">
              <a:lnSpc>
                <a:spcPct val="80000"/>
              </a:lnSpc>
              <a:spcBef>
                <a:spcPts val="400"/>
              </a:spcBef>
            </a:pPr>
            <a:r>
              <a:rPr lang="fr-FR" err="1"/>
              <a:t>Tation</a:t>
            </a:r>
            <a:r>
              <a:rPr lang="fr-FR"/>
              <a:t> </a:t>
            </a:r>
            <a:r>
              <a:rPr lang="fr-FR" err="1"/>
              <a:t>ullamcorper</a:t>
            </a:r>
            <a:r>
              <a:rPr lang="fr-FR"/>
              <a:t> </a:t>
            </a:r>
            <a:r>
              <a:rPr lang="fr-FR" err="1"/>
              <a:t>suscipit</a:t>
            </a:r>
            <a:r>
              <a:rPr lang="fr-FR"/>
              <a:t> </a:t>
            </a:r>
            <a:r>
              <a:rPr lang="fr-FR" err="1"/>
              <a:t>lobortis</a:t>
            </a:r>
            <a:r>
              <a:rPr lang="fr-FR"/>
              <a:t> </a:t>
            </a:r>
            <a:r>
              <a:rPr lang="fr-FR" err="1"/>
              <a:t>nisl</a:t>
            </a:r>
            <a:r>
              <a:rPr lang="fr-FR"/>
              <a:t> ut</a:t>
            </a:r>
          </a:p>
          <a:p>
            <a:pPr lvl="0">
              <a:lnSpc>
                <a:spcPct val="80000"/>
              </a:lnSpc>
              <a:spcBef>
                <a:spcPts val="400"/>
              </a:spcBef>
            </a:pPr>
            <a:r>
              <a:rPr lang="fr-FR" err="1"/>
              <a:t>aliquip</a:t>
            </a:r>
            <a:r>
              <a:rPr lang="fr-FR"/>
              <a:t> ex </a:t>
            </a:r>
            <a:r>
              <a:rPr lang="fr-FR" err="1"/>
              <a:t>dolor</a:t>
            </a:r>
            <a:r>
              <a:rPr lang="fr-FR"/>
              <a:t> in </a:t>
            </a:r>
            <a:r>
              <a:rPr lang="fr-FR" err="1"/>
              <a:t>hendrerit</a:t>
            </a:r>
            <a:r>
              <a:rPr lang="fr-FR"/>
              <a:t> in </a:t>
            </a:r>
            <a:r>
              <a:rPr lang="fr-FR" err="1"/>
              <a:t>vulputate</a:t>
            </a:r>
            <a:r>
              <a:rPr lang="fr-FR"/>
              <a:t> </a:t>
            </a:r>
            <a:r>
              <a:rPr lang="fr-FR" err="1"/>
              <a:t>velit</a:t>
            </a:r>
            <a:endParaRPr lang="fr-FR"/>
          </a:p>
          <a:p>
            <a:pPr lvl="0">
              <a:lnSpc>
                <a:spcPct val="80000"/>
              </a:lnSpc>
              <a:spcBef>
                <a:spcPts val="400"/>
              </a:spcBef>
            </a:pPr>
            <a:r>
              <a:rPr lang="fr-FR"/>
              <a:t>esse </a:t>
            </a:r>
            <a:r>
              <a:rPr lang="fr-FR" err="1"/>
              <a:t>molestie</a:t>
            </a:r>
            <a:r>
              <a:rPr lang="fr-FR"/>
              <a:t> </a:t>
            </a:r>
            <a:r>
              <a:rPr lang="fr-FR" err="1"/>
              <a:t>consequat</a:t>
            </a:r>
            <a:r>
              <a:rPr lang="fr-FR"/>
              <a:t>, </a:t>
            </a:r>
            <a:r>
              <a:rPr lang="fr-FR" err="1"/>
              <a:t>vel</a:t>
            </a:r>
            <a:r>
              <a:rPr lang="fr-FR"/>
              <a:t> </a:t>
            </a:r>
            <a:r>
              <a:rPr lang="fr-FR" err="1"/>
              <a:t>illum</a:t>
            </a:r>
            <a:r>
              <a:rPr lang="fr-FR"/>
              <a:t> </a:t>
            </a:r>
            <a:r>
              <a:rPr lang="fr-FR" err="1"/>
              <a:t>dolore</a:t>
            </a:r>
            <a:r>
              <a:rPr lang="fr-FR"/>
              <a:t> eu</a:t>
            </a:r>
          </a:p>
        </p:txBody>
      </p:sp>
      <p:sp>
        <p:nvSpPr>
          <p:cNvPr id="24" name="Espace réservé pour une image  4">
            <a:extLst>
              <a:ext uri="{FF2B5EF4-FFF2-40B4-BE49-F238E27FC236}">
                <a16:creationId xmlns:a16="http://schemas.microsoft.com/office/drawing/2014/main" id="{2D4D7D07-8C50-4205-A0DF-AA0787854023}"/>
              </a:ext>
            </a:extLst>
          </p:cNvPr>
          <p:cNvSpPr>
            <a:spLocks noGrp="1"/>
          </p:cNvSpPr>
          <p:nvPr>
            <p:ph type="pic" sz="quarter" idx="38"/>
          </p:nvPr>
        </p:nvSpPr>
        <p:spPr>
          <a:xfrm>
            <a:off x="633448" y="2914530"/>
            <a:ext cx="641350" cy="621854"/>
          </a:xfrm>
        </p:spPr>
        <p:txBody>
          <a:bodyPr>
            <a:noAutofit/>
          </a:bodyPr>
          <a:lstStyle>
            <a:lvl1pPr>
              <a:defRPr>
                <a:noFill/>
              </a:defRPr>
            </a:lvl1pPr>
          </a:lstStyle>
          <a:p>
            <a:endParaRPr lang="fr-FR"/>
          </a:p>
        </p:txBody>
      </p:sp>
      <p:sp>
        <p:nvSpPr>
          <p:cNvPr id="25" name="Espace réservé du texte 12">
            <a:extLst>
              <a:ext uri="{FF2B5EF4-FFF2-40B4-BE49-F238E27FC236}">
                <a16:creationId xmlns:a16="http://schemas.microsoft.com/office/drawing/2014/main" id="{7E901A14-6F2F-4A63-8A5A-8118F393B7A4}"/>
              </a:ext>
            </a:extLst>
          </p:cNvPr>
          <p:cNvSpPr>
            <a:spLocks noGrp="1"/>
          </p:cNvSpPr>
          <p:nvPr>
            <p:ph type="body" sz="quarter" idx="39" hasCustomPrompt="1"/>
          </p:nvPr>
        </p:nvSpPr>
        <p:spPr>
          <a:xfrm>
            <a:off x="1510700" y="4337820"/>
            <a:ext cx="4303825" cy="623248"/>
          </a:xfrm>
        </p:spPr>
        <p:txBody>
          <a:bodyPr vert="horz" lIns="0" tIns="0" rIns="0" bIns="0" rtlCol="0">
            <a:noAutofit/>
          </a:bodyPr>
          <a:lstStyle>
            <a:lvl1pPr>
              <a:defRPr lang="fr-FR" sz="1500">
                <a:latin typeface="+mj-lt"/>
              </a:defRPr>
            </a:lvl1pPr>
          </a:lstStyle>
          <a:p>
            <a:pPr lvl="0">
              <a:lnSpc>
                <a:spcPct val="80000"/>
              </a:lnSpc>
              <a:spcBef>
                <a:spcPts val="400"/>
              </a:spcBef>
            </a:pPr>
            <a:r>
              <a:rPr lang="fr-FR" err="1"/>
              <a:t>Tation</a:t>
            </a:r>
            <a:r>
              <a:rPr lang="fr-FR"/>
              <a:t> </a:t>
            </a:r>
            <a:r>
              <a:rPr lang="fr-FR" err="1"/>
              <a:t>ullamcorper</a:t>
            </a:r>
            <a:r>
              <a:rPr lang="fr-FR"/>
              <a:t> </a:t>
            </a:r>
            <a:r>
              <a:rPr lang="fr-FR" err="1"/>
              <a:t>suscipit</a:t>
            </a:r>
            <a:r>
              <a:rPr lang="fr-FR"/>
              <a:t> </a:t>
            </a:r>
            <a:r>
              <a:rPr lang="fr-FR" err="1"/>
              <a:t>lobortis</a:t>
            </a:r>
            <a:r>
              <a:rPr lang="fr-FR"/>
              <a:t> </a:t>
            </a:r>
            <a:r>
              <a:rPr lang="fr-FR" err="1"/>
              <a:t>nisl</a:t>
            </a:r>
            <a:r>
              <a:rPr lang="fr-FR"/>
              <a:t> ut</a:t>
            </a:r>
          </a:p>
          <a:p>
            <a:pPr lvl="0">
              <a:lnSpc>
                <a:spcPct val="80000"/>
              </a:lnSpc>
              <a:spcBef>
                <a:spcPts val="400"/>
              </a:spcBef>
            </a:pPr>
            <a:r>
              <a:rPr lang="fr-FR" err="1"/>
              <a:t>aliquip</a:t>
            </a:r>
            <a:r>
              <a:rPr lang="fr-FR"/>
              <a:t> ex </a:t>
            </a:r>
            <a:r>
              <a:rPr lang="fr-FR" err="1"/>
              <a:t>dolor</a:t>
            </a:r>
            <a:r>
              <a:rPr lang="fr-FR"/>
              <a:t> in </a:t>
            </a:r>
            <a:r>
              <a:rPr lang="fr-FR" err="1"/>
              <a:t>hendrerit</a:t>
            </a:r>
            <a:r>
              <a:rPr lang="fr-FR"/>
              <a:t> in </a:t>
            </a:r>
            <a:r>
              <a:rPr lang="fr-FR" err="1"/>
              <a:t>vulputate</a:t>
            </a:r>
            <a:r>
              <a:rPr lang="fr-FR"/>
              <a:t> </a:t>
            </a:r>
            <a:r>
              <a:rPr lang="fr-FR" err="1"/>
              <a:t>velit</a:t>
            </a:r>
            <a:endParaRPr lang="fr-FR"/>
          </a:p>
          <a:p>
            <a:pPr lvl="0">
              <a:lnSpc>
                <a:spcPct val="80000"/>
              </a:lnSpc>
              <a:spcBef>
                <a:spcPts val="400"/>
              </a:spcBef>
            </a:pPr>
            <a:r>
              <a:rPr lang="fr-FR"/>
              <a:t>esse </a:t>
            </a:r>
            <a:r>
              <a:rPr lang="fr-FR" err="1"/>
              <a:t>molestie</a:t>
            </a:r>
            <a:r>
              <a:rPr lang="fr-FR"/>
              <a:t> </a:t>
            </a:r>
            <a:r>
              <a:rPr lang="fr-FR" err="1"/>
              <a:t>consequat</a:t>
            </a:r>
            <a:r>
              <a:rPr lang="fr-FR"/>
              <a:t>, </a:t>
            </a:r>
            <a:r>
              <a:rPr lang="fr-FR" err="1"/>
              <a:t>vel</a:t>
            </a:r>
            <a:r>
              <a:rPr lang="fr-FR"/>
              <a:t> </a:t>
            </a:r>
            <a:r>
              <a:rPr lang="fr-FR" err="1"/>
              <a:t>illum</a:t>
            </a:r>
            <a:r>
              <a:rPr lang="fr-FR"/>
              <a:t> </a:t>
            </a:r>
            <a:r>
              <a:rPr lang="fr-FR" err="1"/>
              <a:t>dolore</a:t>
            </a:r>
            <a:r>
              <a:rPr lang="fr-FR"/>
              <a:t> eu</a:t>
            </a:r>
          </a:p>
        </p:txBody>
      </p:sp>
      <p:sp>
        <p:nvSpPr>
          <p:cNvPr id="26" name="Espace réservé pour une image  4">
            <a:extLst>
              <a:ext uri="{FF2B5EF4-FFF2-40B4-BE49-F238E27FC236}">
                <a16:creationId xmlns:a16="http://schemas.microsoft.com/office/drawing/2014/main" id="{CFF50F26-9839-4EB6-BAE0-3268B3227585}"/>
              </a:ext>
            </a:extLst>
          </p:cNvPr>
          <p:cNvSpPr>
            <a:spLocks noGrp="1"/>
          </p:cNvSpPr>
          <p:nvPr>
            <p:ph type="pic" sz="quarter" idx="40"/>
          </p:nvPr>
        </p:nvSpPr>
        <p:spPr>
          <a:xfrm>
            <a:off x="633448" y="4336426"/>
            <a:ext cx="641350" cy="621854"/>
          </a:xfrm>
        </p:spPr>
        <p:txBody>
          <a:bodyPr>
            <a:noAutofit/>
          </a:bodyPr>
          <a:lstStyle>
            <a:lvl1pPr>
              <a:defRPr>
                <a:noFill/>
              </a:defRPr>
            </a:lvl1pPr>
          </a:lstStyle>
          <a:p>
            <a:endParaRPr lang="fr-FR"/>
          </a:p>
        </p:txBody>
      </p:sp>
      <p:sp>
        <p:nvSpPr>
          <p:cNvPr id="27" name="Espace réservé du texte 12">
            <a:extLst>
              <a:ext uri="{FF2B5EF4-FFF2-40B4-BE49-F238E27FC236}">
                <a16:creationId xmlns:a16="http://schemas.microsoft.com/office/drawing/2014/main" id="{37F48A97-1394-48B3-AD87-9B86580D4388}"/>
              </a:ext>
            </a:extLst>
          </p:cNvPr>
          <p:cNvSpPr>
            <a:spLocks noGrp="1"/>
          </p:cNvSpPr>
          <p:nvPr>
            <p:ph type="body" sz="quarter" idx="41" hasCustomPrompt="1"/>
          </p:nvPr>
        </p:nvSpPr>
        <p:spPr>
          <a:xfrm>
            <a:off x="7216175" y="1510290"/>
            <a:ext cx="4303825" cy="623248"/>
          </a:xfrm>
        </p:spPr>
        <p:txBody>
          <a:bodyPr vert="horz" lIns="0" tIns="0" rIns="0" bIns="0" rtlCol="0">
            <a:noAutofit/>
          </a:bodyPr>
          <a:lstStyle>
            <a:lvl1pPr>
              <a:defRPr lang="fr-FR" sz="1500">
                <a:latin typeface="+mj-lt"/>
              </a:defRPr>
            </a:lvl1pPr>
          </a:lstStyle>
          <a:p>
            <a:pPr lvl="0">
              <a:lnSpc>
                <a:spcPct val="80000"/>
              </a:lnSpc>
              <a:spcBef>
                <a:spcPts val="400"/>
              </a:spcBef>
            </a:pPr>
            <a:r>
              <a:rPr lang="fr-FR" err="1"/>
              <a:t>Tation</a:t>
            </a:r>
            <a:r>
              <a:rPr lang="fr-FR"/>
              <a:t> </a:t>
            </a:r>
            <a:r>
              <a:rPr lang="fr-FR" err="1"/>
              <a:t>ullamcorper</a:t>
            </a:r>
            <a:r>
              <a:rPr lang="fr-FR"/>
              <a:t> </a:t>
            </a:r>
            <a:r>
              <a:rPr lang="fr-FR" err="1"/>
              <a:t>suscipit</a:t>
            </a:r>
            <a:r>
              <a:rPr lang="fr-FR"/>
              <a:t> </a:t>
            </a:r>
            <a:r>
              <a:rPr lang="fr-FR" err="1"/>
              <a:t>lobortis</a:t>
            </a:r>
            <a:r>
              <a:rPr lang="fr-FR"/>
              <a:t> </a:t>
            </a:r>
            <a:r>
              <a:rPr lang="fr-FR" err="1"/>
              <a:t>nisl</a:t>
            </a:r>
            <a:r>
              <a:rPr lang="fr-FR"/>
              <a:t> ut</a:t>
            </a:r>
          </a:p>
          <a:p>
            <a:pPr lvl="0">
              <a:lnSpc>
                <a:spcPct val="80000"/>
              </a:lnSpc>
              <a:spcBef>
                <a:spcPts val="400"/>
              </a:spcBef>
            </a:pPr>
            <a:r>
              <a:rPr lang="fr-FR" err="1"/>
              <a:t>aliquip</a:t>
            </a:r>
            <a:r>
              <a:rPr lang="fr-FR"/>
              <a:t> ex </a:t>
            </a:r>
            <a:r>
              <a:rPr lang="fr-FR" err="1"/>
              <a:t>dolor</a:t>
            </a:r>
            <a:r>
              <a:rPr lang="fr-FR"/>
              <a:t> in </a:t>
            </a:r>
            <a:r>
              <a:rPr lang="fr-FR" err="1"/>
              <a:t>hendrerit</a:t>
            </a:r>
            <a:r>
              <a:rPr lang="fr-FR"/>
              <a:t> in </a:t>
            </a:r>
            <a:r>
              <a:rPr lang="fr-FR" err="1"/>
              <a:t>vulputate</a:t>
            </a:r>
            <a:r>
              <a:rPr lang="fr-FR"/>
              <a:t> </a:t>
            </a:r>
            <a:r>
              <a:rPr lang="fr-FR" err="1"/>
              <a:t>velit</a:t>
            </a:r>
            <a:endParaRPr lang="fr-FR"/>
          </a:p>
          <a:p>
            <a:pPr lvl="0">
              <a:lnSpc>
                <a:spcPct val="80000"/>
              </a:lnSpc>
              <a:spcBef>
                <a:spcPts val="400"/>
              </a:spcBef>
            </a:pPr>
            <a:r>
              <a:rPr lang="fr-FR"/>
              <a:t>esse </a:t>
            </a:r>
            <a:r>
              <a:rPr lang="fr-FR" err="1"/>
              <a:t>molestie</a:t>
            </a:r>
            <a:r>
              <a:rPr lang="fr-FR"/>
              <a:t> </a:t>
            </a:r>
            <a:r>
              <a:rPr lang="fr-FR" err="1"/>
              <a:t>consequat</a:t>
            </a:r>
            <a:r>
              <a:rPr lang="fr-FR"/>
              <a:t>, </a:t>
            </a:r>
            <a:r>
              <a:rPr lang="fr-FR" err="1"/>
              <a:t>vel</a:t>
            </a:r>
            <a:r>
              <a:rPr lang="fr-FR"/>
              <a:t> </a:t>
            </a:r>
            <a:r>
              <a:rPr lang="fr-FR" err="1"/>
              <a:t>illum</a:t>
            </a:r>
            <a:r>
              <a:rPr lang="fr-FR"/>
              <a:t> </a:t>
            </a:r>
            <a:r>
              <a:rPr lang="fr-FR" err="1"/>
              <a:t>dolore</a:t>
            </a:r>
            <a:r>
              <a:rPr lang="fr-FR"/>
              <a:t> eu</a:t>
            </a:r>
          </a:p>
        </p:txBody>
      </p:sp>
      <p:sp>
        <p:nvSpPr>
          <p:cNvPr id="28" name="Espace réservé pour une image  4">
            <a:extLst>
              <a:ext uri="{FF2B5EF4-FFF2-40B4-BE49-F238E27FC236}">
                <a16:creationId xmlns:a16="http://schemas.microsoft.com/office/drawing/2014/main" id="{3708297E-6991-47C6-B127-04AA494045A8}"/>
              </a:ext>
            </a:extLst>
          </p:cNvPr>
          <p:cNvSpPr>
            <a:spLocks noGrp="1"/>
          </p:cNvSpPr>
          <p:nvPr>
            <p:ph type="pic" sz="quarter" idx="42"/>
          </p:nvPr>
        </p:nvSpPr>
        <p:spPr>
          <a:xfrm>
            <a:off x="6338923" y="1508896"/>
            <a:ext cx="641350" cy="621854"/>
          </a:xfrm>
        </p:spPr>
        <p:txBody>
          <a:bodyPr>
            <a:noAutofit/>
          </a:bodyPr>
          <a:lstStyle>
            <a:lvl1pPr>
              <a:defRPr>
                <a:noFill/>
              </a:defRPr>
            </a:lvl1pPr>
          </a:lstStyle>
          <a:p>
            <a:endParaRPr lang="fr-FR"/>
          </a:p>
        </p:txBody>
      </p:sp>
      <p:sp>
        <p:nvSpPr>
          <p:cNvPr id="29" name="Espace réservé du texte 12">
            <a:extLst>
              <a:ext uri="{FF2B5EF4-FFF2-40B4-BE49-F238E27FC236}">
                <a16:creationId xmlns:a16="http://schemas.microsoft.com/office/drawing/2014/main" id="{47F434D1-3CE9-4493-AE36-958D114A8AEE}"/>
              </a:ext>
            </a:extLst>
          </p:cNvPr>
          <p:cNvSpPr>
            <a:spLocks noGrp="1"/>
          </p:cNvSpPr>
          <p:nvPr>
            <p:ph type="body" sz="quarter" idx="43" hasCustomPrompt="1"/>
          </p:nvPr>
        </p:nvSpPr>
        <p:spPr>
          <a:xfrm>
            <a:off x="7216175" y="2915924"/>
            <a:ext cx="4303825" cy="623248"/>
          </a:xfrm>
        </p:spPr>
        <p:txBody>
          <a:bodyPr/>
          <a:lstStyle>
            <a:lvl1pPr>
              <a:defRPr sz="1500">
                <a:latin typeface="+mj-lt"/>
              </a:defRPr>
            </a:lvl1pPr>
            <a:lvl5pPr>
              <a:defRPr/>
            </a:lvl5pPr>
          </a:lstStyle>
          <a:p>
            <a:pPr lvl="0"/>
            <a:r>
              <a:rPr lang="fr-FR" err="1"/>
              <a:t>Tation</a:t>
            </a:r>
            <a:r>
              <a:rPr lang="fr-FR"/>
              <a:t> </a:t>
            </a:r>
            <a:r>
              <a:rPr lang="fr-FR" err="1"/>
              <a:t>ullamcorper</a:t>
            </a:r>
            <a:r>
              <a:rPr lang="fr-FR"/>
              <a:t> </a:t>
            </a:r>
            <a:r>
              <a:rPr lang="fr-FR" err="1"/>
              <a:t>suscipit</a:t>
            </a:r>
            <a:r>
              <a:rPr lang="fr-FR"/>
              <a:t> </a:t>
            </a:r>
            <a:r>
              <a:rPr lang="fr-FR" err="1"/>
              <a:t>lobortis</a:t>
            </a:r>
            <a:r>
              <a:rPr lang="fr-FR"/>
              <a:t> </a:t>
            </a:r>
            <a:r>
              <a:rPr lang="fr-FR" err="1"/>
              <a:t>nisl</a:t>
            </a:r>
            <a:r>
              <a:rPr lang="fr-FR"/>
              <a:t> ut</a:t>
            </a:r>
          </a:p>
          <a:p>
            <a:pPr lvl="0"/>
            <a:r>
              <a:rPr lang="fr-FR" err="1"/>
              <a:t>aliquip</a:t>
            </a:r>
            <a:r>
              <a:rPr lang="fr-FR"/>
              <a:t> ex </a:t>
            </a:r>
            <a:r>
              <a:rPr lang="fr-FR" err="1"/>
              <a:t>dolor</a:t>
            </a:r>
            <a:r>
              <a:rPr lang="fr-FR"/>
              <a:t> in </a:t>
            </a:r>
            <a:r>
              <a:rPr lang="fr-FR" err="1"/>
              <a:t>hendrerit</a:t>
            </a:r>
            <a:r>
              <a:rPr lang="fr-FR"/>
              <a:t> in </a:t>
            </a:r>
            <a:r>
              <a:rPr lang="fr-FR" err="1"/>
              <a:t>vulputate</a:t>
            </a:r>
            <a:r>
              <a:rPr lang="fr-FR"/>
              <a:t> </a:t>
            </a:r>
            <a:r>
              <a:rPr lang="fr-FR" err="1"/>
              <a:t>velit</a:t>
            </a:r>
            <a:endParaRPr lang="fr-FR"/>
          </a:p>
          <a:p>
            <a:pPr lvl="0"/>
            <a:r>
              <a:rPr lang="fr-FR"/>
              <a:t>esse </a:t>
            </a:r>
            <a:r>
              <a:rPr lang="fr-FR" err="1"/>
              <a:t>molestie</a:t>
            </a:r>
            <a:r>
              <a:rPr lang="fr-FR"/>
              <a:t> </a:t>
            </a:r>
            <a:r>
              <a:rPr lang="fr-FR" err="1"/>
              <a:t>consequat</a:t>
            </a:r>
            <a:r>
              <a:rPr lang="fr-FR"/>
              <a:t>, </a:t>
            </a:r>
            <a:r>
              <a:rPr lang="fr-FR" err="1"/>
              <a:t>vel</a:t>
            </a:r>
            <a:r>
              <a:rPr lang="fr-FR"/>
              <a:t> </a:t>
            </a:r>
            <a:r>
              <a:rPr lang="fr-FR" err="1"/>
              <a:t>illum</a:t>
            </a:r>
            <a:r>
              <a:rPr lang="fr-FR"/>
              <a:t> </a:t>
            </a:r>
            <a:r>
              <a:rPr lang="fr-FR" err="1"/>
              <a:t>dolore</a:t>
            </a:r>
            <a:r>
              <a:rPr lang="fr-FR"/>
              <a:t> eu</a:t>
            </a:r>
          </a:p>
        </p:txBody>
      </p:sp>
      <p:sp>
        <p:nvSpPr>
          <p:cNvPr id="30" name="Espace réservé pour une image  4">
            <a:extLst>
              <a:ext uri="{FF2B5EF4-FFF2-40B4-BE49-F238E27FC236}">
                <a16:creationId xmlns:a16="http://schemas.microsoft.com/office/drawing/2014/main" id="{242916BF-A5B6-4C87-8B0C-2DB0BA6F0216}"/>
              </a:ext>
            </a:extLst>
          </p:cNvPr>
          <p:cNvSpPr>
            <a:spLocks noGrp="1"/>
          </p:cNvSpPr>
          <p:nvPr>
            <p:ph type="pic" sz="quarter" idx="44"/>
          </p:nvPr>
        </p:nvSpPr>
        <p:spPr>
          <a:xfrm>
            <a:off x="6338923" y="2914530"/>
            <a:ext cx="641350" cy="621854"/>
          </a:xfrm>
        </p:spPr>
        <p:txBody>
          <a:bodyPr>
            <a:noAutofit/>
          </a:bodyPr>
          <a:lstStyle>
            <a:lvl1pPr>
              <a:defRPr>
                <a:noFill/>
              </a:defRPr>
            </a:lvl1pPr>
          </a:lstStyle>
          <a:p>
            <a:endParaRPr lang="fr-FR"/>
          </a:p>
        </p:txBody>
      </p:sp>
      <p:sp>
        <p:nvSpPr>
          <p:cNvPr id="31" name="Espace réservé du texte 12">
            <a:extLst>
              <a:ext uri="{FF2B5EF4-FFF2-40B4-BE49-F238E27FC236}">
                <a16:creationId xmlns:a16="http://schemas.microsoft.com/office/drawing/2014/main" id="{1D360D50-3AC4-400E-8957-E8D2D923FFD5}"/>
              </a:ext>
            </a:extLst>
          </p:cNvPr>
          <p:cNvSpPr>
            <a:spLocks noGrp="1"/>
          </p:cNvSpPr>
          <p:nvPr>
            <p:ph type="body" sz="quarter" idx="45" hasCustomPrompt="1"/>
          </p:nvPr>
        </p:nvSpPr>
        <p:spPr>
          <a:xfrm>
            <a:off x="7216175" y="4337820"/>
            <a:ext cx="4303825" cy="623248"/>
          </a:xfrm>
        </p:spPr>
        <p:txBody>
          <a:bodyPr vert="horz" lIns="0" tIns="0" rIns="0" bIns="0" rtlCol="0">
            <a:noAutofit/>
          </a:bodyPr>
          <a:lstStyle>
            <a:lvl1pPr>
              <a:defRPr lang="fr-FR" sz="1500">
                <a:latin typeface="+mj-lt"/>
              </a:defRPr>
            </a:lvl1pPr>
          </a:lstStyle>
          <a:p>
            <a:pPr lvl="0">
              <a:lnSpc>
                <a:spcPct val="80000"/>
              </a:lnSpc>
              <a:spcBef>
                <a:spcPts val="400"/>
              </a:spcBef>
            </a:pPr>
            <a:r>
              <a:rPr lang="fr-FR" err="1"/>
              <a:t>Tation</a:t>
            </a:r>
            <a:r>
              <a:rPr lang="fr-FR"/>
              <a:t> </a:t>
            </a:r>
            <a:r>
              <a:rPr lang="fr-FR" err="1"/>
              <a:t>ullamcorper</a:t>
            </a:r>
            <a:r>
              <a:rPr lang="fr-FR"/>
              <a:t> </a:t>
            </a:r>
            <a:r>
              <a:rPr lang="fr-FR" err="1"/>
              <a:t>suscipit</a:t>
            </a:r>
            <a:r>
              <a:rPr lang="fr-FR"/>
              <a:t> </a:t>
            </a:r>
            <a:r>
              <a:rPr lang="fr-FR" err="1"/>
              <a:t>lobortis</a:t>
            </a:r>
            <a:r>
              <a:rPr lang="fr-FR"/>
              <a:t> </a:t>
            </a:r>
            <a:r>
              <a:rPr lang="fr-FR" err="1"/>
              <a:t>nisl</a:t>
            </a:r>
            <a:r>
              <a:rPr lang="fr-FR"/>
              <a:t> ut</a:t>
            </a:r>
          </a:p>
          <a:p>
            <a:pPr lvl="0">
              <a:lnSpc>
                <a:spcPct val="80000"/>
              </a:lnSpc>
              <a:spcBef>
                <a:spcPts val="400"/>
              </a:spcBef>
            </a:pPr>
            <a:r>
              <a:rPr lang="fr-FR" err="1"/>
              <a:t>aliquip</a:t>
            </a:r>
            <a:r>
              <a:rPr lang="fr-FR"/>
              <a:t> ex </a:t>
            </a:r>
            <a:r>
              <a:rPr lang="fr-FR" err="1"/>
              <a:t>dolor</a:t>
            </a:r>
            <a:r>
              <a:rPr lang="fr-FR"/>
              <a:t> in </a:t>
            </a:r>
            <a:r>
              <a:rPr lang="fr-FR" err="1"/>
              <a:t>hendrerit</a:t>
            </a:r>
            <a:r>
              <a:rPr lang="fr-FR"/>
              <a:t> in </a:t>
            </a:r>
            <a:r>
              <a:rPr lang="fr-FR" err="1"/>
              <a:t>vulputate</a:t>
            </a:r>
            <a:r>
              <a:rPr lang="fr-FR"/>
              <a:t> </a:t>
            </a:r>
            <a:r>
              <a:rPr lang="fr-FR" err="1"/>
              <a:t>velit</a:t>
            </a:r>
            <a:endParaRPr lang="fr-FR"/>
          </a:p>
          <a:p>
            <a:pPr lvl="0">
              <a:lnSpc>
                <a:spcPct val="80000"/>
              </a:lnSpc>
              <a:spcBef>
                <a:spcPts val="400"/>
              </a:spcBef>
            </a:pPr>
            <a:r>
              <a:rPr lang="fr-FR"/>
              <a:t>esse </a:t>
            </a:r>
            <a:r>
              <a:rPr lang="fr-FR" err="1"/>
              <a:t>molestie</a:t>
            </a:r>
            <a:r>
              <a:rPr lang="fr-FR"/>
              <a:t> </a:t>
            </a:r>
            <a:r>
              <a:rPr lang="fr-FR" err="1"/>
              <a:t>consequat</a:t>
            </a:r>
            <a:r>
              <a:rPr lang="fr-FR"/>
              <a:t>, </a:t>
            </a:r>
            <a:r>
              <a:rPr lang="fr-FR" err="1"/>
              <a:t>vel</a:t>
            </a:r>
            <a:r>
              <a:rPr lang="fr-FR"/>
              <a:t> </a:t>
            </a:r>
            <a:r>
              <a:rPr lang="fr-FR" err="1"/>
              <a:t>illum</a:t>
            </a:r>
            <a:r>
              <a:rPr lang="fr-FR"/>
              <a:t> </a:t>
            </a:r>
            <a:r>
              <a:rPr lang="fr-FR" err="1"/>
              <a:t>dolore</a:t>
            </a:r>
            <a:r>
              <a:rPr lang="fr-FR"/>
              <a:t> eu</a:t>
            </a:r>
          </a:p>
        </p:txBody>
      </p:sp>
      <p:sp>
        <p:nvSpPr>
          <p:cNvPr id="32" name="Espace réservé pour une image  4">
            <a:extLst>
              <a:ext uri="{FF2B5EF4-FFF2-40B4-BE49-F238E27FC236}">
                <a16:creationId xmlns:a16="http://schemas.microsoft.com/office/drawing/2014/main" id="{754F8632-5B54-4370-A3B5-0B945F38AB07}"/>
              </a:ext>
            </a:extLst>
          </p:cNvPr>
          <p:cNvSpPr>
            <a:spLocks noGrp="1"/>
          </p:cNvSpPr>
          <p:nvPr>
            <p:ph type="pic" sz="quarter" idx="46"/>
          </p:nvPr>
        </p:nvSpPr>
        <p:spPr>
          <a:xfrm>
            <a:off x="6338923" y="4336426"/>
            <a:ext cx="641350" cy="621854"/>
          </a:xfrm>
        </p:spPr>
        <p:txBody>
          <a:bodyPr>
            <a:noAutofit/>
          </a:bodyPr>
          <a:lstStyle>
            <a:lvl1pPr>
              <a:defRPr>
                <a:noFill/>
              </a:defRPr>
            </a:lvl1pPr>
          </a:lstStyle>
          <a:p>
            <a:endParaRPr lang="fr-FR"/>
          </a:p>
        </p:txBody>
      </p:sp>
    </p:spTree>
    <p:extLst>
      <p:ext uri="{BB962C8B-B14F-4D97-AF65-F5344CB8AC3E}">
        <p14:creationId xmlns:p14="http://schemas.microsoft.com/office/powerpoint/2010/main" val="3665830900"/>
      </p:ext>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positive I">
    <p:spTree>
      <p:nvGrpSpPr>
        <p:cNvPr id="1" name=""/>
        <p:cNvGrpSpPr/>
        <p:nvPr/>
      </p:nvGrpSpPr>
      <p:grpSpPr>
        <a:xfrm>
          <a:off x="0" y="0"/>
          <a:ext cx="0" cy="0"/>
          <a:chOff x="0" y="0"/>
          <a:chExt cx="0" cy="0"/>
        </a:xfrm>
      </p:grpSpPr>
      <p:sp>
        <p:nvSpPr>
          <p:cNvPr id="16" name="Titre 8">
            <a:extLst>
              <a:ext uri="{FF2B5EF4-FFF2-40B4-BE49-F238E27FC236}">
                <a16:creationId xmlns:a16="http://schemas.microsoft.com/office/drawing/2014/main" id="{EC6C1856-89A9-40CF-B4C0-D16A188E2C62}"/>
              </a:ext>
            </a:extLst>
          </p:cNvPr>
          <p:cNvSpPr>
            <a:spLocks noGrp="1"/>
          </p:cNvSpPr>
          <p:nvPr>
            <p:ph type="title" hasCustomPrompt="1"/>
          </p:nvPr>
        </p:nvSpPr>
        <p:spPr>
          <a:xfrm>
            <a:off x="493391" y="488357"/>
            <a:ext cx="11175540" cy="891911"/>
          </a:xfrm>
        </p:spPr>
        <p:txBody>
          <a:bodyPr/>
          <a:lstStyle>
            <a:lvl1pPr>
              <a:lnSpc>
                <a:spcPct val="84000"/>
              </a:lnSpc>
              <a:defRPr sz="3450"/>
            </a:lvl1pPr>
          </a:lstStyle>
          <a:p>
            <a:r>
              <a:rPr lang="fr-FR"/>
              <a:t>Lorem ipsum </a:t>
            </a:r>
            <a:r>
              <a:rPr lang="fr-FR" err="1"/>
              <a:t>dolor</a:t>
            </a:r>
            <a:r>
              <a:rPr lang="fr-FR"/>
              <a:t> </a:t>
            </a:r>
            <a:r>
              <a:rPr lang="fr-FR" err="1"/>
              <a:t>sit</a:t>
            </a:r>
            <a:r>
              <a:rPr lang="fr-FR"/>
              <a:t> </a:t>
            </a:r>
            <a:r>
              <a:rPr lang="fr-FR" err="1"/>
              <a:t>amet</a:t>
            </a:r>
            <a:r>
              <a:rPr lang="fr-FR"/>
              <a:t>, </a:t>
            </a:r>
            <a:r>
              <a:rPr lang="fr-FR" err="1"/>
              <a:t>consectetuer</a:t>
            </a:r>
            <a:r>
              <a:rPr lang="fr-FR"/>
              <a:t/>
            </a:r>
            <a:br>
              <a:rPr lang="fr-FR"/>
            </a:br>
            <a:r>
              <a:rPr lang="fr-FR" err="1"/>
              <a:t>adipiscing</a:t>
            </a:r>
            <a:r>
              <a:rPr lang="fr-FR"/>
              <a:t> </a:t>
            </a:r>
            <a:r>
              <a:rPr lang="fr-FR" err="1"/>
              <a:t>elit</a:t>
            </a:r>
            <a:r>
              <a:rPr lang="fr-FR"/>
              <a:t>, </a:t>
            </a:r>
            <a:r>
              <a:rPr lang="fr-FR" err="1"/>
              <a:t>sed</a:t>
            </a:r>
            <a:r>
              <a:rPr lang="fr-FR"/>
              <a:t> diam </a:t>
            </a:r>
            <a:r>
              <a:rPr lang="fr-FR" err="1"/>
              <a:t>nonummy</a:t>
            </a:r>
            <a:r>
              <a:rPr lang="fr-FR"/>
              <a:t> </a:t>
            </a:r>
            <a:r>
              <a:rPr lang="fr-FR" err="1"/>
              <a:t>nibh</a:t>
            </a:r>
            <a:r>
              <a:rPr lang="fr-FR"/>
              <a:t> </a:t>
            </a:r>
            <a:r>
              <a:rPr lang="fr-FR" err="1"/>
              <a:t>euismod</a:t>
            </a:r>
            <a:endParaRPr lang="fr-FR"/>
          </a:p>
        </p:txBody>
      </p:sp>
      <p:sp>
        <p:nvSpPr>
          <p:cNvPr id="18" name="Espace réservé du texte 12">
            <a:extLst>
              <a:ext uri="{FF2B5EF4-FFF2-40B4-BE49-F238E27FC236}">
                <a16:creationId xmlns:a16="http://schemas.microsoft.com/office/drawing/2014/main" id="{DCE6F3B6-60EE-44F2-BA84-2C199F1096D5}"/>
              </a:ext>
            </a:extLst>
          </p:cNvPr>
          <p:cNvSpPr>
            <a:spLocks noGrp="1"/>
          </p:cNvSpPr>
          <p:nvPr>
            <p:ph type="body" sz="quarter" idx="18"/>
          </p:nvPr>
        </p:nvSpPr>
        <p:spPr>
          <a:xfrm>
            <a:off x="493391" y="1620838"/>
            <a:ext cx="7298059" cy="872547"/>
          </a:xfrm>
        </p:spPr>
        <p:txBody>
          <a:bodyPr/>
          <a:lstStyle>
            <a:lvl1pPr>
              <a:defRPr/>
            </a:lvl1pPr>
            <a:lvl5pPr>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796881847"/>
      </p:ext>
    </p:extLst>
  </p:cSld>
  <p:clrMapOvr>
    <a:masterClrMapping/>
  </p:clrMapOvr>
  <p:extLst mod="1">
    <p:ext uri="{DCECCB84-F9BA-43D5-87BE-67443E8EF086}">
      <p15:sldGuideLst xmlns:p15="http://schemas.microsoft.com/office/powerpoint/2012/main">
        <p15:guide id="1" pos="5110" userDrawn="1">
          <p15:clr>
            <a:srgbClr val="FBAE40"/>
          </p15:clr>
        </p15:guide>
        <p15:guide id="2" orient="horz" pos="1275" userDrawn="1">
          <p15:clr>
            <a:srgbClr val="FBAE40"/>
          </p15:clr>
        </p15:guide>
        <p15:guide id="3" orient="horz" pos="3385"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Colonn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r>
              <a:rPr lang="fr-FR" smtClean="0"/>
              <a:t>Document confidentiel - Juin 2023</a:t>
            </a:r>
            <a:endParaRPr lang="fr-FR"/>
          </a:p>
        </p:txBody>
      </p:sp>
      <p:sp>
        <p:nvSpPr>
          <p:cNvPr id="4" name="Espace réservé du pied de page 3"/>
          <p:cNvSpPr>
            <a:spLocks noGrp="1"/>
          </p:cNvSpPr>
          <p:nvPr>
            <p:ph type="ftr" sz="quarter" idx="11"/>
          </p:nvPr>
        </p:nvSpPr>
        <p:spPr/>
        <p:txBody>
          <a:bodyPr/>
          <a:lstStyle/>
          <a:p>
            <a:r>
              <a:rPr lang="fr-FR" smtClean="0"/>
              <a:t>Comptage en courant continu</a:t>
            </a:r>
            <a:endParaRPr lang="fr-FR"/>
          </a:p>
        </p:txBody>
      </p:sp>
      <p:sp>
        <p:nvSpPr>
          <p:cNvPr id="5" name="Espace réservé du numéro de diapositive 4"/>
          <p:cNvSpPr>
            <a:spLocks noGrp="1"/>
          </p:cNvSpPr>
          <p:nvPr>
            <p:ph type="sldNum" sz="quarter" idx="12"/>
          </p:nvPr>
        </p:nvSpPr>
        <p:spPr/>
        <p:txBody>
          <a:bodyPr/>
          <a:lstStyle/>
          <a:p>
            <a:fld id="{6B54B0F7-55DD-40D6-B7F4-70B586885C0B}" type="slidenum">
              <a:rPr lang="fr-FR" smtClean="0"/>
              <a:pPr/>
              <a:t>‹N°›</a:t>
            </a:fld>
            <a:endParaRPr lang="fr-FR"/>
          </a:p>
        </p:txBody>
      </p:sp>
      <p:sp>
        <p:nvSpPr>
          <p:cNvPr id="7" name="Espace réservé du texte 6"/>
          <p:cNvSpPr>
            <a:spLocks noGrp="1"/>
          </p:cNvSpPr>
          <p:nvPr>
            <p:ph type="body" sz="quarter" idx="13"/>
          </p:nvPr>
        </p:nvSpPr>
        <p:spPr>
          <a:xfrm>
            <a:off x="359999" y="928914"/>
            <a:ext cx="11520000" cy="5341257"/>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282082535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r>
              <a:rPr lang="fr-FR" smtClean="0"/>
              <a:t>Document confidentiel - Juin 2023</a:t>
            </a:r>
            <a:endParaRPr lang="fr-FR"/>
          </a:p>
        </p:txBody>
      </p:sp>
      <p:sp>
        <p:nvSpPr>
          <p:cNvPr id="4" name="Espace réservé du pied de page 3"/>
          <p:cNvSpPr>
            <a:spLocks noGrp="1"/>
          </p:cNvSpPr>
          <p:nvPr>
            <p:ph type="ftr" sz="quarter" idx="11"/>
          </p:nvPr>
        </p:nvSpPr>
        <p:spPr/>
        <p:txBody>
          <a:bodyPr/>
          <a:lstStyle/>
          <a:p>
            <a:r>
              <a:rPr lang="fr-FR" smtClean="0"/>
              <a:t>Comptage en courant continu</a:t>
            </a:r>
            <a:endParaRPr lang="fr-FR"/>
          </a:p>
        </p:txBody>
      </p:sp>
      <p:sp>
        <p:nvSpPr>
          <p:cNvPr id="5" name="Espace réservé du numéro de diapositive 4"/>
          <p:cNvSpPr>
            <a:spLocks noGrp="1"/>
          </p:cNvSpPr>
          <p:nvPr>
            <p:ph type="sldNum" sz="quarter" idx="12"/>
          </p:nvPr>
        </p:nvSpPr>
        <p:spPr/>
        <p:txBody>
          <a:bodyPr/>
          <a:lstStyle/>
          <a:p>
            <a:fld id="{6B54B0F7-55DD-40D6-B7F4-70B586885C0B}" type="slidenum">
              <a:rPr lang="fr-FR" smtClean="0"/>
              <a:pPr/>
              <a:t>‹N°›</a:t>
            </a:fld>
            <a:endParaRPr lang="fr-FR"/>
          </a:p>
        </p:txBody>
      </p:sp>
      <p:sp>
        <p:nvSpPr>
          <p:cNvPr id="7" name="Espace réservé du texte 6"/>
          <p:cNvSpPr>
            <a:spLocks noGrp="1"/>
          </p:cNvSpPr>
          <p:nvPr>
            <p:ph type="body" sz="quarter" idx="13"/>
          </p:nvPr>
        </p:nvSpPr>
        <p:spPr>
          <a:xfrm>
            <a:off x="359999" y="928914"/>
            <a:ext cx="5565788" cy="5341257"/>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8" name="Espace réservé du texte 6"/>
          <p:cNvSpPr>
            <a:spLocks noGrp="1"/>
          </p:cNvSpPr>
          <p:nvPr>
            <p:ph type="body" sz="quarter" idx="14"/>
          </p:nvPr>
        </p:nvSpPr>
        <p:spPr>
          <a:xfrm>
            <a:off x="6314211" y="928914"/>
            <a:ext cx="5565788" cy="5341257"/>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66782936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r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r>
              <a:rPr lang="fr-FR" smtClean="0"/>
              <a:t>Document confidentiel - Juin 2023</a:t>
            </a:r>
            <a:endParaRPr lang="fr-FR"/>
          </a:p>
        </p:txBody>
      </p:sp>
      <p:sp>
        <p:nvSpPr>
          <p:cNvPr id="4" name="Espace réservé du pied de page 3"/>
          <p:cNvSpPr>
            <a:spLocks noGrp="1"/>
          </p:cNvSpPr>
          <p:nvPr>
            <p:ph type="ftr" sz="quarter" idx="11"/>
          </p:nvPr>
        </p:nvSpPr>
        <p:spPr/>
        <p:txBody>
          <a:bodyPr/>
          <a:lstStyle/>
          <a:p>
            <a:r>
              <a:rPr lang="fr-FR" smtClean="0"/>
              <a:t>Comptage en courant continu</a:t>
            </a:r>
            <a:endParaRPr lang="fr-FR"/>
          </a:p>
        </p:txBody>
      </p:sp>
      <p:sp>
        <p:nvSpPr>
          <p:cNvPr id="5" name="Espace réservé du numéro de diapositive 4"/>
          <p:cNvSpPr>
            <a:spLocks noGrp="1"/>
          </p:cNvSpPr>
          <p:nvPr>
            <p:ph type="sldNum" sz="quarter" idx="12"/>
          </p:nvPr>
        </p:nvSpPr>
        <p:spPr/>
        <p:txBody>
          <a:bodyPr/>
          <a:lstStyle/>
          <a:p>
            <a:fld id="{6B54B0F7-55DD-40D6-B7F4-70B586885C0B}" type="slidenum">
              <a:rPr lang="fr-FR" smtClean="0"/>
              <a:pPr/>
              <a:t>‹N°›</a:t>
            </a:fld>
            <a:endParaRPr lang="fr-FR"/>
          </a:p>
        </p:txBody>
      </p:sp>
    </p:spTree>
    <p:extLst>
      <p:ext uri="{BB962C8B-B14F-4D97-AF65-F5344CB8AC3E}">
        <p14:creationId xmlns:p14="http://schemas.microsoft.com/office/powerpoint/2010/main" val="4188691399"/>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uverture 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248" y="461010"/>
            <a:ext cx="7320632" cy="2161361"/>
          </a:xfrm>
        </p:spPr>
        <p:txBody>
          <a:bodyPr anchor="b"/>
          <a:lstStyle>
            <a:lvl1pPr algn="l">
              <a:lnSpc>
                <a:spcPct val="76000"/>
              </a:lnSpc>
              <a:defRPr sz="6000">
                <a:solidFill>
                  <a:schemeClr val="tx2"/>
                </a:solidFill>
              </a:defRPr>
            </a:lvl1pPr>
          </a:lstStyle>
          <a:p>
            <a:r>
              <a:rPr lang="fr-FR"/>
              <a:t>Titre de la </a:t>
            </a:r>
            <a:br>
              <a:rPr lang="fr-FR"/>
            </a:br>
            <a:r>
              <a:rPr lang="fr-FR"/>
              <a:t>présentation </a:t>
            </a:r>
            <a:br>
              <a:rPr lang="fr-FR"/>
            </a:br>
            <a:r>
              <a:rPr lang="fr-FR"/>
              <a:t>sur trois lignes</a:t>
            </a:r>
            <a:endParaRPr lang="en-US"/>
          </a:p>
        </p:txBody>
      </p:sp>
      <p:sp>
        <p:nvSpPr>
          <p:cNvPr id="3" name="Subtitle 2"/>
          <p:cNvSpPr>
            <a:spLocks noGrp="1"/>
          </p:cNvSpPr>
          <p:nvPr>
            <p:ph type="subTitle" idx="1" hasCustomPrompt="1"/>
          </p:nvPr>
        </p:nvSpPr>
        <p:spPr>
          <a:xfrm>
            <a:off x="494948" y="2854145"/>
            <a:ext cx="6432902" cy="615553"/>
          </a:xfrm>
        </p:spPr>
        <p:txBody>
          <a:bodyPr/>
          <a:lstStyle>
            <a:lvl1pPr marL="0" indent="0" algn="l">
              <a:lnSpc>
                <a:spcPct val="80000"/>
              </a:lnSpc>
              <a:buNone/>
              <a:defRPr sz="2500">
                <a:solidFill>
                  <a:schemeClr val="tx2"/>
                </a:solidFill>
                <a:latin typeface="Enedis Light" pitchFamily="50"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Sous-titre de la présentation </a:t>
            </a:r>
            <a:br>
              <a:rPr lang="fr-FR"/>
            </a:br>
            <a:r>
              <a:rPr lang="fr-FR"/>
              <a:t>sur deux lignes</a:t>
            </a:r>
            <a:endParaRPr lang="en-US"/>
          </a:p>
        </p:txBody>
      </p:sp>
      <p:grpSp>
        <p:nvGrpSpPr>
          <p:cNvPr id="6" name="Graphique 10">
            <a:extLst>
              <a:ext uri="{FF2B5EF4-FFF2-40B4-BE49-F238E27FC236}">
                <a16:creationId xmlns:a16="http://schemas.microsoft.com/office/drawing/2014/main" id="{3270F1C2-39F4-4808-A348-572B35FDA73D}"/>
              </a:ext>
            </a:extLst>
          </p:cNvPr>
          <p:cNvGrpSpPr/>
          <p:nvPr/>
        </p:nvGrpSpPr>
        <p:grpSpPr>
          <a:xfrm>
            <a:off x="513998" y="5991475"/>
            <a:ext cx="1716673" cy="346912"/>
            <a:chOff x="513998" y="5991475"/>
            <a:chExt cx="1716673" cy="346912"/>
          </a:xfrm>
        </p:grpSpPr>
        <p:sp>
          <p:nvSpPr>
            <p:cNvPr id="7" name="Forme libre : forme 6">
              <a:extLst>
                <a:ext uri="{FF2B5EF4-FFF2-40B4-BE49-F238E27FC236}">
                  <a16:creationId xmlns:a16="http://schemas.microsoft.com/office/drawing/2014/main" id="{91D61045-1864-4893-AB9C-647365F6D11E}"/>
                </a:ext>
              </a:extLst>
            </p:cNvPr>
            <p:cNvSpPr/>
            <p:nvPr/>
          </p:nvSpPr>
          <p:spPr>
            <a:xfrm>
              <a:off x="1129494" y="5991488"/>
              <a:ext cx="373834" cy="346899"/>
            </a:xfrm>
            <a:custGeom>
              <a:avLst/>
              <a:gdLst>
                <a:gd name="connsiteX0" fmla="*/ 173802 w 373834"/>
                <a:gd name="connsiteY0" fmla="*/ 283740 h 346899"/>
                <a:gd name="connsiteX1" fmla="*/ 108846 w 373834"/>
                <a:gd name="connsiteY1" fmla="*/ 223698 h 346899"/>
                <a:gd name="connsiteX2" fmla="*/ 108987 w 373834"/>
                <a:gd name="connsiteY2" fmla="*/ 212802 h 346899"/>
                <a:gd name="connsiteX3" fmla="*/ 247493 w 373834"/>
                <a:gd name="connsiteY3" fmla="*/ 212802 h 346899"/>
                <a:gd name="connsiteX4" fmla="*/ 334413 w 373834"/>
                <a:gd name="connsiteY4" fmla="*/ 132012 h 346899"/>
                <a:gd name="connsiteX5" fmla="*/ 334413 w 373834"/>
                <a:gd name="connsiteY5" fmla="*/ 80827 h 346899"/>
                <a:gd name="connsiteX6" fmla="*/ 247493 w 373834"/>
                <a:gd name="connsiteY6" fmla="*/ 37 h 346899"/>
                <a:gd name="connsiteX7" fmla="*/ 126637 w 373834"/>
                <a:gd name="connsiteY7" fmla="*/ 37 h 346899"/>
                <a:gd name="connsiteX8" fmla="*/ 106457 w 373834"/>
                <a:gd name="connsiteY8" fmla="*/ 1579 h 346899"/>
                <a:gd name="connsiteX9" fmla="*/ 39864 w 373834"/>
                <a:gd name="connsiteY9" fmla="*/ 80827 h 346899"/>
                <a:gd name="connsiteX10" fmla="*/ 39864 w 373834"/>
                <a:gd name="connsiteY10" fmla="*/ 110539 h 346899"/>
                <a:gd name="connsiteX11" fmla="*/ 50958 w 373834"/>
                <a:gd name="connsiteY11" fmla="*/ 122881 h 346899"/>
                <a:gd name="connsiteX12" fmla="*/ 97868 w 373834"/>
                <a:gd name="connsiteY12" fmla="*/ 122881 h 346899"/>
                <a:gd name="connsiteX13" fmla="*/ 108974 w 373834"/>
                <a:gd name="connsiteY13" fmla="*/ 110539 h 346899"/>
                <a:gd name="connsiteX14" fmla="*/ 108974 w 373834"/>
                <a:gd name="connsiteY14" fmla="*/ 91359 h 346899"/>
                <a:gd name="connsiteX15" fmla="*/ 139769 w 373834"/>
                <a:gd name="connsiteY15" fmla="*/ 63240 h 346899"/>
                <a:gd name="connsiteX16" fmla="*/ 234533 w 373834"/>
                <a:gd name="connsiteY16" fmla="*/ 63240 h 346899"/>
                <a:gd name="connsiteX17" fmla="*/ 265335 w 373834"/>
                <a:gd name="connsiteY17" fmla="*/ 91359 h 346899"/>
                <a:gd name="connsiteX18" fmla="*/ 265335 w 373834"/>
                <a:gd name="connsiteY18" fmla="*/ 121741 h 346899"/>
                <a:gd name="connsiteX19" fmla="*/ 234533 w 373834"/>
                <a:gd name="connsiteY19" fmla="*/ 149834 h 346899"/>
                <a:gd name="connsiteX20" fmla="*/ 250 w 373834"/>
                <a:gd name="connsiteY20" fmla="*/ 149834 h 346899"/>
                <a:gd name="connsiteX21" fmla="*/ 250 w 373834"/>
                <a:gd name="connsiteY21" fmla="*/ 212802 h 346899"/>
                <a:gd name="connsiteX22" fmla="*/ 39698 w 373834"/>
                <a:gd name="connsiteY22" fmla="*/ 212802 h 346899"/>
                <a:gd name="connsiteX23" fmla="*/ 39698 w 373834"/>
                <a:gd name="connsiteY23" fmla="*/ 223685 h 346899"/>
                <a:gd name="connsiteX24" fmla="*/ 174031 w 373834"/>
                <a:gd name="connsiteY24" fmla="*/ 346937 h 346899"/>
                <a:gd name="connsiteX25" fmla="*/ 374084 w 373834"/>
                <a:gd name="connsiteY25" fmla="*/ 346937 h 346899"/>
                <a:gd name="connsiteX26" fmla="*/ 374084 w 373834"/>
                <a:gd name="connsiteY26" fmla="*/ 283734 h 346899"/>
                <a:gd name="connsiteX27" fmla="*/ 173802 w 373834"/>
                <a:gd name="connsiteY27" fmla="*/ 283740 h 346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3834" h="346899">
                  <a:moveTo>
                    <a:pt x="173802" y="283740"/>
                  </a:moveTo>
                  <a:cubicBezTo>
                    <a:pt x="137985" y="283740"/>
                    <a:pt x="108846" y="256991"/>
                    <a:pt x="108846" y="223698"/>
                  </a:cubicBezTo>
                  <a:lnTo>
                    <a:pt x="108987" y="212802"/>
                  </a:lnTo>
                  <a:lnTo>
                    <a:pt x="247493" y="212802"/>
                  </a:lnTo>
                  <a:cubicBezTo>
                    <a:pt x="295429" y="212802"/>
                    <a:pt x="334413" y="176564"/>
                    <a:pt x="334413" y="132012"/>
                  </a:cubicBezTo>
                  <a:lnTo>
                    <a:pt x="334413" y="80827"/>
                  </a:lnTo>
                  <a:cubicBezTo>
                    <a:pt x="334413" y="36274"/>
                    <a:pt x="295429" y="37"/>
                    <a:pt x="247493" y="37"/>
                  </a:cubicBezTo>
                  <a:lnTo>
                    <a:pt x="126637" y="37"/>
                  </a:lnTo>
                  <a:cubicBezTo>
                    <a:pt x="119921" y="37"/>
                    <a:pt x="113135" y="101"/>
                    <a:pt x="106457" y="1579"/>
                  </a:cubicBezTo>
                  <a:cubicBezTo>
                    <a:pt x="67161" y="10302"/>
                    <a:pt x="39864" y="43290"/>
                    <a:pt x="39864" y="80827"/>
                  </a:cubicBezTo>
                  <a:lnTo>
                    <a:pt x="39864" y="110539"/>
                  </a:lnTo>
                  <a:cubicBezTo>
                    <a:pt x="39864" y="117338"/>
                    <a:pt x="44834" y="122881"/>
                    <a:pt x="50958" y="122881"/>
                  </a:cubicBezTo>
                  <a:lnTo>
                    <a:pt x="97868" y="122881"/>
                  </a:lnTo>
                  <a:cubicBezTo>
                    <a:pt x="103997" y="122881"/>
                    <a:pt x="108974" y="117338"/>
                    <a:pt x="108974" y="110539"/>
                  </a:cubicBezTo>
                  <a:lnTo>
                    <a:pt x="108974" y="91359"/>
                  </a:lnTo>
                  <a:cubicBezTo>
                    <a:pt x="108974" y="75856"/>
                    <a:pt x="122788" y="63240"/>
                    <a:pt x="139769" y="63240"/>
                  </a:cubicBezTo>
                  <a:lnTo>
                    <a:pt x="234533" y="63240"/>
                  </a:lnTo>
                  <a:cubicBezTo>
                    <a:pt x="251520" y="63240"/>
                    <a:pt x="265335" y="75856"/>
                    <a:pt x="265335" y="91359"/>
                  </a:cubicBezTo>
                  <a:lnTo>
                    <a:pt x="265335" y="121741"/>
                  </a:lnTo>
                  <a:cubicBezTo>
                    <a:pt x="265335" y="137231"/>
                    <a:pt x="251520" y="149834"/>
                    <a:pt x="234533" y="149834"/>
                  </a:cubicBezTo>
                  <a:lnTo>
                    <a:pt x="250" y="149834"/>
                  </a:lnTo>
                  <a:lnTo>
                    <a:pt x="250" y="212802"/>
                  </a:lnTo>
                  <a:lnTo>
                    <a:pt x="39698" y="212802"/>
                  </a:lnTo>
                  <a:lnTo>
                    <a:pt x="39698" y="223685"/>
                  </a:lnTo>
                  <a:cubicBezTo>
                    <a:pt x="39698" y="291871"/>
                    <a:pt x="100130" y="346937"/>
                    <a:pt x="174031" y="346937"/>
                  </a:cubicBezTo>
                  <a:lnTo>
                    <a:pt x="374084" y="346937"/>
                  </a:lnTo>
                  <a:lnTo>
                    <a:pt x="374084" y="283734"/>
                  </a:lnTo>
                  <a:lnTo>
                    <a:pt x="173802" y="283740"/>
                  </a:lnTo>
                  <a:close/>
                </a:path>
              </a:pathLst>
            </a:custGeom>
            <a:solidFill>
              <a:srgbClr val="96CD32"/>
            </a:solidFill>
            <a:ln w="6362" cap="flat">
              <a:noFill/>
              <a:prstDash val="solid"/>
              <a:round/>
            </a:ln>
          </p:spPr>
          <p:txBody>
            <a:bodyPr rtlCol="0" anchor="ctr"/>
            <a:lstStyle/>
            <a:p>
              <a:endParaRPr lang="fr-FR"/>
            </a:p>
          </p:txBody>
        </p:sp>
        <p:sp>
          <p:nvSpPr>
            <p:cNvPr id="8" name="Forme libre : forme 7">
              <a:extLst>
                <a:ext uri="{FF2B5EF4-FFF2-40B4-BE49-F238E27FC236}">
                  <a16:creationId xmlns:a16="http://schemas.microsoft.com/office/drawing/2014/main" id="{90266735-E994-4E7C-84F7-3430D095B16A}"/>
                </a:ext>
              </a:extLst>
            </p:cNvPr>
            <p:cNvSpPr/>
            <p:nvPr/>
          </p:nvSpPr>
          <p:spPr>
            <a:xfrm>
              <a:off x="513998" y="5991475"/>
              <a:ext cx="1716673" cy="346905"/>
            </a:xfrm>
            <a:custGeom>
              <a:avLst/>
              <a:gdLst>
                <a:gd name="connsiteX0" fmla="*/ 1386323 w 1716673"/>
                <a:gd name="connsiteY0" fmla="*/ 26425 h 346905"/>
                <a:gd name="connsiteX1" fmla="*/ 1386221 w 1716673"/>
                <a:gd name="connsiteY1" fmla="*/ 12407 h 346905"/>
                <a:gd name="connsiteX2" fmla="*/ 1375114 w 1716673"/>
                <a:gd name="connsiteY2" fmla="*/ 78 h 346905"/>
                <a:gd name="connsiteX3" fmla="*/ 1328351 w 1716673"/>
                <a:gd name="connsiteY3" fmla="*/ 78 h 346905"/>
                <a:gd name="connsiteX4" fmla="*/ 1317245 w 1716673"/>
                <a:gd name="connsiteY4" fmla="*/ 12407 h 346905"/>
                <a:gd name="connsiteX5" fmla="*/ 1317245 w 1716673"/>
                <a:gd name="connsiteY5" fmla="*/ 26425 h 346905"/>
                <a:gd name="connsiteX6" fmla="*/ 1317251 w 1716673"/>
                <a:gd name="connsiteY6" fmla="*/ 26425 h 346905"/>
                <a:gd name="connsiteX7" fmla="*/ 1317353 w 1716673"/>
                <a:gd name="connsiteY7" fmla="*/ 50976 h 346905"/>
                <a:gd name="connsiteX8" fmla="*/ 1328459 w 1716673"/>
                <a:gd name="connsiteY8" fmla="*/ 63306 h 346905"/>
                <a:gd name="connsiteX9" fmla="*/ 1375223 w 1716673"/>
                <a:gd name="connsiteY9" fmla="*/ 63306 h 346905"/>
                <a:gd name="connsiteX10" fmla="*/ 1386329 w 1716673"/>
                <a:gd name="connsiteY10" fmla="*/ 50976 h 346905"/>
                <a:gd name="connsiteX11" fmla="*/ 1386329 w 1716673"/>
                <a:gd name="connsiteY11" fmla="*/ 26425 h 346905"/>
                <a:gd name="connsiteX12" fmla="*/ 1386323 w 1716673"/>
                <a:gd name="connsiteY12" fmla="*/ 26425 h 346905"/>
                <a:gd name="connsiteX13" fmla="*/ 1386323 w 1716673"/>
                <a:gd name="connsiteY13" fmla="*/ 218602 h 346905"/>
                <a:gd name="connsiteX14" fmla="*/ 1386221 w 1716673"/>
                <a:gd name="connsiteY14" fmla="*/ 102640 h 346905"/>
                <a:gd name="connsiteX15" fmla="*/ 1375114 w 1716673"/>
                <a:gd name="connsiteY15" fmla="*/ 90310 h 346905"/>
                <a:gd name="connsiteX16" fmla="*/ 1328351 w 1716673"/>
                <a:gd name="connsiteY16" fmla="*/ 90310 h 346905"/>
                <a:gd name="connsiteX17" fmla="*/ 1317245 w 1716673"/>
                <a:gd name="connsiteY17" fmla="*/ 102640 h 346905"/>
                <a:gd name="connsiteX18" fmla="*/ 1317245 w 1716673"/>
                <a:gd name="connsiteY18" fmla="*/ 218602 h 346905"/>
                <a:gd name="connsiteX19" fmla="*/ 1317251 w 1716673"/>
                <a:gd name="connsiteY19" fmla="*/ 218602 h 346905"/>
                <a:gd name="connsiteX20" fmla="*/ 1317353 w 1716673"/>
                <a:gd name="connsiteY20" fmla="*/ 334558 h 346905"/>
                <a:gd name="connsiteX21" fmla="*/ 1328459 w 1716673"/>
                <a:gd name="connsiteY21" fmla="*/ 346888 h 346905"/>
                <a:gd name="connsiteX22" fmla="*/ 1375223 w 1716673"/>
                <a:gd name="connsiteY22" fmla="*/ 346888 h 346905"/>
                <a:gd name="connsiteX23" fmla="*/ 1386329 w 1716673"/>
                <a:gd name="connsiteY23" fmla="*/ 334558 h 346905"/>
                <a:gd name="connsiteX24" fmla="*/ 1386329 w 1716673"/>
                <a:gd name="connsiteY24" fmla="*/ 218602 h 346905"/>
                <a:gd name="connsiteX25" fmla="*/ 1386323 w 1716673"/>
                <a:gd name="connsiteY25" fmla="*/ 218602 h 346905"/>
                <a:gd name="connsiteX26" fmla="*/ 1151339 w 1716673"/>
                <a:gd name="connsiteY26" fmla="*/ 78 h 346905"/>
                <a:gd name="connsiteX27" fmla="*/ 1000796 w 1716673"/>
                <a:gd name="connsiteY27" fmla="*/ 78 h 346905"/>
                <a:gd name="connsiteX28" fmla="*/ 989683 w 1716673"/>
                <a:gd name="connsiteY28" fmla="*/ 12439 h 346905"/>
                <a:gd name="connsiteX29" fmla="*/ 989683 w 1716673"/>
                <a:gd name="connsiteY29" fmla="*/ 216448 h 346905"/>
                <a:gd name="connsiteX30" fmla="*/ 1000776 w 1716673"/>
                <a:gd name="connsiteY30" fmla="*/ 228791 h 346905"/>
                <a:gd name="connsiteX31" fmla="*/ 1047636 w 1716673"/>
                <a:gd name="connsiteY31" fmla="*/ 228791 h 346905"/>
                <a:gd name="connsiteX32" fmla="*/ 1058742 w 1716673"/>
                <a:gd name="connsiteY32" fmla="*/ 216448 h 346905"/>
                <a:gd name="connsiteX33" fmla="*/ 1058806 w 1716673"/>
                <a:gd name="connsiteY33" fmla="*/ 63274 h 346905"/>
                <a:gd name="connsiteX34" fmla="*/ 1143597 w 1716673"/>
                <a:gd name="connsiteY34" fmla="*/ 63306 h 346905"/>
                <a:gd name="connsiteX35" fmla="*/ 1208559 w 1716673"/>
                <a:gd name="connsiteY35" fmla="*/ 123731 h 346905"/>
                <a:gd name="connsiteX36" fmla="*/ 1208559 w 1716673"/>
                <a:gd name="connsiteY36" fmla="*/ 235124 h 346905"/>
                <a:gd name="connsiteX37" fmla="*/ 1143597 w 1716673"/>
                <a:gd name="connsiteY37" fmla="*/ 283634 h 346905"/>
                <a:gd name="connsiteX38" fmla="*/ 989683 w 1716673"/>
                <a:gd name="connsiteY38" fmla="*/ 283793 h 346905"/>
                <a:gd name="connsiteX39" fmla="*/ 989683 w 1716673"/>
                <a:gd name="connsiteY39" fmla="*/ 346983 h 346905"/>
                <a:gd name="connsiteX40" fmla="*/ 1143597 w 1716673"/>
                <a:gd name="connsiteY40" fmla="*/ 346888 h 346905"/>
                <a:gd name="connsiteX41" fmla="*/ 1277624 w 1716673"/>
                <a:gd name="connsiteY41" fmla="*/ 235124 h 346905"/>
                <a:gd name="connsiteX42" fmla="*/ 1277624 w 1716673"/>
                <a:gd name="connsiteY42" fmla="*/ 123004 h 346905"/>
                <a:gd name="connsiteX43" fmla="*/ 1151339 w 1716673"/>
                <a:gd name="connsiteY43" fmla="*/ 78 h 346905"/>
                <a:gd name="connsiteX44" fmla="*/ 1717026 w 1716673"/>
                <a:gd name="connsiteY44" fmla="*/ 227440 h 346905"/>
                <a:gd name="connsiteX45" fmla="*/ 1716694 w 1716673"/>
                <a:gd name="connsiteY45" fmla="*/ 217608 h 346905"/>
                <a:gd name="connsiteX46" fmla="*/ 1631712 w 1716673"/>
                <a:gd name="connsiteY46" fmla="*/ 149881 h 346905"/>
                <a:gd name="connsiteX47" fmla="*/ 1527881 w 1716673"/>
                <a:gd name="connsiteY47" fmla="*/ 149881 h 346905"/>
                <a:gd name="connsiteX48" fmla="*/ 1525218 w 1716673"/>
                <a:gd name="connsiteY48" fmla="*/ 149875 h 346905"/>
                <a:gd name="connsiteX49" fmla="*/ 1495066 w 1716673"/>
                <a:gd name="connsiteY49" fmla="*/ 117040 h 346905"/>
                <a:gd name="connsiteX50" fmla="*/ 1495168 w 1716673"/>
                <a:gd name="connsiteY50" fmla="*/ 93477 h 346905"/>
                <a:gd name="connsiteX51" fmla="*/ 1528002 w 1716673"/>
                <a:gd name="connsiteY51" fmla="*/ 63331 h 346905"/>
                <a:gd name="connsiteX52" fmla="*/ 1568980 w 1716673"/>
                <a:gd name="connsiteY52" fmla="*/ 63331 h 346905"/>
                <a:gd name="connsiteX53" fmla="*/ 1569382 w 1716673"/>
                <a:gd name="connsiteY53" fmla="*/ 63344 h 346905"/>
                <a:gd name="connsiteX54" fmla="*/ 1672932 w 1716673"/>
                <a:gd name="connsiteY54" fmla="*/ 63344 h 346905"/>
                <a:gd name="connsiteX55" fmla="*/ 1684599 w 1716673"/>
                <a:gd name="connsiteY55" fmla="*/ 55666 h 346905"/>
                <a:gd name="connsiteX56" fmla="*/ 1685261 w 1716673"/>
                <a:gd name="connsiteY56" fmla="*/ 52238 h 346905"/>
                <a:gd name="connsiteX57" fmla="*/ 1685261 w 1716673"/>
                <a:gd name="connsiteY57" fmla="*/ 11184 h 346905"/>
                <a:gd name="connsiteX58" fmla="*/ 1672932 w 1716673"/>
                <a:gd name="connsiteY58" fmla="*/ 90 h 346905"/>
                <a:gd name="connsiteX59" fmla="*/ 1511391 w 1716673"/>
                <a:gd name="connsiteY59" fmla="*/ 109 h 346905"/>
                <a:gd name="connsiteX60" fmla="*/ 1425943 w 1716673"/>
                <a:gd name="connsiteY60" fmla="*/ 78841 h 346905"/>
                <a:gd name="connsiteX61" fmla="*/ 1425950 w 1716673"/>
                <a:gd name="connsiteY61" fmla="*/ 127955 h 346905"/>
                <a:gd name="connsiteX62" fmla="*/ 1504707 w 1716673"/>
                <a:gd name="connsiteY62" fmla="*/ 212855 h 346905"/>
                <a:gd name="connsiteX63" fmla="*/ 1617904 w 1716673"/>
                <a:gd name="connsiteY63" fmla="*/ 212855 h 346905"/>
                <a:gd name="connsiteX64" fmla="*/ 1647896 w 1716673"/>
                <a:gd name="connsiteY64" fmla="*/ 245695 h 346905"/>
                <a:gd name="connsiteX65" fmla="*/ 1647896 w 1716673"/>
                <a:gd name="connsiteY65" fmla="*/ 253571 h 346905"/>
                <a:gd name="connsiteX66" fmla="*/ 1615221 w 1716673"/>
                <a:gd name="connsiteY66" fmla="*/ 283710 h 346905"/>
                <a:gd name="connsiteX67" fmla="*/ 1438279 w 1716673"/>
                <a:gd name="connsiteY67" fmla="*/ 283710 h 346905"/>
                <a:gd name="connsiteX68" fmla="*/ 1426625 w 1716673"/>
                <a:gd name="connsiteY68" fmla="*/ 291344 h 346905"/>
                <a:gd name="connsiteX69" fmla="*/ 1425937 w 1716673"/>
                <a:gd name="connsiteY69" fmla="*/ 294804 h 346905"/>
                <a:gd name="connsiteX70" fmla="*/ 1425937 w 1716673"/>
                <a:gd name="connsiteY70" fmla="*/ 335858 h 346905"/>
                <a:gd name="connsiteX71" fmla="*/ 1438279 w 1716673"/>
                <a:gd name="connsiteY71" fmla="*/ 346964 h 346905"/>
                <a:gd name="connsiteX72" fmla="*/ 1583113 w 1716673"/>
                <a:gd name="connsiteY72" fmla="*/ 346964 h 346905"/>
                <a:gd name="connsiteX73" fmla="*/ 1632241 w 1716673"/>
                <a:gd name="connsiteY73" fmla="*/ 346939 h 346905"/>
                <a:gd name="connsiteX74" fmla="*/ 1717026 w 1716673"/>
                <a:gd name="connsiteY74" fmla="*/ 268169 h 346905"/>
                <a:gd name="connsiteX75" fmla="*/ 1717026 w 1716673"/>
                <a:gd name="connsiteY75" fmla="*/ 227440 h 346905"/>
                <a:gd name="connsiteX76" fmla="*/ 94179 w 1716673"/>
                <a:gd name="connsiteY76" fmla="*/ 63306 h 346905"/>
                <a:gd name="connsiteX77" fmla="*/ 276199 w 1716673"/>
                <a:gd name="connsiteY77" fmla="*/ 63306 h 346905"/>
                <a:gd name="connsiteX78" fmla="*/ 288293 w 1716673"/>
                <a:gd name="connsiteY78" fmla="*/ 52423 h 346905"/>
                <a:gd name="connsiteX79" fmla="*/ 288293 w 1716673"/>
                <a:gd name="connsiteY79" fmla="*/ 10999 h 346905"/>
                <a:gd name="connsiteX80" fmla="*/ 276199 w 1716673"/>
                <a:gd name="connsiteY80" fmla="*/ 78 h 346905"/>
                <a:gd name="connsiteX81" fmla="*/ 92911 w 1716673"/>
                <a:gd name="connsiteY81" fmla="*/ 78 h 346905"/>
                <a:gd name="connsiteX82" fmla="*/ 352 w 1716673"/>
                <a:gd name="connsiteY82" fmla="*/ 85346 h 346905"/>
                <a:gd name="connsiteX83" fmla="*/ 352 w 1716673"/>
                <a:gd name="connsiteY83" fmla="*/ 261721 h 346905"/>
                <a:gd name="connsiteX84" fmla="*/ 92911 w 1716673"/>
                <a:gd name="connsiteY84" fmla="*/ 346983 h 346905"/>
                <a:gd name="connsiteX85" fmla="*/ 276199 w 1716673"/>
                <a:gd name="connsiteY85" fmla="*/ 346983 h 346905"/>
                <a:gd name="connsiteX86" fmla="*/ 288293 w 1716673"/>
                <a:gd name="connsiteY86" fmla="*/ 336094 h 346905"/>
                <a:gd name="connsiteX87" fmla="*/ 288293 w 1716673"/>
                <a:gd name="connsiteY87" fmla="*/ 294670 h 346905"/>
                <a:gd name="connsiteX88" fmla="*/ 276199 w 1716673"/>
                <a:gd name="connsiteY88" fmla="*/ 283793 h 346905"/>
                <a:gd name="connsiteX89" fmla="*/ 94179 w 1716673"/>
                <a:gd name="connsiteY89" fmla="*/ 283793 h 346905"/>
                <a:gd name="connsiteX90" fmla="*/ 69475 w 1716673"/>
                <a:gd name="connsiteY90" fmla="*/ 260631 h 346905"/>
                <a:gd name="connsiteX91" fmla="*/ 69475 w 1716673"/>
                <a:gd name="connsiteY91" fmla="*/ 212230 h 346905"/>
                <a:gd name="connsiteX92" fmla="*/ 178333 w 1716673"/>
                <a:gd name="connsiteY92" fmla="*/ 212230 h 346905"/>
                <a:gd name="connsiteX93" fmla="*/ 190420 w 1716673"/>
                <a:gd name="connsiteY93" fmla="*/ 201334 h 346905"/>
                <a:gd name="connsiteX94" fmla="*/ 190420 w 1716673"/>
                <a:gd name="connsiteY94" fmla="*/ 160790 h 346905"/>
                <a:gd name="connsiteX95" fmla="*/ 178333 w 1716673"/>
                <a:gd name="connsiteY95" fmla="*/ 149881 h 346905"/>
                <a:gd name="connsiteX96" fmla="*/ 69475 w 1716673"/>
                <a:gd name="connsiteY96" fmla="*/ 149881 h 346905"/>
                <a:gd name="connsiteX97" fmla="*/ 69475 w 1716673"/>
                <a:gd name="connsiteY97" fmla="*/ 86481 h 346905"/>
                <a:gd name="connsiteX98" fmla="*/ 94179 w 1716673"/>
                <a:gd name="connsiteY98" fmla="*/ 63306 h 346905"/>
                <a:gd name="connsiteX99" fmla="*/ 397068 w 1716673"/>
                <a:gd name="connsiteY99" fmla="*/ 63312 h 346905"/>
                <a:gd name="connsiteX100" fmla="*/ 397068 w 1716673"/>
                <a:gd name="connsiteY100" fmla="*/ 334647 h 346905"/>
                <a:gd name="connsiteX101" fmla="*/ 385943 w 1716673"/>
                <a:gd name="connsiteY101" fmla="*/ 346977 h 346905"/>
                <a:gd name="connsiteX102" fmla="*/ 339026 w 1716673"/>
                <a:gd name="connsiteY102" fmla="*/ 346977 h 346905"/>
                <a:gd name="connsiteX103" fmla="*/ 327914 w 1716673"/>
                <a:gd name="connsiteY103" fmla="*/ 334647 h 346905"/>
                <a:gd name="connsiteX104" fmla="*/ 327914 w 1716673"/>
                <a:gd name="connsiteY104" fmla="*/ 12439 h 346905"/>
                <a:gd name="connsiteX105" fmla="*/ 339026 w 1716673"/>
                <a:gd name="connsiteY105" fmla="*/ 90 h 346905"/>
                <a:gd name="connsiteX106" fmla="*/ 481840 w 1716673"/>
                <a:gd name="connsiteY106" fmla="*/ 90 h 346905"/>
                <a:gd name="connsiteX107" fmla="*/ 615855 w 1716673"/>
                <a:gd name="connsiteY107" fmla="*/ 123756 h 346905"/>
                <a:gd name="connsiteX108" fmla="*/ 615855 w 1716673"/>
                <a:gd name="connsiteY108" fmla="*/ 335883 h 346905"/>
                <a:gd name="connsiteX109" fmla="*/ 603519 w 1716673"/>
                <a:gd name="connsiteY109" fmla="*/ 346977 h 346905"/>
                <a:gd name="connsiteX110" fmla="*/ 559119 w 1716673"/>
                <a:gd name="connsiteY110" fmla="*/ 346977 h 346905"/>
                <a:gd name="connsiteX111" fmla="*/ 546789 w 1716673"/>
                <a:gd name="connsiteY111" fmla="*/ 335883 h 346905"/>
                <a:gd name="connsiteX112" fmla="*/ 546789 w 1716673"/>
                <a:gd name="connsiteY112" fmla="*/ 123756 h 346905"/>
                <a:gd name="connsiteX113" fmla="*/ 481840 w 1716673"/>
                <a:gd name="connsiteY113" fmla="*/ 63344 h 346905"/>
                <a:gd name="connsiteX114" fmla="*/ 397068 w 1716673"/>
                <a:gd name="connsiteY114" fmla="*/ 63312 h 34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716673" h="346905">
                  <a:moveTo>
                    <a:pt x="1386323" y="26425"/>
                  </a:moveTo>
                  <a:lnTo>
                    <a:pt x="1386221" y="12407"/>
                  </a:lnTo>
                  <a:cubicBezTo>
                    <a:pt x="1386221" y="5608"/>
                    <a:pt x="1381238" y="78"/>
                    <a:pt x="1375114" y="78"/>
                  </a:cubicBezTo>
                  <a:lnTo>
                    <a:pt x="1328351" y="78"/>
                  </a:lnTo>
                  <a:cubicBezTo>
                    <a:pt x="1322234" y="78"/>
                    <a:pt x="1317245" y="5608"/>
                    <a:pt x="1317245" y="12407"/>
                  </a:cubicBezTo>
                  <a:lnTo>
                    <a:pt x="1317245" y="26425"/>
                  </a:lnTo>
                  <a:lnTo>
                    <a:pt x="1317251" y="26425"/>
                  </a:lnTo>
                  <a:lnTo>
                    <a:pt x="1317353" y="50976"/>
                  </a:lnTo>
                  <a:cubicBezTo>
                    <a:pt x="1317353" y="57775"/>
                    <a:pt x="1322329" y="63306"/>
                    <a:pt x="1328459" y="63306"/>
                  </a:cubicBezTo>
                  <a:lnTo>
                    <a:pt x="1375223" y="63306"/>
                  </a:lnTo>
                  <a:cubicBezTo>
                    <a:pt x="1381340" y="63306"/>
                    <a:pt x="1386329" y="57775"/>
                    <a:pt x="1386329" y="50976"/>
                  </a:cubicBezTo>
                  <a:lnTo>
                    <a:pt x="1386329" y="26425"/>
                  </a:lnTo>
                  <a:lnTo>
                    <a:pt x="1386323" y="26425"/>
                  </a:lnTo>
                  <a:close/>
                  <a:moveTo>
                    <a:pt x="1386323" y="218602"/>
                  </a:moveTo>
                  <a:lnTo>
                    <a:pt x="1386221" y="102640"/>
                  </a:lnTo>
                  <a:cubicBezTo>
                    <a:pt x="1386221" y="95835"/>
                    <a:pt x="1381238" y="90310"/>
                    <a:pt x="1375114" y="90310"/>
                  </a:cubicBezTo>
                  <a:lnTo>
                    <a:pt x="1328351" y="90310"/>
                  </a:lnTo>
                  <a:cubicBezTo>
                    <a:pt x="1322234" y="90310"/>
                    <a:pt x="1317245" y="95835"/>
                    <a:pt x="1317245" y="102640"/>
                  </a:cubicBezTo>
                  <a:lnTo>
                    <a:pt x="1317245" y="218602"/>
                  </a:lnTo>
                  <a:lnTo>
                    <a:pt x="1317251" y="218602"/>
                  </a:lnTo>
                  <a:lnTo>
                    <a:pt x="1317353" y="334558"/>
                  </a:lnTo>
                  <a:cubicBezTo>
                    <a:pt x="1317353" y="341357"/>
                    <a:pt x="1322329" y="346888"/>
                    <a:pt x="1328459" y="346888"/>
                  </a:cubicBezTo>
                  <a:lnTo>
                    <a:pt x="1375223" y="346888"/>
                  </a:lnTo>
                  <a:cubicBezTo>
                    <a:pt x="1381340" y="346888"/>
                    <a:pt x="1386329" y="341357"/>
                    <a:pt x="1386329" y="334558"/>
                  </a:cubicBezTo>
                  <a:lnTo>
                    <a:pt x="1386329" y="218602"/>
                  </a:lnTo>
                  <a:lnTo>
                    <a:pt x="1386323" y="218602"/>
                  </a:lnTo>
                  <a:close/>
                  <a:moveTo>
                    <a:pt x="1151339" y="78"/>
                  </a:moveTo>
                  <a:lnTo>
                    <a:pt x="1000796" y="78"/>
                  </a:lnTo>
                  <a:cubicBezTo>
                    <a:pt x="994666" y="78"/>
                    <a:pt x="989683" y="5627"/>
                    <a:pt x="989683" y="12439"/>
                  </a:cubicBezTo>
                  <a:lnTo>
                    <a:pt x="989683" y="216448"/>
                  </a:lnTo>
                  <a:cubicBezTo>
                    <a:pt x="989683" y="223260"/>
                    <a:pt x="994659" y="228791"/>
                    <a:pt x="1000776" y="228791"/>
                  </a:cubicBezTo>
                  <a:lnTo>
                    <a:pt x="1047636" y="228791"/>
                  </a:lnTo>
                  <a:cubicBezTo>
                    <a:pt x="1053765" y="228791"/>
                    <a:pt x="1058742" y="223260"/>
                    <a:pt x="1058742" y="216448"/>
                  </a:cubicBezTo>
                  <a:lnTo>
                    <a:pt x="1058806" y="63274"/>
                  </a:lnTo>
                  <a:lnTo>
                    <a:pt x="1143597" y="63306"/>
                  </a:lnTo>
                  <a:cubicBezTo>
                    <a:pt x="1179420" y="63306"/>
                    <a:pt x="1208559" y="90412"/>
                    <a:pt x="1208559" y="123731"/>
                  </a:cubicBezTo>
                  <a:lnTo>
                    <a:pt x="1208559" y="235124"/>
                  </a:lnTo>
                  <a:cubicBezTo>
                    <a:pt x="1208559" y="268430"/>
                    <a:pt x="1179420" y="283634"/>
                    <a:pt x="1143597" y="283634"/>
                  </a:cubicBezTo>
                  <a:lnTo>
                    <a:pt x="989683" y="283793"/>
                  </a:lnTo>
                  <a:lnTo>
                    <a:pt x="989683" y="346983"/>
                  </a:lnTo>
                  <a:lnTo>
                    <a:pt x="1143597" y="346888"/>
                  </a:lnTo>
                  <a:cubicBezTo>
                    <a:pt x="1217498" y="346888"/>
                    <a:pt x="1277624" y="303310"/>
                    <a:pt x="1277624" y="235124"/>
                  </a:cubicBezTo>
                  <a:lnTo>
                    <a:pt x="1277624" y="123004"/>
                  </a:lnTo>
                  <a:cubicBezTo>
                    <a:pt x="1277624" y="57578"/>
                    <a:pt x="1222730" y="78"/>
                    <a:pt x="1151339" y="78"/>
                  </a:cubicBezTo>
                  <a:moveTo>
                    <a:pt x="1717026" y="227440"/>
                  </a:moveTo>
                  <a:cubicBezTo>
                    <a:pt x="1717026" y="224305"/>
                    <a:pt x="1717000" y="221094"/>
                    <a:pt x="1716694" y="217608"/>
                  </a:cubicBezTo>
                  <a:cubicBezTo>
                    <a:pt x="1713285" y="179077"/>
                    <a:pt x="1673575" y="149881"/>
                    <a:pt x="1631712" y="149881"/>
                  </a:cubicBezTo>
                  <a:lnTo>
                    <a:pt x="1527881" y="149881"/>
                  </a:lnTo>
                  <a:lnTo>
                    <a:pt x="1525218" y="149875"/>
                  </a:lnTo>
                  <a:cubicBezTo>
                    <a:pt x="1508587" y="149875"/>
                    <a:pt x="1495066" y="135137"/>
                    <a:pt x="1495066" y="117040"/>
                  </a:cubicBezTo>
                  <a:lnTo>
                    <a:pt x="1495168" y="93477"/>
                  </a:lnTo>
                  <a:cubicBezTo>
                    <a:pt x="1495168" y="76859"/>
                    <a:pt x="1509900" y="63331"/>
                    <a:pt x="1528002" y="63331"/>
                  </a:cubicBezTo>
                  <a:lnTo>
                    <a:pt x="1568980" y="63331"/>
                  </a:lnTo>
                  <a:lnTo>
                    <a:pt x="1569382" y="63344"/>
                  </a:lnTo>
                  <a:lnTo>
                    <a:pt x="1672932" y="63344"/>
                  </a:lnTo>
                  <a:cubicBezTo>
                    <a:pt x="1678227" y="63344"/>
                    <a:pt x="1682917" y="60260"/>
                    <a:pt x="1684599" y="55666"/>
                  </a:cubicBezTo>
                  <a:cubicBezTo>
                    <a:pt x="1685045" y="54443"/>
                    <a:pt x="1685261" y="53321"/>
                    <a:pt x="1685261" y="52238"/>
                  </a:cubicBezTo>
                  <a:lnTo>
                    <a:pt x="1685261" y="11184"/>
                  </a:lnTo>
                  <a:cubicBezTo>
                    <a:pt x="1685261" y="5054"/>
                    <a:pt x="1679731" y="90"/>
                    <a:pt x="1672932" y="90"/>
                  </a:cubicBezTo>
                  <a:lnTo>
                    <a:pt x="1511391" y="109"/>
                  </a:lnTo>
                  <a:cubicBezTo>
                    <a:pt x="1464583" y="109"/>
                    <a:pt x="1425943" y="35442"/>
                    <a:pt x="1425943" y="78841"/>
                  </a:cubicBezTo>
                  <a:lnTo>
                    <a:pt x="1425950" y="127955"/>
                  </a:lnTo>
                  <a:cubicBezTo>
                    <a:pt x="1425950" y="174770"/>
                    <a:pt x="1461276" y="212855"/>
                    <a:pt x="1504707" y="212855"/>
                  </a:cubicBezTo>
                  <a:lnTo>
                    <a:pt x="1617904" y="212855"/>
                  </a:lnTo>
                  <a:cubicBezTo>
                    <a:pt x="1634522" y="212855"/>
                    <a:pt x="1647896" y="227587"/>
                    <a:pt x="1647896" y="245695"/>
                  </a:cubicBezTo>
                  <a:lnTo>
                    <a:pt x="1647896" y="253571"/>
                  </a:lnTo>
                  <a:cubicBezTo>
                    <a:pt x="1647896" y="270195"/>
                    <a:pt x="1633324" y="283710"/>
                    <a:pt x="1615221" y="283710"/>
                  </a:cubicBezTo>
                  <a:lnTo>
                    <a:pt x="1438279" y="283710"/>
                  </a:lnTo>
                  <a:cubicBezTo>
                    <a:pt x="1432978" y="283710"/>
                    <a:pt x="1428288" y="286775"/>
                    <a:pt x="1426625" y="291344"/>
                  </a:cubicBezTo>
                  <a:cubicBezTo>
                    <a:pt x="1426160" y="292593"/>
                    <a:pt x="1425937" y="293727"/>
                    <a:pt x="1425937" y="294804"/>
                  </a:cubicBezTo>
                  <a:lnTo>
                    <a:pt x="1425937" y="335858"/>
                  </a:lnTo>
                  <a:cubicBezTo>
                    <a:pt x="1425937" y="341981"/>
                    <a:pt x="1431474" y="346964"/>
                    <a:pt x="1438279" y="346964"/>
                  </a:cubicBezTo>
                  <a:lnTo>
                    <a:pt x="1583113" y="346964"/>
                  </a:lnTo>
                  <a:lnTo>
                    <a:pt x="1632241" y="346939"/>
                  </a:lnTo>
                  <a:cubicBezTo>
                    <a:pt x="1679036" y="346939"/>
                    <a:pt x="1717026" y="311613"/>
                    <a:pt x="1717026" y="268169"/>
                  </a:cubicBezTo>
                  <a:lnTo>
                    <a:pt x="1717026" y="227440"/>
                  </a:lnTo>
                  <a:close/>
                  <a:moveTo>
                    <a:pt x="94179" y="63306"/>
                  </a:moveTo>
                  <a:lnTo>
                    <a:pt x="276199" y="63306"/>
                  </a:lnTo>
                  <a:cubicBezTo>
                    <a:pt x="282864" y="63306"/>
                    <a:pt x="288293" y="58425"/>
                    <a:pt x="288293" y="52423"/>
                  </a:cubicBezTo>
                  <a:lnTo>
                    <a:pt x="288293" y="10999"/>
                  </a:lnTo>
                  <a:cubicBezTo>
                    <a:pt x="288293" y="4984"/>
                    <a:pt x="283119" y="78"/>
                    <a:pt x="276199" y="78"/>
                  </a:cubicBezTo>
                  <a:lnTo>
                    <a:pt x="92911" y="78"/>
                  </a:lnTo>
                  <a:cubicBezTo>
                    <a:pt x="41878" y="78"/>
                    <a:pt x="352" y="38283"/>
                    <a:pt x="352" y="85346"/>
                  </a:cubicBezTo>
                  <a:lnTo>
                    <a:pt x="352" y="261721"/>
                  </a:lnTo>
                  <a:cubicBezTo>
                    <a:pt x="352" y="308765"/>
                    <a:pt x="41878" y="346983"/>
                    <a:pt x="92911" y="346983"/>
                  </a:cubicBezTo>
                  <a:lnTo>
                    <a:pt x="276199" y="346983"/>
                  </a:lnTo>
                  <a:cubicBezTo>
                    <a:pt x="282864" y="346983"/>
                    <a:pt x="288293" y="342096"/>
                    <a:pt x="288293" y="336094"/>
                  </a:cubicBezTo>
                  <a:lnTo>
                    <a:pt x="288293" y="294670"/>
                  </a:lnTo>
                  <a:cubicBezTo>
                    <a:pt x="288293" y="288668"/>
                    <a:pt x="282864" y="283793"/>
                    <a:pt x="276199" y="283793"/>
                  </a:cubicBezTo>
                  <a:lnTo>
                    <a:pt x="94179" y="283793"/>
                  </a:lnTo>
                  <a:cubicBezTo>
                    <a:pt x="80791" y="283793"/>
                    <a:pt x="69475" y="273184"/>
                    <a:pt x="69475" y="260631"/>
                  </a:cubicBezTo>
                  <a:lnTo>
                    <a:pt x="69475" y="212230"/>
                  </a:lnTo>
                  <a:lnTo>
                    <a:pt x="178333" y="212230"/>
                  </a:lnTo>
                  <a:cubicBezTo>
                    <a:pt x="184998" y="212230"/>
                    <a:pt x="190420" y="207337"/>
                    <a:pt x="190420" y="201334"/>
                  </a:cubicBezTo>
                  <a:lnTo>
                    <a:pt x="190420" y="160790"/>
                  </a:lnTo>
                  <a:cubicBezTo>
                    <a:pt x="190420" y="154775"/>
                    <a:pt x="184998" y="149881"/>
                    <a:pt x="178333" y="149881"/>
                  </a:cubicBezTo>
                  <a:lnTo>
                    <a:pt x="69475" y="149881"/>
                  </a:lnTo>
                  <a:lnTo>
                    <a:pt x="69475" y="86481"/>
                  </a:lnTo>
                  <a:cubicBezTo>
                    <a:pt x="69475" y="73915"/>
                    <a:pt x="80791" y="63306"/>
                    <a:pt x="94179" y="63306"/>
                  </a:cubicBezTo>
                  <a:moveTo>
                    <a:pt x="397068" y="63312"/>
                  </a:moveTo>
                  <a:lnTo>
                    <a:pt x="397068" y="334647"/>
                  </a:lnTo>
                  <a:cubicBezTo>
                    <a:pt x="397068" y="341446"/>
                    <a:pt x="392073" y="346977"/>
                    <a:pt x="385943" y="346977"/>
                  </a:cubicBezTo>
                  <a:lnTo>
                    <a:pt x="339026" y="346977"/>
                  </a:lnTo>
                  <a:cubicBezTo>
                    <a:pt x="332897" y="346977"/>
                    <a:pt x="327914" y="341446"/>
                    <a:pt x="327914" y="334647"/>
                  </a:cubicBezTo>
                  <a:lnTo>
                    <a:pt x="327914" y="12439"/>
                  </a:lnTo>
                  <a:cubicBezTo>
                    <a:pt x="327914" y="5627"/>
                    <a:pt x="332897" y="90"/>
                    <a:pt x="339026" y="90"/>
                  </a:cubicBezTo>
                  <a:lnTo>
                    <a:pt x="481840" y="90"/>
                  </a:lnTo>
                  <a:cubicBezTo>
                    <a:pt x="555736" y="90"/>
                    <a:pt x="615855" y="55558"/>
                    <a:pt x="615855" y="123756"/>
                  </a:cubicBezTo>
                  <a:lnTo>
                    <a:pt x="615855" y="335883"/>
                  </a:lnTo>
                  <a:cubicBezTo>
                    <a:pt x="615855" y="342007"/>
                    <a:pt x="610324" y="346977"/>
                    <a:pt x="603519" y="346977"/>
                  </a:cubicBezTo>
                  <a:lnTo>
                    <a:pt x="559119" y="346977"/>
                  </a:lnTo>
                  <a:cubicBezTo>
                    <a:pt x="552320" y="346977"/>
                    <a:pt x="546789" y="342007"/>
                    <a:pt x="546789" y="335883"/>
                  </a:cubicBezTo>
                  <a:lnTo>
                    <a:pt x="546789" y="123756"/>
                  </a:lnTo>
                  <a:cubicBezTo>
                    <a:pt x="546789" y="90450"/>
                    <a:pt x="517657" y="63344"/>
                    <a:pt x="481840" y="63344"/>
                  </a:cubicBezTo>
                  <a:lnTo>
                    <a:pt x="397068" y="63312"/>
                  </a:lnTo>
                  <a:close/>
                </a:path>
              </a:pathLst>
            </a:custGeom>
            <a:solidFill>
              <a:schemeClr val="tx2"/>
            </a:solidFill>
            <a:ln w="6362" cap="flat">
              <a:noFill/>
              <a:prstDash val="solid"/>
              <a:round/>
            </a:ln>
          </p:spPr>
          <p:txBody>
            <a:bodyPr rtlCol="0" anchor="ctr"/>
            <a:lstStyle/>
            <a:p>
              <a:endParaRPr lang="fr-FR"/>
            </a:p>
          </p:txBody>
        </p:sp>
      </p:grpSp>
      <p:sp>
        <p:nvSpPr>
          <p:cNvPr id="13" name="Espace réservé du texte 12">
            <a:extLst>
              <a:ext uri="{FF2B5EF4-FFF2-40B4-BE49-F238E27FC236}">
                <a16:creationId xmlns:a16="http://schemas.microsoft.com/office/drawing/2014/main" id="{F9B6F8A9-9A1E-478A-8B80-2A55B884E0AE}"/>
              </a:ext>
            </a:extLst>
          </p:cNvPr>
          <p:cNvSpPr>
            <a:spLocks noGrp="1"/>
          </p:cNvSpPr>
          <p:nvPr>
            <p:ph type="body" sz="quarter" idx="13" hasCustomPrompt="1"/>
          </p:nvPr>
        </p:nvSpPr>
        <p:spPr>
          <a:xfrm>
            <a:off x="9058786" y="6168695"/>
            <a:ext cx="2636837" cy="207749"/>
          </a:xfrm>
        </p:spPr>
        <p:txBody>
          <a:bodyPr/>
          <a:lstStyle>
            <a:lvl1pPr algn="r">
              <a:defRPr sz="1500">
                <a:solidFill>
                  <a:schemeClr val="tx2"/>
                </a:solidFill>
                <a:latin typeface="Enedis Light" pitchFamily="50" charset="0"/>
              </a:defRPr>
            </a:lvl1pPr>
          </a:lstStyle>
          <a:p>
            <a:pPr lvl="0"/>
            <a:r>
              <a:rPr lang="fr-FR"/>
              <a:t>00 / 00 / 2021</a:t>
            </a:r>
          </a:p>
        </p:txBody>
      </p:sp>
      <p:pic>
        <p:nvPicPr>
          <p:cNvPr id="9" name="Image 8"/>
          <p:cNvPicPr>
            <a:picLocks noChangeAspect="1"/>
          </p:cNvPicPr>
          <p:nvPr userDrawn="1"/>
        </p:nvPicPr>
        <p:blipFill>
          <a:blip r:embed="rId2"/>
          <a:stretch>
            <a:fillRect/>
          </a:stretch>
        </p:blipFill>
        <p:spPr>
          <a:xfrm>
            <a:off x="0" y="3701472"/>
            <a:ext cx="12192000" cy="1714500"/>
          </a:xfrm>
          <a:prstGeom prst="rect">
            <a:avLst/>
          </a:prstGeom>
        </p:spPr>
      </p:pic>
    </p:spTree>
    <p:extLst>
      <p:ext uri="{BB962C8B-B14F-4D97-AF65-F5344CB8AC3E}">
        <p14:creationId xmlns:p14="http://schemas.microsoft.com/office/powerpoint/2010/main" val="3284528217"/>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14" name="Espace réservé du numéro de diapositive 13">
            <a:extLst>
              <a:ext uri="{FF2B5EF4-FFF2-40B4-BE49-F238E27FC236}">
                <a16:creationId xmlns:a16="http://schemas.microsoft.com/office/drawing/2014/main" id="{FDC00936-BF14-4A2E-8AFC-70AF3C367646}"/>
              </a:ext>
            </a:extLst>
          </p:cNvPr>
          <p:cNvSpPr>
            <a:spLocks noGrp="1"/>
          </p:cNvSpPr>
          <p:nvPr>
            <p:ph type="sldNum" sz="quarter" idx="16"/>
          </p:nvPr>
        </p:nvSpPr>
        <p:spPr/>
        <p:txBody>
          <a:bodyPr/>
          <a:lstStyle>
            <a:lvl1pPr>
              <a:defRPr>
                <a:solidFill>
                  <a:schemeClr val="tx2"/>
                </a:solidFill>
              </a:defRPr>
            </a:lvl1pPr>
          </a:lstStyle>
          <a:p>
            <a:fld id="{0E896D16-09AE-411D-B63D-68D5DFDAD9AB}" type="slidenum">
              <a:rPr lang="fr-FR" smtClean="0"/>
              <a:t>‹N°›</a:t>
            </a:fld>
            <a:endParaRPr lang="fr-FR"/>
          </a:p>
        </p:txBody>
      </p:sp>
      <p:sp>
        <p:nvSpPr>
          <p:cNvPr id="16" name="Title 1">
            <a:extLst>
              <a:ext uri="{FF2B5EF4-FFF2-40B4-BE49-F238E27FC236}">
                <a16:creationId xmlns:a16="http://schemas.microsoft.com/office/drawing/2014/main" id="{01B44EE4-3310-4F01-B01F-7EF3CB5AB62B}"/>
              </a:ext>
            </a:extLst>
          </p:cNvPr>
          <p:cNvSpPr>
            <a:spLocks noGrp="1"/>
          </p:cNvSpPr>
          <p:nvPr>
            <p:ph type="ctrTitle" hasCustomPrompt="1"/>
          </p:nvPr>
        </p:nvSpPr>
        <p:spPr>
          <a:xfrm>
            <a:off x="482248" y="1219183"/>
            <a:ext cx="7320632" cy="2110578"/>
          </a:xfrm>
        </p:spPr>
        <p:txBody>
          <a:bodyPr anchor="b"/>
          <a:lstStyle>
            <a:lvl1pPr algn="l">
              <a:lnSpc>
                <a:spcPct val="76000"/>
              </a:lnSpc>
              <a:defRPr sz="6000">
                <a:solidFill>
                  <a:schemeClr val="tx2"/>
                </a:solidFill>
              </a:defRPr>
            </a:lvl1pPr>
          </a:lstStyle>
          <a:p>
            <a:r>
              <a:rPr lang="fr-FR"/>
              <a:t>Titre du </a:t>
            </a:r>
            <a:br>
              <a:rPr lang="fr-FR"/>
            </a:br>
            <a:r>
              <a:rPr lang="fr-FR"/>
              <a:t>chapitre</a:t>
            </a:r>
            <a:br>
              <a:rPr lang="fr-FR"/>
            </a:br>
            <a:r>
              <a:rPr lang="fr-FR"/>
              <a:t>sur trois lignes</a:t>
            </a:r>
            <a:endParaRPr lang="en-US"/>
          </a:p>
        </p:txBody>
      </p:sp>
      <p:sp>
        <p:nvSpPr>
          <p:cNvPr id="17" name="Subtitle 2">
            <a:extLst>
              <a:ext uri="{FF2B5EF4-FFF2-40B4-BE49-F238E27FC236}">
                <a16:creationId xmlns:a16="http://schemas.microsoft.com/office/drawing/2014/main" id="{B6B3D307-BACE-4719-B90F-E143C5937ABF}"/>
              </a:ext>
            </a:extLst>
          </p:cNvPr>
          <p:cNvSpPr>
            <a:spLocks noGrp="1"/>
          </p:cNvSpPr>
          <p:nvPr>
            <p:ph type="subTitle" idx="1" hasCustomPrompt="1"/>
          </p:nvPr>
        </p:nvSpPr>
        <p:spPr>
          <a:xfrm>
            <a:off x="482248" y="4009210"/>
            <a:ext cx="6432902" cy="615553"/>
          </a:xfrm>
        </p:spPr>
        <p:txBody>
          <a:bodyPr/>
          <a:lstStyle>
            <a:lvl1pPr marL="0" indent="0" algn="l">
              <a:lnSpc>
                <a:spcPct val="80000"/>
              </a:lnSpc>
              <a:buNone/>
              <a:defRPr sz="2500">
                <a:solidFill>
                  <a:schemeClr val="tx2"/>
                </a:solidFill>
                <a:latin typeface="Enedis Light" pitchFamily="50"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Sous-titre du chapitre</a:t>
            </a:r>
            <a:br>
              <a:rPr lang="fr-FR"/>
            </a:br>
            <a:r>
              <a:rPr lang="fr-FR"/>
              <a:t>sur deux lignes</a:t>
            </a:r>
            <a:endParaRPr lang="en-US"/>
          </a:p>
        </p:txBody>
      </p:sp>
      <p:sp>
        <p:nvSpPr>
          <p:cNvPr id="18" name="Espace réservé du graphique SmartArt 11">
            <a:extLst>
              <a:ext uri="{FF2B5EF4-FFF2-40B4-BE49-F238E27FC236}">
                <a16:creationId xmlns:a16="http://schemas.microsoft.com/office/drawing/2014/main" id="{B796FD99-BC03-492C-B455-F334B00DF92E}"/>
              </a:ext>
            </a:extLst>
          </p:cNvPr>
          <p:cNvSpPr>
            <a:spLocks noGrp="1"/>
          </p:cNvSpPr>
          <p:nvPr>
            <p:ph type="dgm" sz="quarter" idx="20"/>
          </p:nvPr>
        </p:nvSpPr>
        <p:spPr>
          <a:xfrm>
            <a:off x="520922" y="3589627"/>
            <a:ext cx="349020" cy="47313"/>
          </a:xfrm>
          <a:solidFill>
            <a:schemeClr val="accent1"/>
          </a:solidFill>
        </p:spPr>
        <p:txBody>
          <a:bodyPr>
            <a:noAutofit/>
          </a:bodyPr>
          <a:lstStyle>
            <a:lvl1pPr>
              <a:defRPr sz="100">
                <a:noFill/>
              </a:defRPr>
            </a:lvl1pPr>
          </a:lstStyle>
          <a:p>
            <a:r>
              <a:rPr lang="fr-FR" smtClean="0"/>
              <a:t>Cliquez sur l'icône pour ajouter un graphique SmartArt</a:t>
            </a:r>
            <a:endParaRPr lang="fr-FR"/>
          </a:p>
        </p:txBody>
      </p:sp>
    </p:spTree>
    <p:extLst>
      <p:ext uri="{BB962C8B-B14F-4D97-AF65-F5344CB8AC3E}">
        <p14:creationId xmlns:p14="http://schemas.microsoft.com/office/powerpoint/2010/main" val="10729445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a:xfrm>
            <a:off x="3695733" y="6446579"/>
            <a:ext cx="4800000" cy="184667"/>
          </a:xfrm>
          <a:prstGeom prst="rect">
            <a:avLst/>
          </a:prstGeom>
        </p:spPr>
        <p:txBody>
          <a:bodyPr/>
          <a:lstStyle/>
          <a:p>
            <a:r>
              <a:rPr lang="fr-FR" smtClean="0"/>
              <a:t>Comptage en courant continu</a:t>
            </a:r>
            <a:endParaRPr lang="fr-FR"/>
          </a:p>
        </p:txBody>
      </p:sp>
      <p:sp>
        <p:nvSpPr>
          <p:cNvPr id="4" name="Titre 3"/>
          <p:cNvSpPr>
            <a:spLocks noGrp="1"/>
          </p:cNvSpPr>
          <p:nvPr>
            <p:ph type="title"/>
          </p:nvPr>
        </p:nvSpPr>
        <p:spPr>
          <a:xfrm>
            <a:off x="479376" y="116632"/>
            <a:ext cx="10957984" cy="576859"/>
          </a:xfrm>
        </p:spPr>
        <p:txBody>
          <a:bodyPr/>
          <a:lstStyle/>
          <a:p>
            <a:r>
              <a:rPr lang="fr-FR"/>
              <a:t>Modifiez le style du titre</a:t>
            </a:r>
          </a:p>
        </p:txBody>
      </p:sp>
    </p:spTree>
    <p:extLst>
      <p:ext uri="{BB962C8B-B14F-4D97-AF65-F5344CB8AC3E}">
        <p14:creationId xmlns:p14="http://schemas.microsoft.com/office/powerpoint/2010/main" val="8291514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MEDIA">
    <p:spTree>
      <p:nvGrpSpPr>
        <p:cNvPr id="1" name=""/>
        <p:cNvGrpSpPr/>
        <p:nvPr/>
      </p:nvGrpSpPr>
      <p:grpSpPr>
        <a:xfrm>
          <a:off x="0" y="0"/>
          <a:ext cx="0" cy="0"/>
          <a:chOff x="0" y="0"/>
          <a:chExt cx="0" cy="0"/>
        </a:xfrm>
      </p:grpSpPr>
      <p:sp>
        <p:nvSpPr>
          <p:cNvPr id="9" name="Espace réservé du contenu 8">
            <a:extLst>
              <a:ext uri="{FF2B5EF4-FFF2-40B4-BE49-F238E27FC236}">
                <a16:creationId xmlns:a16="http://schemas.microsoft.com/office/drawing/2014/main" id="{05B84175-CB4D-E947-A00E-D1C020E75D80}"/>
              </a:ext>
            </a:extLst>
          </p:cNvPr>
          <p:cNvSpPr>
            <a:spLocks noGrp="1"/>
          </p:cNvSpPr>
          <p:nvPr>
            <p:ph sz="quarter" idx="14" hasCustomPrompt="1"/>
          </p:nvPr>
        </p:nvSpPr>
        <p:spPr>
          <a:xfrm>
            <a:off x="1260475" y="1006475"/>
            <a:ext cx="9672638" cy="5600700"/>
          </a:xfrm>
          <a:prstGeom prst="rect">
            <a:avLst/>
          </a:prstGeom>
        </p:spPr>
        <p:txBody>
          <a:bodyPr lIns="251999" tIns="251999" rIns="251999" bIns="251999"/>
          <a:lstStyle>
            <a:lvl1pPr marL="177800" indent="-177800">
              <a:lnSpc>
                <a:spcPct val="100000"/>
              </a:lnSpc>
              <a:spcBef>
                <a:spcPts val="1800"/>
              </a:spcBef>
              <a:spcAft>
                <a:spcPts val="1200"/>
              </a:spcAft>
              <a:buClr>
                <a:schemeClr val="bg2"/>
              </a:buClr>
              <a:buSzPct val="120000"/>
              <a:buFont typeface="Arial" panose="020B0604020202020204" pitchFamily="34" charset="0"/>
              <a:buChar char="⁄"/>
              <a:tabLst/>
              <a:defRPr sz="1800" b="1">
                <a:solidFill>
                  <a:schemeClr val="tx1"/>
                </a:solidFill>
                <a:latin typeface="+mj-lt"/>
              </a:defRPr>
            </a:lvl1pPr>
            <a:lvl2pPr marL="355600" indent="-177800">
              <a:lnSpc>
                <a:spcPct val="100000"/>
              </a:lnSpc>
              <a:spcBef>
                <a:spcPts val="0"/>
              </a:spcBef>
              <a:spcAft>
                <a:spcPts val="1200"/>
              </a:spcAft>
              <a:buFontTx/>
              <a:buChar char="-"/>
              <a:tabLst/>
              <a:defRPr sz="1600">
                <a:solidFill>
                  <a:schemeClr val="tx1"/>
                </a:solidFill>
                <a:latin typeface="+mj-lt"/>
              </a:defRPr>
            </a:lvl2pPr>
            <a:lvl3pPr marL="533400" indent="-177800">
              <a:lnSpc>
                <a:spcPct val="100000"/>
              </a:lnSpc>
              <a:spcBef>
                <a:spcPts val="0"/>
              </a:spcBef>
              <a:spcAft>
                <a:spcPts val="1200"/>
              </a:spcAft>
              <a:buClrTx/>
              <a:buFontTx/>
              <a:buChar char="-"/>
              <a:tabLst/>
              <a:defRPr sz="1400">
                <a:solidFill>
                  <a:schemeClr val="tx1">
                    <a:lumMod val="50000"/>
                    <a:lumOff val="50000"/>
                  </a:schemeClr>
                </a:solidFill>
              </a:defRPr>
            </a:lvl3pPr>
            <a:lvl4pPr marL="889000" indent="-177800">
              <a:lnSpc>
                <a:spcPct val="100000"/>
              </a:lnSpc>
              <a:spcBef>
                <a:spcPts val="0"/>
              </a:spcBef>
              <a:buFontTx/>
              <a:buChar char="-"/>
              <a:tabLst/>
              <a:defRPr sz="1400">
                <a:solidFill>
                  <a:schemeClr val="accent2"/>
                </a:solidFill>
              </a:defRPr>
            </a:lvl4pPr>
            <a:lvl5pPr marL="1244600" indent="-177800">
              <a:lnSpc>
                <a:spcPct val="100000"/>
              </a:lnSpc>
              <a:spcBef>
                <a:spcPts val="0"/>
              </a:spcBef>
              <a:buFontTx/>
              <a:buChar char="-"/>
              <a:tabLst/>
              <a:defRPr sz="1400">
                <a:solidFill>
                  <a:schemeClr val="accent2"/>
                </a:solidFill>
              </a:defRPr>
            </a:lvl5pPr>
            <a:lvl6pPr marL="1422400" indent="-177800">
              <a:lnSpc>
                <a:spcPct val="100000"/>
              </a:lnSpc>
              <a:spcBef>
                <a:spcPts val="0"/>
              </a:spcBef>
              <a:buFontTx/>
              <a:buChar char="-"/>
              <a:tabLst/>
              <a:defRPr sz="1400">
                <a:solidFill>
                  <a:schemeClr val="accent2"/>
                </a:solidFill>
              </a:defRPr>
            </a:lvl6pPr>
            <a:lvl7pPr marL="1600200" indent="-177800">
              <a:lnSpc>
                <a:spcPct val="100000"/>
              </a:lnSpc>
              <a:spcBef>
                <a:spcPts val="0"/>
              </a:spcBef>
              <a:buFontTx/>
              <a:buChar char="-"/>
              <a:tabLst/>
              <a:defRPr sz="1400">
                <a:solidFill>
                  <a:schemeClr val="accent2"/>
                </a:solidFill>
              </a:defRPr>
            </a:lvl7pPr>
            <a:lvl8pPr marL="1778000" indent="-177800">
              <a:lnSpc>
                <a:spcPct val="100000"/>
              </a:lnSpc>
              <a:spcBef>
                <a:spcPts val="0"/>
              </a:spcBef>
              <a:buFontTx/>
              <a:buChar char="-"/>
              <a:tabLst/>
              <a:defRPr sz="1400">
                <a:solidFill>
                  <a:schemeClr val="accent2"/>
                </a:solidFill>
              </a:defRPr>
            </a:lvl8pPr>
            <a:lvl9pPr marL="1955800" indent="-177800">
              <a:lnSpc>
                <a:spcPct val="100000"/>
              </a:lnSpc>
              <a:spcBef>
                <a:spcPts val="0"/>
              </a:spcBef>
              <a:buFontTx/>
              <a:buChar char="-"/>
              <a:tabLst/>
              <a:defRPr sz="1400">
                <a:solidFill>
                  <a:schemeClr val="accent2"/>
                </a:solidFill>
              </a:defRPr>
            </a:lvl9pPr>
          </a:lstStyle>
          <a:p>
            <a:r>
              <a:rPr lang="en-GB"/>
              <a:t>Text level 1</a:t>
            </a:r>
          </a:p>
          <a:p>
            <a:pPr lvl="1"/>
            <a:r>
              <a:rPr lang="en-GB"/>
              <a:t>Text level 2</a:t>
            </a:r>
          </a:p>
          <a:p>
            <a:pPr lvl="2"/>
            <a:r>
              <a:rPr lang="en-GB"/>
              <a:t>Text level 3</a:t>
            </a:r>
          </a:p>
          <a:p>
            <a:pPr lvl="3"/>
            <a:r>
              <a:rPr lang="en-GB"/>
              <a:t>Text level 4</a:t>
            </a:r>
          </a:p>
          <a:p>
            <a:pPr lvl="4"/>
            <a:r>
              <a:rPr lang="en-GB"/>
              <a:t>Text level 5</a:t>
            </a:r>
          </a:p>
          <a:p>
            <a:pPr lvl="5"/>
            <a:r>
              <a:rPr lang="en-GB"/>
              <a:t>Text level 6</a:t>
            </a:r>
          </a:p>
          <a:p>
            <a:pPr lvl="6"/>
            <a:r>
              <a:rPr lang="en-GB"/>
              <a:t>Text level 7</a:t>
            </a:r>
          </a:p>
          <a:p>
            <a:pPr lvl="7"/>
            <a:r>
              <a:rPr lang="en-GB"/>
              <a:t>Text level 8</a:t>
            </a:r>
          </a:p>
          <a:p>
            <a:pPr lvl="8"/>
            <a:r>
              <a:rPr lang="en-GB"/>
              <a:t>Text level 9</a:t>
            </a:r>
          </a:p>
        </p:txBody>
      </p:sp>
      <p:sp>
        <p:nvSpPr>
          <p:cNvPr id="11" name="Titre 5">
            <a:extLst>
              <a:ext uri="{FF2B5EF4-FFF2-40B4-BE49-F238E27FC236}">
                <a16:creationId xmlns:a16="http://schemas.microsoft.com/office/drawing/2014/main" id="{452511EF-AE31-B34A-8C9E-8A017164E0F7}"/>
              </a:ext>
            </a:extLst>
          </p:cNvPr>
          <p:cNvSpPr>
            <a:spLocks noGrp="1"/>
          </p:cNvSpPr>
          <p:nvPr>
            <p:ph type="title" hasCustomPrompt="1"/>
          </p:nvPr>
        </p:nvSpPr>
        <p:spPr>
          <a:xfrm>
            <a:off x="238126" y="222251"/>
            <a:ext cx="10695600" cy="250826"/>
          </a:xfrm>
          <a:prstGeom prst="rect">
            <a:avLst/>
          </a:prstGeom>
        </p:spPr>
        <p:txBody>
          <a:bodyPr tIns="0" anchor="t" anchorCtr="0"/>
          <a:lstStyle>
            <a:lvl1pPr>
              <a:defRPr/>
            </a:lvl1pPr>
          </a:lstStyle>
          <a:p>
            <a:r>
              <a:rPr lang="en-GB"/>
              <a:t>Title</a:t>
            </a:r>
          </a:p>
        </p:txBody>
      </p:sp>
      <p:sp>
        <p:nvSpPr>
          <p:cNvPr id="2" name="Espace réservé du pied de page 1">
            <a:extLst>
              <a:ext uri="{FF2B5EF4-FFF2-40B4-BE49-F238E27FC236}">
                <a16:creationId xmlns:a16="http://schemas.microsoft.com/office/drawing/2014/main" id="{54053C18-C238-5A44-9180-283ACB1F8AA9}"/>
              </a:ext>
            </a:extLst>
          </p:cNvPr>
          <p:cNvSpPr>
            <a:spLocks noGrp="1"/>
          </p:cNvSpPr>
          <p:nvPr>
            <p:ph type="ftr" sz="quarter" idx="15"/>
          </p:nvPr>
        </p:nvSpPr>
        <p:spPr/>
        <p:txBody>
          <a:bodyPr/>
          <a:lstStyle/>
          <a:p>
            <a:r>
              <a:rPr lang="en-GB" sz="1000" smtClean="0"/>
              <a:t>Comptage en courant continu</a:t>
            </a:r>
            <a:endParaRPr lang="en-GB" sz="1000"/>
          </a:p>
        </p:txBody>
      </p:sp>
    </p:spTree>
    <p:extLst>
      <p:ext uri="{BB962C8B-B14F-4D97-AF65-F5344CB8AC3E}">
        <p14:creationId xmlns:p14="http://schemas.microsoft.com/office/powerpoint/2010/main" val="820052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 Colonn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r>
              <a:rPr lang="fr-FR" smtClean="0"/>
              <a:t>Diffusion restreinte - Avril 2024</a:t>
            </a:r>
            <a:endParaRPr lang="fr-FR"/>
          </a:p>
        </p:txBody>
      </p:sp>
      <p:sp>
        <p:nvSpPr>
          <p:cNvPr id="4" name="Espace réservé du pied de page 3"/>
          <p:cNvSpPr>
            <a:spLocks noGrp="1"/>
          </p:cNvSpPr>
          <p:nvPr>
            <p:ph type="ftr" sz="quarter" idx="11"/>
          </p:nvPr>
        </p:nvSpPr>
        <p:spPr/>
        <p:txBody>
          <a:bodyPr/>
          <a:lstStyle/>
          <a:p>
            <a:r>
              <a:rPr lang="fr-FR" smtClean="0"/>
              <a:t>Bilatérale Enedis - DGEC - Mobilité électrique</a:t>
            </a:r>
            <a:endParaRPr lang="fr-FR"/>
          </a:p>
        </p:txBody>
      </p:sp>
      <p:sp>
        <p:nvSpPr>
          <p:cNvPr id="5" name="Espace réservé du numéro de diapositive 4"/>
          <p:cNvSpPr>
            <a:spLocks noGrp="1"/>
          </p:cNvSpPr>
          <p:nvPr>
            <p:ph type="sldNum" sz="quarter" idx="12"/>
          </p:nvPr>
        </p:nvSpPr>
        <p:spPr/>
        <p:txBody>
          <a:bodyPr/>
          <a:lstStyle/>
          <a:p>
            <a:fld id="{6B54B0F7-55DD-40D6-B7F4-70B586885C0B}" type="slidenum">
              <a:rPr lang="fr-FR" smtClean="0"/>
              <a:pPr/>
              <a:t>‹N°›</a:t>
            </a:fld>
            <a:endParaRPr lang="fr-FR"/>
          </a:p>
        </p:txBody>
      </p:sp>
      <p:sp>
        <p:nvSpPr>
          <p:cNvPr id="7" name="Espace réservé du texte 6"/>
          <p:cNvSpPr>
            <a:spLocks noGrp="1"/>
          </p:cNvSpPr>
          <p:nvPr>
            <p:ph type="body" sz="quarter" idx="13"/>
          </p:nvPr>
        </p:nvSpPr>
        <p:spPr>
          <a:xfrm>
            <a:off x="359999" y="1008000"/>
            <a:ext cx="11520000" cy="5400000"/>
          </a:xfrm>
        </p:spPr>
        <p:txBody>
          <a:bodyPr/>
          <a:lstStyle/>
          <a:p>
            <a:pPr lvl="0"/>
            <a:r>
              <a:rPr lang="fr-FR" dirty="0" smtClean="0"/>
              <a:t>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108665708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r>
              <a:rPr lang="fr-FR" smtClean="0"/>
              <a:t>Diffusion restreinte - Avril 2024</a:t>
            </a:r>
            <a:endParaRPr lang="fr-FR"/>
          </a:p>
        </p:txBody>
      </p:sp>
      <p:sp>
        <p:nvSpPr>
          <p:cNvPr id="4" name="Espace réservé du pied de page 3"/>
          <p:cNvSpPr>
            <a:spLocks noGrp="1"/>
          </p:cNvSpPr>
          <p:nvPr>
            <p:ph type="ftr" sz="quarter" idx="11"/>
          </p:nvPr>
        </p:nvSpPr>
        <p:spPr/>
        <p:txBody>
          <a:bodyPr/>
          <a:lstStyle/>
          <a:p>
            <a:r>
              <a:rPr lang="fr-FR" smtClean="0"/>
              <a:t>Bilatérale Enedis - DGEC - Mobilité électrique</a:t>
            </a:r>
            <a:endParaRPr lang="fr-FR"/>
          </a:p>
        </p:txBody>
      </p:sp>
      <p:sp>
        <p:nvSpPr>
          <p:cNvPr id="5" name="Espace réservé du numéro de diapositive 4"/>
          <p:cNvSpPr>
            <a:spLocks noGrp="1"/>
          </p:cNvSpPr>
          <p:nvPr>
            <p:ph type="sldNum" sz="quarter" idx="12"/>
          </p:nvPr>
        </p:nvSpPr>
        <p:spPr/>
        <p:txBody>
          <a:bodyPr/>
          <a:lstStyle/>
          <a:p>
            <a:fld id="{6B54B0F7-55DD-40D6-B7F4-70B586885C0B}" type="slidenum">
              <a:rPr lang="fr-FR" smtClean="0"/>
              <a:pPr/>
              <a:t>‹N°›</a:t>
            </a:fld>
            <a:endParaRPr lang="fr-FR"/>
          </a:p>
        </p:txBody>
      </p:sp>
      <p:sp>
        <p:nvSpPr>
          <p:cNvPr id="7" name="Espace réservé du texte 6"/>
          <p:cNvSpPr>
            <a:spLocks noGrp="1"/>
          </p:cNvSpPr>
          <p:nvPr>
            <p:ph type="body" sz="quarter" idx="13"/>
          </p:nvPr>
        </p:nvSpPr>
        <p:spPr>
          <a:xfrm>
            <a:off x="359999" y="1008000"/>
            <a:ext cx="5580000" cy="5400000"/>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8" name="Espace réservé du texte 6"/>
          <p:cNvSpPr>
            <a:spLocks noGrp="1"/>
          </p:cNvSpPr>
          <p:nvPr>
            <p:ph type="body" sz="quarter" idx="14"/>
          </p:nvPr>
        </p:nvSpPr>
        <p:spPr>
          <a:xfrm>
            <a:off x="6300000" y="1008000"/>
            <a:ext cx="5580000" cy="5400000"/>
          </a:xfrm>
        </p:spPr>
        <p:txBody>
          <a:bodyPr/>
          <a:lstStyle/>
          <a:p>
            <a:pPr lvl="0"/>
            <a:r>
              <a:rPr lang="fr-FR" dirty="0" smtClean="0"/>
              <a:t>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Tree>
    <p:extLst>
      <p:ext uri="{BB962C8B-B14F-4D97-AF65-F5344CB8AC3E}">
        <p14:creationId xmlns:p14="http://schemas.microsoft.com/office/powerpoint/2010/main" val="406768200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oitiée bleue">
    <p:spTree>
      <p:nvGrpSpPr>
        <p:cNvPr id="1" name=""/>
        <p:cNvGrpSpPr/>
        <p:nvPr/>
      </p:nvGrpSpPr>
      <p:grpSpPr>
        <a:xfrm>
          <a:off x="0" y="0"/>
          <a:ext cx="0" cy="0"/>
          <a:chOff x="0" y="0"/>
          <a:chExt cx="0" cy="0"/>
        </a:xfrm>
      </p:grpSpPr>
      <p:sp>
        <p:nvSpPr>
          <p:cNvPr id="6" name="Rectangle 5"/>
          <p:cNvSpPr/>
          <p:nvPr userDrawn="1"/>
        </p:nvSpPr>
        <p:spPr>
          <a:xfrm>
            <a:off x="6088828" y="0"/>
            <a:ext cx="610317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bg1"/>
              </a:solidFill>
            </a:endParaRPr>
          </a:p>
        </p:txBody>
      </p:sp>
      <p:sp>
        <p:nvSpPr>
          <p:cNvPr id="3" name="Espace réservé de la date 2"/>
          <p:cNvSpPr>
            <a:spLocks noGrp="1"/>
          </p:cNvSpPr>
          <p:nvPr>
            <p:ph type="dt" sz="half" idx="10"/>
          </p:nvPr>
        </p:nvSpPr>
        <p:spPr/>
        <p:txBody>
          <a:bodyPr/>
          <a:lstStyle>
            <a:lvl1pPr>
              <a:defRPr>
                <a:solidFill>
                  <a:schemeClr val="bg1"/>
                </a:solidFill>
              </a:defRPr>
            </a:lvl1pPr>
          </a:lstStyle>
          <a:p>
            <a:r>
              <a:rPr lang="fr-FR" smtClean="0"/>
              <a:t>Diffusion restreinte - Avril 2024</a:t>
            </a:r>
            <a:endParaRPr lang="fr-FR"/>
          </a:p>
        </p:txBody>
      </p:sp>
      <p:sp>
        <p:nvSpPr>
          <p:cNvPr id="4" name="Espace réservé du pied de page 3"/>
          <p:cNvSpPr>
            <a:spLocks noGrp="1"/>
          </p:cNvSpPr>
          <p:nvPr>
            <p:ph type="ftr" sz="quarter" idx="11"/>
          </p:nvPr>
        </p:nvSpPr>
        <p:spPr>
          <a:xfrm>
            <a:off x="1080000" y="6588000"/>
            <a:ext cx="4860000" cy="216000"/>
          </a:xfrm>
        </p:spPr>
        <p:txBody>
          <a:bodyPr/>
          <a:lstStyle/>
          <a:p>
            <a:r>
              <a:rPr lang="fr-FR" smtClean="0"/>
              <a:t>Bilatérale Enedis - DGEC - Mobilité électrique</a:t>
            </a:r>
            <a:endParaRPr lang="fr-FR"/>
          </a:p>
        </p:txBody>
      </p:sp>
      <p:sp>
        <p:nvSpPr>
          <p:cNvPr id="5" name="Espace réservé du numéro de diapositive 4"/>
          <p:cNvSpPr>
            <a:spLocks noGrp="1"/>
          </p:cNvSpPr>
          <p:nvPr>
            <p:ph type="sldNum" sz="quarter" idx="12"/>
          </p:nvPr>
        </p:nvSpPr>
        <p:spPr/>
        <p:txBody>
          <a:bodyPr/>
          <a:lstStyle>
            <a:lvl1pPr>
              <a:defRPr>
                <a:solidFill>
                  <a:schemeClr val="bg1"/>
                </a:solidFill>
              </a:defRPr>
            </a:lvl1pPr>
          </a:lstStyle>
          <a:p>
            <a:fld id="{6B54B0F7-55DD-40D6-B7F4-70B586885C0B}" type="slidenum">
              <a:rPr lang="fr-FR" smtClean="0"/>
              <a:pPr/>
              <a:t>‹N°›</a:t>
            </a:fld>
            <a:endParaRPr lang="fr-FR"/>
          </a:p>
        </p:txBody>
      </p:sp>
      <p:sp>
        <p:nvSpPr>
          <p:cNvPr id="7" name="Espace réservé du texte 6"/>
          <p:cNvSpPr>
            <a:spLocks noGrp="1"/>
          </p:cNvSpPr>
          <p:nvPr>
            <p:ph type="body" sz="quarter" idx="13"/>
          </p:nvPr>
        </p:nvSpPr>
        <p:spPr>
          <a:xfrm>
            <a:off x="359999" y="1008000"/>
            <a:ext cx="5580000" cy="5400000"/>
          </a:xfrm>
        </p:spPr>
        <p:txBody>
          <a:bodyPr/>
          <a:lstStyle/>
          <a:p>
            <a:pPr lvl="0"/>
            <a:r>
              <a:rPr lang="fr-FR" dirty="0" smtClean="0"/>
              <a:t>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8" name="Espace réservé du texte 6"/>
          <p:cNvSpPr>
            <a:spLocks noGrp="1"/>
          </p:cNvSpPr>
          <p:nvPr>
            <p:ph type="body" sz="quarter" idx="14"/>
          </p:nvPr>
        </p:nvSpPr>
        <p:spPr>
          <a:xfrm>
            <a:off x="6300000" y="1008000"/>
            <a:ext cx="5580000" cy="540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smtClean="0"/>
              <a:t>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10" name="Espace réservé du texte 9"/>
          <p:cNvSpPr>
            <a:spLocks noGrp="1"/>
          </p:cNvSpPr>
          <p:nvPr>
            <p:ph type="body" sz="quarter" idx="15" hasCustomPrompt="1"/>
          </p:nvPr>
        </p:nvSpPr>
        <p:spPr>
          <a:xfrm>
            <a:off x="6313488" y="179387"/>
            <a:ext cx="5566511" cy="612000"/>
          </a:xfrm>
        </p:spPr>
        <p:txBody>
          <a:bodyPr tIns="36000" anchor="ctr"/>
          <a:lstStyle>
            <a:lvl1pPr>
              <a:defRPr sz="2800" b="0"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smtClean="0"/>
              <a:t>Cliquez pour ajouter un titre</a:t>
            </a:r>
            <a:endParaRPr lang="fr-FR" dirty="0"/>
          </a:p>
        </p:txBody>
      </p:sp>
      <p:sp>
        <p:nvSpPr>
          <p:cNvPr id="9" name="Titre 8"/>
          <p:cNvSpPr>
            <a:spLocks noGrp="1"/>
          </p:cNvSpPr>
          <p:nvPr>
            <p:ph type="title"/>
          </p:nvPr>
        </p:nvSpPr>
        <p:spPr>
          <a:xfrm>
            <a:off x="359999" y="180000"/>
            <a:ext cx="5580000" cy="612000"/>
          </a:xfrm>
        </p:spPr>
        <p:txBody>
          <a:bodyPr/>
          <a:lstStyle/>
          <a:p>
            <a:r>
              <a:rPr lang="fr-FR" smtClean="0"/>
              <a:t>Modifiez le style du titre</a:t>
            </a:r>
            <a:endParaRPr lang="fr-FR"/>
          </a:p>
        </p:txBody>
      </p:sp>
    </p:spTree>
    <p:extLst>
      <p:ext uri="{BB962C8B-B14F-4D97-AF65-F5344CB8AC3E}">
        <p14:creationId xmlns:p14="http://schemas.microsoft.com/office/powerpoint/2010/main" val="107087999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apositive N">
    <p:spTree>
      <p:nvGrpSpPr>
        <p:cNvPr id="1" name=""/>
        <p:cNvGrpSpPr/>
        <p:nvPr/>
      </p:nvGrpSpPr>
      <p:grpSpPr>
        <a:xfrm>
          <a:off x="0" y="0"/>
          <a:ext cx="0" cy="0"/>
          <a:chOff x="0" y="0"/>
          <a:chExt cx="0" cy="0"/>
        </a:xfrm>
      </p:grpSpPr>
      <p:sp>
        <p:nvSpPr>
          <p:cNvPr id="10" name="Espace réservé de la date 9">
            <a:extLst>
              <a:ext uri="{FF2B5EF4-FFF2-40B4-BE49-F238E27FC236}">
                <a16:creationId xmlns:a16="http://schemas.microsoft.com/office/drawing/2014/main" id="{506D7A77-3261-4789-90AF-4391ECC68EB7}"/>
              </a:ext>
            </a:extLst>
          </p:cNvPr>
          <p:cNvSpPr>
            <a:spLocks noGrp="1"/>
          </p:cNvSpPr>
          <p:nvPr>
            <p:ph type="dt" sz="half" idx="19"/>
          </p:nvPr>
        </p:nvSpPr>
        <p:spPr/>
        <p:txBody>
          <a:bodyPr/>
          <a:lstStyle>
            <a:lvl1pPr>
              <a:defRPr>
                <a:solidFill>
                  <a:schemeClr val="tx2"/>
                </a:solidFill>
              </a:defRPr>
            </a:lvl1pPr>
          </a:lstStyle>
          <a:p>
            <a:r>
              <a:rPr lang="fr-FR" smtClean="0"/>
              <a:t>25 mai 2022</a:t>
            </a:r>
            <a:endParaRPr lang="fr-FR"/>
          </a:p>
        </p:txBody>
      </p:sp>
      <p:sp>
        <p:nvSpPr>
          <p:cNvPr id="11" name="Espace réservé du pied de page 10">
            <a:extLst>
              <a:ext uri="{FF2B5EF4-FFF2-40B4-BE49-F238E27FC236}">
                <a16:creationId xmlns:a16="http://schemas.microsoft.com/office/drawing/2014/main" id="{05070C08-0C4F-480C-A4AD-38AC3DBE4AC8}"/>
              </a:ext>
            </a:extLst>
          </p:cNvPr>
          <p:cNvSpPr>
            <a:spLocks noGrp="1"/>
          </p:cNvSpPr>
          <p:nvPr>
            <p:ph type="ftr" sz="quarter" idx="20"/>
          </p:nvPr>
        </p:nvSpPr>
        <p:spPr>
          <a:xfrm>
            <a:off x="1626384" y="6469013"/>
            <a:ext cx="4812515" cy="226714"/>
          </a:xfrm>
          <a:prstGeom prst="rect">
            <a:avLst/>
          </a:prstGeom>
        </p:spPr>
        <p:txBody>
          <a:bodyPr/>
          <a:lstStyle/>
          <a:p>
            <a:r>
              <a:rPr lang="fr-FR" smtClean="0"/>
              <a:t>Stratégie Mobilité Electrique Enedis</a:t>
            </a:r>
            <a:endParaRPr lang="fr-FR"/>
          </a:p>
        </p:txBody>
      </p:sp>
      <p:sp>
        <p:nvSpPr>
          <p:cNvPr id="12" name="Espace réservé du numéro de diapositive 11">
            <a:extLst>
              <a:ext uri="{FF2B5EF4-FFF2-40B4-BE49-F238E27FC236}">
                <a16:creationId xmlns:a16="http://schemas.microsoft.com/office/drawing/2014/main" id="{A20B3F73-B7A3-4D47-82E4-C5AA9E80D66F}"/>
              </a:ext>
            </a:extLst>
          </p:cNvPr>
          <p:cNvSpPr>
            <a:spLocks noGrp="1"/>
          </p:cNvSpPr>
          <p:nvPr>
            <p:ph type="sldNum" sz="quarter" idx="21"/>
          </p:nvPr>
        </p:nvSpPr>
        <p:spPr/>
        <p:txBody>
          <a:bodyPr/>
          <a:lstStyle>
            <a:lvl1pPr>
              <a:defRPr>
                <a:solidFill>
                  <a:schemeClr val="tx2"/>
                </a:solidFill>
              </a:defRPr>
            </a:lvl1pPr>
          </a:lstStyle>
          <a:p>
            <a:fld id="{6B54B0F7-55DD-40D6-B7F4-70B586885C0B}" type="slidenum">
              <a:rPr lang="fr-FR" smtClean="0"/>
              <a:pPr/>
              <a:t>‹N°›</a:t>
            </a:fld>
            <a:endParaRPr lang="fr-FR"/>
          </a:p>
        </p:txBody>
      </p:sp>
      <p:sp>
        <p:nvSpPr>
          <p:cNvPr id="16" name="Titre 8">
            <a:extLst>
              <a:ext uri="{FF2B5EF4-FFF2-40B4-BE49-F238E27FC236}">
                <a16:creationId xmlns:a16="http://schemas.microsoft.com/office/drawing/2014/main" id="{EC6C1856-89A9-40CF-B4C0-D16A188E2C62}"/>
              </a:ext>
            </a:extLst>
          </p:cNvPr>
          <p:cNvSpPr>
            <a:spLocks noGrp="1"/>
          </p:cNvSpPr>
          <p:nvPr>
            <p:ph type="title" hasCustomPrompt="1"/>
          </p:nvPr>
        </p:nvSpPr>
        <p:spPr>
          <a:xfrm>
            <a:off x="493391" y="488357"/>
            <a:ext cx="11175540" cy="891911"/>
          </a:xfrm>
        </p:spPr>
        <p:txBody>
          <a:bodyPr/>
          <a:lstStyle>
            <a:lvl1pPr>
              <a:lnSpc>
                <a:spcPct val="84000"/>
              </a:lnSpc>
              <a:defRPr sz="3450"/>
            </a:lvl1pPr>
          </a:lstStyle>
          <a:p>
            <a:r>
              <a:rPr lang="fr-FR"/>
              <a:t>Lorem ipsum </a:t>
            </a:r>
            <a:r>
              <a:rPr lang="fr-FR" err="1"/>
              <a:t>dolor</a:t>
            </a:r>
            <a:r>
              <a:rPr lang="fr-FR"/>
              <a:t> </a:t>
            </a:r>
            <a:r>
              <a:rPr lang="fr-FR" err="1"/>
              <a:t>sit</a:t>
            </a:r>
            <a:r>
              <a:rPr lang="fr-FR"/>
              <a:t> </a:t>
            </a:r>
            <a:r>
              <a:rPr lang="fr-FR" err="1"/>
              <a:t>amet</a:t>
            </a:r>
            <a:r>
              <a:rPr lang="fr-FR"/>
              <a:t>, </a:t>
            </a:r>
            <a:r>
              <a:rPr lang="fr-FR" err="1"/>
              <a:t>consectetuer</a:t>
            </a:r>
            <a:r>
              <a:rPr lang="fr-FR"/>
              <a:t/>
            </a:r>
            <a:br>
              <a:rPr lang="fr-FR"/>
            </a:br>
            <a:r>
              <a:rPr lang="fr-FR" err="1"/>
              <a:t>adipiscing</a:t>
            </a:r>
            <a:r>
              <a:rPr lang="fr-FR"/>
              <a:t> </a:t>
            </a:r>
            <a:r>
              <a:rPr lang="fr-FR" err="1"/>
              <a:t>elit</a:t>
            </a:r>
            <a:r>
              <a:rPr lang="fr-FR"/>
              <a:t>, </a:t>
            </a:r>
            <a:r>
              <a:rPr lang="fr-FR" err="1"/>
              <a:t>sed</a:t>
            </a:r>
            <a:r>
              <a:rPr lang="fr-FR"/>
              <a:t> diam </a:t>
            </a:r>
            <a:r>
              <a:rPr lang="fr-FR" err="1"/>
              <a:t>nonummy</a:t>
            </a:r>
            <a:r>
              <a:rPr lang="fr-FR"/>
              <a:t> </a:t>
            </a:r>
            <a:r>
              <a:rPr lang="fr-FR" err="1"/>
              <a:t>nibh</a:t>
            </a:r>
            <a:r>
              <a:rPr lang="fr-FR"/>
              <a:t> </a:t>
            </a:r>
            <a:r>
              <a:rPr lang="fr-FR" err="1"/>
              <a:t>euismod</a:t>
            </a:r>
            <a:endParaRPr lang="fr-FR"/>
          </a:p>
        </p:txBody>
      </p:sp>
      <p:sp>
        <p:nvSpPr>
          <p:cNvPr id="18" name="Espace réservé du texte 12">
            <a:extLst>
              <a:ext uri="{FF2B5EF4-FFF2-40B4-BE49-F238E27FC236}">
                <a16:creationId xmlns:a16="http://schemas.microsoft.com/office/drawing/2014/main" id="{DCE6F3B6-60EE-44F2-BA84-2C199F1096D5}"/>
              </a:ext>
            </a:extLst>
          </p:cNvPr>
          <p:cNvSpPr>
            <a:spLocks noGrp="1"/>
          </p:cNvSpPr>
          <p:nvPr>
            <p:ph type="body" sz="quarter" idx="18" hasCustomPrompt="1"/>
          </p:nvPr>
        </p:nvSpPr>
        <p:spPr>
          <a:xfrm>
            <a:off x="735317" y="4335383"/>
            <a:ext cx="3095090" cy="401648"/>
          </a:xfrm>
        </p:spPr>
        <p:txBody>
          <a:bodyPr/>
          <a:lstStyle>
            <a:lvl1pPr algn="ctr">
              <a:defRPr/>
            </a:lvl1pPr>
            <a:lvl2pPr algn="ctr">
              <a:spcAft>
                <a:spcPts val="600"/>
              </a:spcAft>
              <a:buNone/>
              <a:defRPr lang="fr-FR" sz="1700" kern="1200" dirty="0">
                <a:solidFill>
                  <a:schemeClr val="tx2"/>
                </a:solidFill>
                <a:latin typeface="+mj-lt"/>
                <a:ea typeface="+mn-ea"/>
                <a:cs typeface="+mn-cs"/>
              </a:defRPr>
            </a:lvl2pPr>
            <a:lvl5pPr>
              <a:defRPr/>
            </a:lvl5pPr>
          </a:lstStyle>
          <a:p>
            <a:pPr lvl="0"/>
            <a:r>
              <a:rPr lang="fr-FR" dirty="0"/>
              <a:t>Lorem ipsum </a:t>
            </a:r>
            <a:r>
              <a:rPr lang="fr-FR" dirty="0" err="1"/>
              <a:t>dolor</a:t>
            </a:r>
            <a:r>
              <a:rPr lang="fr-FR" dirty="0"/>
              <a:t> </a:t>
            </a:r>
            <a:r>
              <a:rPr lang="fr-FR" dirty="0" err="1"/>
              <a:t>sit</a:t>
            </a:r>
            <a:r>
              <a:rPr lang="fr-FR" dirty="0"/>
              <a:t> </a:t>
            </a:r>
            <a:r>
              <a:rPr lang="fr-FR" dirty="0" err="1"/>
              <a:t>amet</a:t>
            </a:r>
            <a:endParaRPr lang="fr-FR" dirty="0"/>
          </a:p>
          <a:p>
            <a:pPr lvl="1"/>
            <a:r>
              <a:rPr lang="fr-FR" dirty="0"/>
              <a:t>Lorem ipsum </a:t>
            </a:r>
            <a:r>
              <a:rPr lang="fr-FR" dirty="0" err="1"/>
              <a:t>dolor</a:t>
            </a:r>
            <a:endParaRPr lang="fr-FR" dirty="0"/>
          </a:p>
        </p:txBody>
      </p:sp>
      <p:sp>
        <p:nvSpPr>
          <p:cNvPr id="19" name="Espace réservé du texte 12">
            <a:extLst>
              <a:ext uri="{FF2B5EF4-FFF2-40B4-BE49-F238E27FC236}">
                <a16:creationId xmlns:a16="http://schemas.microsoft.com/office/drawing/2014/main" id="{E90E33E1-0062-466D-BE7B-A10AECB0F08B}"/>
              </a:ext>
            </a:extLst>
          </p:cNvPr>
          <p:cNvSpPr>
            <a:spLocks noGrp="1"/>
          </p:cNvSpPr>
          <p:nvPr>
            <p:ph type="body" sz="quarter" idx="23" hasCustomPrompt="1"/>
          </p:nvPr>
        </p:nvSpPr>
        <p:spPr>
          <a:xfrm>
            <a:off x="4548455" y="4335383"/>
            <a:ext cx="3095090" cy="401648"/>
          </a:xfrm>
        </p:spPr>
        <p:txBody>
          <a:bodyPr/>
          <a:lstStyle>
            <a:lvl1pPr algn="ctr">
              <a:defRPr/>
            </a:lvl1pPr>
            <a:lvl2pPr algn="ctr">
              <a:spcAft>
                <a:spcPts val="600"/>
              </a:spcAft>
              <a:buNone/>
              <a:defRPr lang="fr-FR" sz="1700" kern="1200" dirty="0">
                <a:solidFill>
                  <a:schemeClr val="tx2"/>
                </a:solidFill>
                <a:latin typeface="+mj-lt"/>
                <a:ea typeface="+mn-ea"/>
                <a:cs typeface="+mn-cs"/>
              </a:defRPr>
            </a:lvl2pPr>
            <a:lvl5pPr>
              <a:defRPr/>
            </a:lvl5pPr>
          </a:lstStyle>
          <a:p>
            <a:pPr lvl="0"/>
            <a:r>
              <a:rPr lang="fr-FR" dirty="0"/>
              <a:t>Lorem ipsum </a:t>
            </a:r>
            <a:r>
              <a:rPr lang="fr-FR" dirty="0" err="1"/>
              <a:t>dolor</a:t>
            </a:r>
            <a:r>
              <a:rPr lang="fr-FR" dirty="0"/>
              <a:t> </a:t>
            </a:r>
            <a:r>
              <a:rPr lang="fr-FR" dirty="0" err="1"/>
              <a:t>sit</a:t>
            </a:r>
            <a:r>
              <a:rPr lang="fr-FR" dirty="0"/>
              <a:t> </a:t>
            </a:r>
            <a:r>
              <a:rPr lang="fr-FR" dirty="0" err="1"/>
              <a:t>amet</a:t>
            </a:r>
            <a:endParaRPr lang="fr-FR" dirty="0"/>
          </a:p>
          <a:p>
            <a:pPr lvl="1"/>
            <a:r>
              <a:rPr lang="fr-FR" dirty="0"/>
              <a:t>Lorem ipsum </a:t>
            </a:r>
            <a:r>
              <a:rPr lang="fr-FR" dirty="0" err="1"/>
              <a:t>dolor</a:t>
            </a:r>
            <a:endParaRPr lang="fr-FR" dirty="0"/>
          </a:p>
        </p:txBody>
      </p:sp>
      <p:sp>
        <p:nvSpPr>
          <p:cNvPr id="20" name="Espace réservé du texte 12">
            <a:extLst>
              <a:ext uri="{FF2B5EF4-FFF2-40B4-BE49-F238E27FC236}">
                <a16:creationId xmlns:a16="http://schemas.microsoft.com/office/drawing/2014/main" id="{9ABC139D-3F91-429F-9C45-453EE04110F1}"/>
              </a:ext>
            </a:extLst>
          </p:cNvPr>
          <p:cNvSpPr>
            <a:spLocks noGrp="1"/>
          </p:cNvSpPr>
          <p:nvPr>
            <p:ph type="body" sz="quarter" idx="24" hasCustomPrompt="1"/>
          </p:nvPr>
        </p:nvSpPr>
        <p:spPr>
          <a:xfrm>
            <a:off x="8352668" y="4335383"/>
            <a:ext cx="3095090" cy="401648"/>
          </a:xfrm>
        </p:spPr>
        <p:txBody>
          <a:bodyPr/>
          <a:lstStyle>
            <a:lvl1pPr algn="ctr">
              <a:defRPr/>
            </a:lvl1pPr>
            <a:lvl2pPr algn="ctr">
              <a:spcAft>
                <a:spcPts val="600"/>
              </a:spcAft>
              <a:buNone/>
              <a:defRPr lang="fr-FR" sz="1700" kern="1200" dirty="0">
                <a:solidFill>
                  <a:schemeClr val="tx2"/>
                </a:solidFill>
                <a:latin typeface="+mj-lt"/>
                <a:ea typeface="+mn-ea"/>
                <a:cs typeface="+mn-cs"/>
              </a:defRPr>
            </a:lvl2pPr>
            <a:lvl5pPr>
              <a:defRPr/>
            </a:lvl5pPr>
          </a:lstStyle>
          <a:p>
            <a:pPr lvl="0"/>
            <a:r>
              <a:rPr lang="fr-FR" dirty="0"/>
              <a:t>Lorem ipsum </a:t>
            </a:r>
            <a:r>
              <a:rPr lang="fr-FR" dirty="0" err="1"/>
              <a:t>dolor</a:t>
            </a:r>
            <a:r>
              <a:rPr lang="fr-FR" dirty="0"/>
              <a:t> </a:t>
            </a:r>
            <a:r>
              <a:rPr lang="fr-FR" dirty="0" err="1"/>
              <a:t>sit</a:t>
            </a:r>
            <a:r>
              <a:rPr lang="fr-FR" dirty="0"/>
              <a:t> </a:t>
            </a:r>
            <a:r>
              <a:rPr lang="fr-FR" dirty="0" err="1"/>
              <a:t>amet</a:t>
            </a:r>
            <a:endParaRPr lang="fr-FR" dirty="0"/>
          </a:p>
          <a:p>
            <a:pPr lvl="1"/>
            <a:r>
              <a:rPr lang="fr-FR" dirty="0"/>
              <a:t>Lorem ipsum </a:t>
            </a:r>
            <a:r>
              <a:rPr lang="fr-FR" dirty="0" err="1"/>
              <a:t>dolor</a:t>
            </a:r>
            <a:endParaRPr lang="fr-FR" dirty="0"/>
          </a:p>
        </p:txBody>
      </p:sp>
      <p:sp>
        <p:nvSpPr>
          <p:cNvPr id="13" name="Espace réservé pour une image  9">
            <a:extLst>
              <a:ext uri="{FF2B5EF4-FFF2-40B4-BE49-F238E27FC236}">
                <a16:creationId xmlns:a16="http://schemas.microsoft.com/office/drawing/2014/main" id="{D477D808-AC77-4B40-8AE2-7D345B62B029}"/>
              </a:ext>
            </a:extLst>
          </p:cNvPr>
          <p:cNvSpPr>
            <a:spLocks noGrp="1"/>
          </p:cNvSpPr>
          <p:nvPr>
            <p:ph type="pic" sz="quarter" idx="17"/>
          </p:nvPr>
        </p:nvSpPr>
        <p:spPr>
          <a:xfrm>
            <a:off x="527124" y="1820022"/>
            <a:ext cx="3511476" cy="2353088"/>
          </a:xfrm>
        </p:spPr>
        <p:txBody>
          <a:bodyPr>
            <a:noAutofit/>
          </a:bodyPr>
          <a:lstStyle>
            <a:lvl1pPr>
              <a:defRPr>
                <a:noFill/>
              </a:defRPr>
            </a:lvl1pPr>
          </a:lstStyle>
          <a:p>
            <a:endParaRPr lang="fr-FR"/>
          </a:p>
        </p:txBody>
      </p:sp>
      <p:sp>
        <p:nvSpPr>
          <p:cNvPr id="14" name="Espace réservé pour une image  9">
            <a:extLst>
              <a:ext uri="{FF2B5EF4-FFF2-40B4-BE49-F238E27FC236}">
                <a16:creationId xmlns:a16="http://schemas.microsoft.com/office/drawing/2014/main" id="{12200753-697D-48D4-A664-F86D69A9FBC7}"/>
              </a:ext>
            </a:extLst>
          </p:cNvPr>
          <p:cNvSpPr>
            <a:spLocks noGrp="1"/>
          </p:cNvSpPr>
          <p:nvPr>
            <p:ph type="pic" sz="quarter" idx="25"/>
          </p:nvPr>
        </p:nvSpPr>
        <p:spPr>
          <a:xfrm>
            <a:off x="4340263" y="1820022"/>
            <a:ext cx="3511476" cy="2353088"/>
          </a:xfrm>
        </p:spPr>
        <p:txBody>
          <a:bodyPr>
            <a:noAutofit/>
          </a:bodyPr>
          <a:lstStyle>
            <a:lvl1pPr>
              <a:defRPr>
                <a:noFill/>
              </a:defRPr>
            </a:lvl1pPr>
          </a:lstStyle>
          <a:p>
            <a:endParaRPr lang="fr-FR"/>
          </a:p>
        </p:txBody>
      </p:sp>
      <p:sp>
        <p:nvSpPr>
          <p:cNvPr id="15" name="Espace réservé pour une image  9">
            <a:extLst>
              <a:ext uri="{FF2B5EF4-FFF2-40B4-BE49-F238E27FC236}">
                <a16:creationId xmlns:a16="http://schemas.microsoft.com/office/drawing/2014/main" id="{676CA5FC-4D09-4E04-8CE2-9C8A6432B1DA}"/>
              </a:ext>
            </a:extLst>
          </p:cNvPr>
          <p:cNvSpPr>
            <a:spLocks noGrp="1"/>
          </p:cNvSpPr>
          <p:nvPr>
            <p:ph type="pic" sz="quarter" idx="26"/>
          </p:nvPr>
        </p:nvSpPr>
        <p:spPr>
          <a:xfrm>
            <a:off x="8153402" y="1820022"/>
            <a:ext cx="3511476" cy="2353088"/>
          </a:xfrm>
        </p:spPr>
        <p:txBody>
          <a:bodyPr>
            <a:noAutofit/>
          </a:bodyPr>
          <a:lstStyle>
            <a:lvl1pPr>
              <a:defRPr>
                <a:noFill/>
              </a:defRPr>
            </a:lvl1pPr>
          </a:lstStyle>
          <a:p>
            <a:endParaRPr lang="fr-FR"/>
          </a:p>
        </p:txBody>
      </p:sp>
    </p:spTree>
    <p:extLst>
      <p:ext uri="{BB962C8B-B14F-4D97-AF65-F5344CB8AC3E}">
        <p14:creationId xmlns:p14="http://schemas.microsoft.com/office/powerpoint/2010/main" val="2383806609"/>
      </p:ext>
    </p:extLst>
  </p:cSld>
  <p:clrMapOvr>
    <a:masterClrMapping/>
  </p:clrMapOvr>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ers bleu droite">
    <p:spTree>
      <p:nvGrpSpPr>
        <p:cNvPr id="1" name=""/>
        <p:cNvGrpSpPr/>
        <p:nvPr/>
      </p:nvGrpSpPr>
      <p:grpSpPr>
        <a:xfrm>
          <a:off x="0" y="0"/>
          <a:ext cx="0" cy="0"/>
          <a:chOff x="0" y="0"/>
          <a:chExt cx="0" cy="0"/>
        </a:xfrm>
      </p:grpSpPr>
      <p:sp>
        <p:nvSpPr>
          <p:cNvPr id="6" name="Rectangle 5"/>
          <p:cNvSpPr/>
          <p:nvPr userDrawn="1"/>
        </p:nvSpPr>
        <p:spPr>
          <a:xfrm>
            <a:off x="8124000" y="0"/>
            <a:ext cx="4068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bg1"/>
              </a:solidFill>
            </a:endParaRPr>
          </a:p>
        </p:txBody>
      </p:sp>
      <p:sp>
        <p:nvSpPr>
          <p:cNvPr id="3" name="Espace réservé de la date 2"/>
          <p:cNvSpPr>
            <a:spLocks noGrp="1"/>
          </p:cNvSpPr>
          <p:nvPr>
            <p:ph type="dt" sz="half" idx="10"/>
          </p:nvPr>
        </p:nvSpPr>
        <p:spPr>
          <a:xfrm>
            <a:off x="8280000" y="6588000"/>
            <a:ext cx="3060000" cy="216000"/>
          </a:xfrm>
        </p:spPr>
        <p:txBody>
          <a:bodyPr/>
          <a:lstStyle>
            <a:lvl1pPr>
              <a:defRPr>
                <a:solidFill>
                  <a:schemeClr val="bg1"/>
                </a:solidFill>
              </a:defRPr>
            </a:lvl1pPr>
          </a:lstStyle>
          <a:p>
            <a:r>
              <a:rPr lang="fr-FR" smtClean="0"/>
              <a:t>Diffusion restreinte - Avril 2024</a:t>
            </a:r>
            <a:endParaRPr lang="fr-FR"/>
          </a:p>
        </p:txBody>
      </p:sp>
      <p:sp>
        <p:nvSpPr>
          <p:cNvPr id="4" name="Espace réservé du pied de page 3"/>
          <p:cNvSpPr>
            <a:spLocks noGrp="1"/>
          </p:cNvSpPr>
          <p:nvPr>
            <p:ph type="ftr" sz="quarter" idx="11"/>
          </p:nvPr>
        </p:nvSpPr>
        <p:spPr/>
        <p:txBody>
          <a:bodyPr/>
          <a:lstStyle/>
          <a:p>
            <a:r>
              <a:rPr lang="fr-FR" smtClean="0"/>
              <a:t>Bilatérale Enedis - DGEC - Mobilité électrique</a:t>
            </a:r>
            <a:endParaRPr lang="fr-FR"/>
          </a:p>
        </p:txBody>
      </p:sp>
      <p:sp>
        <p:nvSpPr>
          <p:cNvPr id="5" name="Espace réservé du numéro de diapositive 4"/>
          <p:cNvSpPr>
            <a:spLocks noGrp="1"/>
          </p:cNvSpPr>
          <p:nvPr>
            <p:ph type="sldNum" sz="quarter" idx="12"/>
          </p:nvPr>
        </p:nvSpPr>
        <p:spPr/>
        <p:txBody>
          <a:bodyPr/>
          <a:lstStyle>
            <a:lvl1pPr>
              <a:defRPr>
                <a:solidFill>
                  <a:schemeClr val="bg1"/>
                </a:solidFill>
              </a:defRPr>
            </a:lvl1pPr>
          </a:lstStyle>
          <a:p>
            <a:fld id="{6B54B0F7-55DD-40D6-B7F4-70B586885C0B}" type="slidenum">
              <a:rPr lang="fr-FR" smtClean="0"/>
              <a:pPr/>
              <a:t>‹N°›</a:t>
            </a:fld>
            <a:endParaRPr lang="fr-FR"/>
          </a:p>
        </p:txBody>
      </p:sp>
      <p:sp>
        <p:nvSpPr>
          <p:cNvPr id="8" name="Espace réservé du contenu 7"/>
          <p:cNvSpPr>
            <a:spLocks noGrp="1"/>
          </p:cNvSpPr>
          <p:nvPr>
            <p:ph sz="quarter" idx="13"/>
          </p:nvPr>
        </p:nvSpPr>
        <p:spPr>
          <a:xfrm>
            <a:off x="360363" y="1008000"/>
            <a:ext cx="7560000" cy="5400000"/>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10" name="Espace réservé du contenu 9"/>
          <p:cNvSpPr>
            <a:spLocks noGrp="1"/>
          </p:cNvSpPr>
          <p:nvPr>
            <p:ph sz="quarter" idx="14"/>
          </p:nvPr>
        </p:nvSpPr>
        <p:spPr>
          <a:xfrm>
            <a:off x="8280000" y="180000"/>
            <a:ext cx="3780000" cy="622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smtClean="0"/>
              <a:t>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7" name="Titre 6"/>
          <p:cNvSpPr>
            <a:spLocks noGrp="1"/>
          </p:cNvSpPr>
          <p:nvPr>
            <p:ph type="title"/>
          </p:nvPr>
        </p:nvSpPr>
        <p:spPr>
          <a:xfrm>
            <a:off x="359999" y="180000"/>
            <a:ext cx="7560000" cy="612000"/>
          </a:xfrm>
        </p:spPr>
        <p:txBody>
          <a:bodyPr/>
          <a:lstStyle/>
          <a:p>
            <a:r>
              <a:rPr lang="fr-FR" smtClean="0"/>
              <a:t>Modifiez le style du titre</a:t>
            </a:r>
            <a:endParaRPr lang="fr-FR"/>
          </a:p>
        </p:txBody>
      </p:sp>
    </p:spTree>
    <p:extLst>
      <p:ext uri="{BB962C8B-B14F-4D97-AF65-F5344CB8AC3E}">
        <p14:creationId xmlns:p14="http://schemas.microsoft.com/office/powerpoint/2010/main" val="2041485864"/>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ers bleu gauche">
    <p:spTree>
      <p:nvGrpSpPr>
        <p:cNvPr id="1" name=""/>
        <p:cNvGrpSpPr/>
        <p:nvPr/>
      </p:nvGrpSpPr>
      <p:grpSpPr>
        <a:xfrm>
          <a:off x="0" y="0"/>
          <a:ext cx="0" cy="0"/>
          <a:chOff x="0" y="0"/>
          <a:chExt cx="0" cy="0"/>
        </a:xfrm>
      </p:grpSpPr>
      <p:sp>
        <p:nvSpPr>
          <p:cNvPr id="6" name="Rectangle 5"/>
          <p:cNvSpPr/>
          <p:nvPr userDrawn="1"/>
        </p:nvSpPr>
        <p:spPr>
          <a:xfrm>
            <a:off x="-2" y="0"/>
            <a:ext cx="4068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chemeClr val="bg1"/>
              </a:solidFill>
            </a:endParaRPr>
          </a:p>
        </p:txBody>
      </p:sp>
      <p:sp>
        <p:nvSpPr>
          <p:cNvPr id="3" name="Espace réservé de la date 2"/>
          <p:cNvSpPr>
            <a:spLocks noGrp="1"/>
          </p:cNvSpPr>
          <p:nvPr>
            <p:ph type="dt" sz="half" idx="10"/>
          </p:nvPr>
        </p:nvSpPr>
        <p:spPr>
          <a:xfrm>
            <a:off x="8280000" y="6588000"/>
            <a:ext cx="3060000" cy="216000"/>
          </a:xfrm>
        </p:spPr>
        <p:txBody>
          <a:bodyPr/>
          <a:lstStyle>
            <a:lvl1pPr>
              <a:defRPr>
                <a:solidFill>
                  <a:schemeClr val="tx1">
                    <a:lumMod val="75000"/>
                    <a:lumOff val="25000"/>
                  </a:schemeClr>
                </a:solidFill>
              </a:defRPr>
            </a:lvl1pPr>
          </a:lstStyle>
          <a:p>
            <a:r>
              <a:rPr lang="fr-FR" smtClean="0"/>
              <a:t>Diffusion restreinte - Avril 2024</a:t>
            </a:r>
            <a:endParaRPr lang="fr-FR"/>
          </a:p>
        </p:txBody>
      </p:sp>
      <p:sp>
        <p:nvSpPr>
          <p:cNvPr id="4" name="Espace réservé du pied de page 3"/>
          <p:cNvSpPr>
            <a:spLocks noGrp="1"/>
          </p:cNvSpPr>
          <p:nvPr>
            <p:ph type="ftr" sz="quarter" idx="11"/>
          </p:nvPr>
        </p:nvSpPr>
        <p:spPr>
          <a:xfrm>
            <a:off x="1080000" y="6588000"/>
            <a:ext cx="2987998" cy="216000"/>
          </a:xfrm>
        </p:spPr>
        <p:txBody>
          <a:bodyPr/>
          <a:lstStyle>
            <a:lvl1pPr>
              <a:defRPr>
                <a:solidFill>
                  <a:schemeClr val="bg1"/>
                </a:solidFill>
              </a:defRPr>
            </a:lvl1pPr>
          </a:lstStyle>
          <a:p>
            <a:r>
              <a:rPr lang="fr-FR" smtClean="0"/>
              <a:t>Bilatérale Enedis - DGEC - Mobilité électrique</a:t>
            </a:r>
            <a:endParaRPr lang="fr-FR"/>
          </a:p>
        </p:txBody>
      </p:sp>
      <p:sp>
        <p:nvSpPr>
          <p:cNvPr id="5" name="Espace réservé du numéro de diapositive 4"/>
          <p:cNvSpPr>
            <a:spLocks noGrp="1"/>
          </p:cNvSpPr>
          <p:nvPr>
            <p:ph type="sldNum" sz="quarter" idx="12"/>
          </p:nvPr>
        </p:nvSpPr>
        <p:spPr/>
        <p:txBody>
          <a:bodyPr/>
          <a:lstStyle>
            <a:lvl1pPr>
              <a:defRPr>
                <a:solidFill>
                  <a:schemeClr val="tx1">
                    <a:lumMod val="75000"/>
                    <a:lumOff val="25000"/>
                  </a:schemeClr>
                </a:solidFill>
              </a:defRPr>
            </a:lvl1pPr>
          </a:lstStyle>
          <a:p>
            <a:fld id="{6B54B0F7-55DD-40D6-B7F4-70B586885C0B}" type="slidenum">
              <a:rPr lang="fr-FR" smtClean="0"/>
              <a:pPr/>
              <a:t>‹N°›</a:t>
            </a:fld>
            <a:endParaRPr lang="fr-FR"/>
          </a:p>
        </p:txBody>
      </p:sp>
      <p:sp>
        <p:nvSpPr>
          <p:cNvPr id="8" name="Espace réservé du contenu 7"/>
          <p:cNvSpPr>
            <a:spLocks noGrp="1"/>
          </p:cNvSpPr>
          <p:nvPr>
            <p:ph sz="quarter" idx="13"/>
          </p:nvPr>
        </p:nvSpPr>
        <p:spPr>
          <a:xfrm>
            <a:off x="4212000" y="1008000"/>
            <a:ext cx="7740000" cy="5400000"/>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10" name="Espace réservé du contenu 9"/>
          <p:cNvSpPr>
            <a:spLocks noGrp="1"/>
          </p:cNvSpPr>
          <p:nvPr>
            <p:ph sz="quarter" idx="14"/>
          </p:nvPr>
        </p:nvSpPr>
        <p:spPr>
          <a:xfrm>
            <a:off x="144000" y="180000"/>
            <a:ext cx="3780000" cy="622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smtClean="0"/>
              <a:t>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grpSp>
        <p:nvGrpSpPr>
          <p:cNvPr id="9" name="Groupe 8">
            <a:extLst>
              <a:ext uri="{FF2B5EF4-FFF2-40B4-BE49-F238E27FC236}">
                <a16:creationId xmlns:a16="http://schemas.microsoft.com/office/drawing/2014/main" id="{F4FAAC4F-29CC-4144-9856-71A8E253354B}"/>
              </a:ext>
            </a:extLst>
          </p:cNvPr>
          <p:cNvGrpSpPr>
            <a:grpSpLocks noChangeAspect="1"/>
          </p:cNvGrpSpPr>
          <p:nvPr userDrawn="1"/>
        </p:nvGrpSpPr>
        <p:grpSpPr>
          <a:xfrm>
            <a:off x="144000" y="6587999"/>
            <a:ext cx="767567" cy="155112"/>
            <a:chOff x="3231832" y="7185063"/>
            <a:chExt cx="5132298" cy="1037158"/>
          </a:xfrm>
        </p:grpSpPr>
        <p:sp>
          <p:nvSpPr>
            <p:cNvPr id="11" name="Forme libre : forme 17">
              <a:extLst>
                <a:ext uri="{FF2B5EF4-FFF2-40B4-BE49-F238E27FC236}">
                  <a16:creationId xmlns:a16="http://schemas.microsoft.com/office/drawing/2014/main" id="{A97AA9B0-92D5-4733-A3B8-64339C545124}"/>
                </a:ext>
              </a:extLst>
            </p:cNvPr>
            <p:cNvSpPr/>
            <p:nvPr/>
          </p:nvSpPr>
          <p:spPr>
            <a:xfrm>
              <a:off x="5071966" y="7185101"/>
              <a:ext cx="1117644" cy="1037120"/>
            </a:xfrm>
            <a:custGeom>
              <a:avLst/>
              <a:gdLst>
                <a:gd name="connsiteX0" fmla="*/ 519115 w 1117644"/>
                <a:gd name="connsiteY0" fmla="*/ 848219 h 1037120"/>
                <a:gd name="connsiteX1" fmla="*/ 324919 w 1117644"/>
                <a:gd name="connsiteY1" fmla="*/ 668711 h 1037120"/>
                <a:gd name="connsiteX2" fmla="*/ 325338 w 1117644"/>
                <a:gd name="connsiteY2" fmla="*/ 636136 h 1037120"/>
                <a:gd name="connsiteX3" fmla="*/ 739428 w 1117644"/>
                <a:gd name="connsiteY3" fmla="*/ 636136 h 1037120"/>
                <a:gd name="connsiteX4" fmla="*/ 999289 w 1117644"/>
                <a:gd name="connsiteY4" fmla="*/ 394601 h 1037120"/>
                <a:gd name="connsiteX5" fmla="*/ 999289 w 1117644"/>
                <a:gd name="connsiteY5" fmla="*/ 241572 h 1037120"/>
                <a:gd name="connsiteX6" fmla="*/ 739428 w 1117644"/>
                <a:gd name="connsiteY6" fmla="*/ 37 h 1037120"/>
                <a:gd name="connsiteX7" fmla="*/ 378107 w 1117644"/>
                <a:gd name="connsiteY7" fmla="*/ 37 h 1037120"/>
                <a:gd name="connsiteX8" fmla="*/ 317775 w 1117644"/>
                <a:gd name="connsiteY8" fmla="*/ 4647 h 1037120"/>
                <a:gd name="connsiteX9" fmla="*/ 118684 w 1117644"/>
                <a:gd name="connsiteY9" fmla="*/ 241572 h 1037120"/>
                <a:gd name="connsiteX10" fmla="*/ 118684 w 1117644"/>
                <a:gd name="connsiteY10" fmla="*/ 330402 h 1037120"/>
                <a:gd name="connsiteX11" fmla="*/ 151850 w 1117644"/>
                <a:gd name="connsiteY11" fmla="*/ 367302 h 1037120"/>
                <a:gd name="connsiteX12" fmla="*/ 292096 w 1117644"/>
                <a:gd name="connsiteY12" fmla="*/ 367302 h 1037120"/>
                <a:gd name="connsiteX13" fmla="*/ 325300 w 1117644"/>
                <a:gd name="connsiteY13" fmla="*/ 330402 h 1037120"/>
                <a:gd name="connsiteX14" fmla="*/ 325300 w 1117644"/>
                <a:gd name="connsiteY14" fmla="*/ 273062 h 1037120"/>
                <a:gd name="connsiteX15" fmla="*/ 417369 w 1117644"/>
                <a:gd name="connsiteY15" fmla="*/ 188994 h 1037120"/>
                <a:gd name="connsiteX16" fmla="*/ 700680 w 1117644"/>
                <a:gd name="connsiteY16" fmla="*/ 188994 h 1037120"/>
                <a:gd name="connsiteX17" fmla="*/ 792768 w 1117644"/>
                <a:gd name="connsiteY17" fmla="*/ 273062 h 1037120"/>
                <a:gd name="connsiteX18" fmla="*/ 792768 w 1117644"/>
                <a:gd name="connsiteY18" fmla="*/ 363892 h 1037120"/>
                <a:gd name="connsiteX19" fmla="*/ 700680 w 1117644"/>
                <a:gd name="connsiteY19" fmla="*/ 447884 h 1037120"/>
                <a:gd name="connsiteX20" fmla="*/ 250 w 1117644"/>
                <a:gd name="connsiteY20" fmla="*/ 447884 h 1037120"/>
                <a:gd name="connsiteX21" fmla="*/ 250 w 1117644"/>
                <a:gd name="connsiteY21" fmla="*/ 636136 h 1037120"/>
                <a:gd name="connsiteX22" fmla="*/ 118188 w 1117644"/>
                <a:gd name="connsiteY22" fmla="*/ 636136 h 1037120"/>
                <a:gd name="connsiteX23" fmla="*/ 118188 w 1117644"/>
                <a:gd name="connsiteY23" fmla="*/ 668673 h 1037120"/>
                <a:gd name="connsiteX24" fmla="*/ 519800 w 1117644"/>
                <a:gd name="connsiteY24" fmla="*/ 1037157 h 1037120"/>
                <a:gd name="connsiteX25" fmla="*/ 1117894 w 1117644"/>
                <a:gd name="connsiteY25" fmla="*/ 1037157 h 1037120"/>
                <a:gd name="connsiteX26" fmla="*/ 1117894 w 1117644"/>
                <a:gd name="connsiteY26" fmla="*/ 848200 h 1037120"/>
                <a:gd name="connsiteX27" fmla="*/ 519115 w 1117644"/>
                <a:gd name="connsiteY27" fmla="*/ 848219 h 103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17644" h="1037120">
                  <a:moveTo>
                    <a:pt x="519115" y="848219"/>
                  </a:moveTo>
                  <a:cubicBezTo>
                    <a:pt x="412035" y="848219"/>
                    <a:pt x="324919" y="768248"/>
                    <a:pt x="324919" y="668711"/>
                  </a:cubicBezTo>
                  <a:lnTo>
                    <a:pt x="325338" y="636136"/>
                  </a:lnTo>
                  <a:lnTo>
                    <a:pt x="739428" y="636136"/>
                  </a:lnTo>
                  <a:cubicBezTo>
                    <a:pt x="882741" y="636136"/>
                    <a:pt x="999289" y="527798"/>
                    <a:pt x="999289" y="394601"/>
                  </a:cubicBezTo>
                  <a:lnTo>
                    <a:pt x="999289" y="241572"/>
                  </a:lnTo>
                  <a:cubicBezTo>
                    <a:pt x="999289" y="108375"/>
                    <a:pt x="882741" y="37"/>
                    <a:pt x="739428" y="37"/>
                  </a:cubicBezTo>
                  <a:lnTo>
                    <a:pt x="378107" y="37"/>
                  </a:lnTo>
                  <a:cubicBezTo>
                    <a:pt x="358028" y="37"/>
                    <a:pt x="337740" y="228"/>
                    <a:pt x="317775" y="4647"/>
                  </a:cubicBezTo>
                  <a:cubicBezTo>
                    <a:pt x="200294" y="30727"/>
                    <a:pt x="118684" y="129349"/>
                    <a:pt x="118684" y="241572"/>
                  </a:cubicBezTo>
                  <a:lnTo>
                    <a:pt x="118684" y="330402"/>
                  </a:lnTo>
                  <a:cubicBezTo>
                    <a:pt x="118684" y="350729"/>
                    <a:pt x="133543" y="367302"/>
                    <a:pt x="151850" y="367302"/>
                  </a:cubicBezTo>
                  <a:lnTo>
                    <a:pt x="292096" y="367302"/>
                  </a:lnTo>
                  <a:cubicBezTo>
                    <a:pt x="310422" y="367302"/>
                    <a:pt x="325300" y="350729"/>
                    <a:pt x="325300" y="330402"/>
                  </a:cubicBezTo>
                  <a:lnTo>
                    <a:pt x="325300" y="273062"/>
                  </a:lnTo>
                  <a:cubicBezTo>
                    <a:pt x="325300" y="226713"/>
                    <a:pt x="366600" y="188994"/>
                    <a:pt x="417369" y="188994"/>
                  </a:cubicBezTo>
                  <a:lnTo>
                    <a:pt x="700680" y="188994"/>
                  </a:lnTo>
                  <a:cubicBezTo>
                    <a:pt x="751467" y="188994"/>
                    <a:pt x="792768" y="226713"/>
                    <a:pt x="792768" y="273062"/>
                  </a:cubicBezTo>
                  <a:lnTo>
                    <a:pt x="792768" y="363892"/>
                  </a:lnTo>
                  <a:cubicBezTo>
                    <a:pt x="792768" y="410203"/>
                    <a:pt x="751467" y="447884"/>
                    <a:pt x="700680" y="447884"/>
                  </a:cubicBezTo>
                  <a:lnTo>
                    <a:pt x="250" y="447884"/>
                  </a:lnTo>
                  <a:lnTo>
                    <a:pt x="250" y="636136"/>
                  </a:lnTo>
                  <a:lnTo>
                    <a:pt x="118188" y="636136"/>
                  </a:lnTo>
                  <a:lnTo>
                    <a:pt x="118188" y="668673"/>
                  </a:lnTo>
                  <a:cubicBezTo>
                    <a:pt x="118188" y="872527"/>
                    <a:pt x="298859" y="1037157"/>
                    <a:pt x="519800" y="1037157"/>
                  </a:cubicBezTo>
                  <a:lnTo>
                    <a:pt x="1117894" y="1037157"/>
                  </a:lnTo>
                  <a:lnTo>
                    <a:pt x="1117894" y="848200"/>
                  </a:lnTo>
                  <a:lnTo>
                    <a:pt x="519115" y="848219"/>
                  </a:lnTo>
                  <a:close/>
                </a:path>
              </a:pathLst>
            </a:custGeom>
            <a:solidFill>
              <a:srgbClr val="96CD32"/>
            </a:solidFill>
            <a:ln w="19050" cap="flat">
              <a:noFill/>
              <a:prstDash val="solid"/>
              <a:round/>
            </a:ln>
          </p:spPr>
          <p:txBody>
            <a:bodyPr rtlCol="0" anchor="ctr"/>
            <a:lstStyle/>
            <a:p>
              <a:endParaRPr lang="fr-FR"/>
            </a:p>
          </p:txBody>
        </p:sp>
        <p:sp>
          <p:nvSpPr>
            <p:cNvPr id="12" name="Forme libre : forme 18">
              <a:extLst>
                <a:ext uri="{FF2B5EF4-FFF2-40B4-BE49-F238E27FC236}">
                  <a16:creationId xmlns:a16="http://schemas.microsoft.com/office/drawing/2014/main" id="{4CBA4159-2E86-411E-A0B6-2490089540CB}"/>
                </a:ext>
              </a:extLst>
            </p:cNvPr>
            <p:cNvSpPr/>
            <p:nvPr/>
          </p:nvSpPr>
          <p:spPr>
            <a:xfrm>
              <a:off x="3231832" y="7185063"/>
              <a:ext cx="5132298" cy="1037139"/>
            </a:xfrm>
            <a:custGeom>
              <a:avLst/>
              <a:gdLst>
                <a:gd name="connsiteX0" fmla="*/ 4143956 w 5132298"/>
                <a:gd name="connsiteY0" fmla="*/ 78849 h 1037139"/>
                <a:gd name="connsiteX1" fmla="*/ 4143651 w 5132298"/>
                <a:gd name="connsiteY1" fmla="*/ 36939 h 1037139"/>
                <a:gd name="connsiteX2" fmla="*/ 4110447 w 5132298"/>
                <a:gd name="connsiteY2" fmla="*/ 78 h 1037139"/>
                <a:gd name="connsiteX3" fmla="*/ 3970639 w 5132298"/>
                <a:gd name="connsiteY3" fmla="*/ 78 h 1037139"/>
                <a:gd name="connsiteX4" fmla="*/ 3937435 w 5132298"/>
                <a:gd name="connsiteY4" fmla="*/ 36939 h 1037139"/>
                <a:gd name="connsiteX5" fmla="*/ 3937435 w 5132298"/>
                <a:gd name="connsiteY5" fmla="*/ 78849 h 1037139"/>
                <a:gd name="connsiteX6" fmla="*/ 3937454 w 5132298"/>
                <a:gd name="connsiteY6" fmla="*/ 78849 h 1037139"/>
                <a:gd name="connsiteX7" fmla="*/ 3937759 w 5132298"/>
                <a:gd name="connsiteY7" fmla="*/ 152249 h 1037139"/>
                <a:gd name="connsiteX8" fmla="*/ 3970963 w 5132298"/>
                <a:gd name="connsiteY8" fmla="*/ 189111 h 1037139"/>
                <a:gd name="connsiteX9" fmla="*/ 4110771 w 5132298"/>
                <a:gd name="connsiteY9" fmla="*/ 189111 h 1037139"/>
                <a:gd name="connsiteX10" fmla="*/ 4143975 w 5132298"/>
                <a:gd name="connsiteY10" fmla="*/ 152249 h 1037139"/>
                <a:gd name="connsiteX11" fmla="*/ 4143975 w 5132298"/>
                <a:gd name="connsiteY11" fmla="*/ 78849 h 1037139"/>
                <a:gd name="connsiteX12" fmla="*/ 4143956 w 5132298"/>
                <a:gd name="connsiteY12" fmla="*/ 78849 h 1037139"/>
                <a:gd name="connsiteX13" fmla="*/ 4143956 w 5132298"/>
                <a:gd name="connsiteY13" fmla="*/ 653397 h 1037139"/>
                <a:gd name="connsiteX14" fmla="*/ 4143651 w 5132298"/>
                <a:gd name="connsiteY14" fmla="*/ 306706 h 1037139"/>
                <a:gd name="connsiteX15" fmla="*/ 4110447 w 5132298"/>
                <a:gd name="connsiteY15" fmla="*/ 269845 h 1037139"/>
                <a:gd name="connsiteX16" fmla="*/ 3970639 w 5132298"/>
                <a:gd name="connsiteY16" fmla="*/ 269845 h 1037139"/>
                <a:gd name="connsiteX17" fmla="*/ 3937435 w 5132298"/>
                <a:gd name="connsiteY17" fmla="*/ 306706 h 1037139"/>
                <a:gd name="connsiteX18" fmla="*/ 3937435 w 5132298"/>
                <a:gd name="connsiteY18" fmla="*/ 653397 h 1037139"/>
                <a:gd name="connsiteX19" fmla="*/ 3937454 w 5132298"/>
                <a:gd name="connsiteY19" fmla="*/ 653397 h 1037139"/>
                <a:gd name="connsiteX20" fmla="*/ 3937759 w 5132298"/>
                <a:gd name="connsiteY20" fmla="*/ 1000069 h 1037139"/>
                <a:gd name="connsiteX21" fmla="*/ 3970963 w 5132298"/>
                <a:gd name="connsiteY21" fmla="*/ 1036931 h 1037139"/>
                <a:gd name="connsiteX22" fmla="*/ 4110771 w 5132298"/>
                <a:gd name="connsiteY22" fmla="*/ 1036931 h 1037139"/>
                <a:gd name="connsiteX23" fmla="*/ 4143975 w 5132298"/>
                <a:gd name="connsiteY23" fmla="*/ 1000069 h 1037139"/>
                <a:gd name="connsiteX24" fmla="*/ 4143975 w 5132298"/>
                <a:gd name="connsiteY24" fmla="*/ 653397 h 1037139"/>
                <a:gd name="connsiteX25" fmla="*/ 4143956 w 5132298"/>
                <a:gd name="connsiteY25" fmla="*/ 653397 h 1037139"/>
                <a:gd name="connsiteX26" fmla="*/ 3441430 w 5132298"/>
                <a:gd name="connsiteY26" fmla="*/ 78 h 1037139"/>
                <a:gd name="connsiteX27" fmla="*/ 2991355 w 5132298"/>
                <a:gd name="connsiteY27" fmla="*/ 78 h 1037139"/>
                <a:gd name="connsiteX28" fmla="*/ 2958131 w 5132298"/>
                <a:gd name="connsiteY28" fmla="*/ 37035 h 1037139"/>
                <a:gd name="connsiteX29" fmla="*/ 2958131 w 5132298"/>
                <a:gd name="connsiteY29" fmla="*/ 646958 h 1037139"/>
                <a:gd name="connsiteX30" fmla="*/ 2991297 w 5132298"/>
                <a:gd name="connsiteY30" fmla="*/ 683858 h 1037139"/>
                <a:gd name="connsiteX31" fmla="*/ 3131391 w 5132298"/>
                <a:gd name="connsiteY31" fmla="*/ 683858 h 1037139"/>
                <a:gd name="connsiteX32" fmla="*/ 3164595 w 5132298"/>
                <a:gd name="connsiteY32" fmla="*/ 646958 h 1037139"/>
                <a:gd name="connsiteX33" fmla="*/ 3164786 w 5132298"/>
                <a:gd name="connsiteY33" fmla="*/ 189015 h 1037139"/>
                <a:gd name="connsiteX34" fmla="*/ 3418284 w 5132298"/>
                <a:gd name="connsiteY34" fmla="*/ 189111 h 1037139"/>
                <a:gd name="connsiteX35" fmla="*/ 3612499 w 5132298"/>
                <a:gd name="connsiteY35" fmla="*/ 369762 h 1037139"/>
                <a:gd name="connsiteX36" fmla="*/ 3612499 w 5132298"/>
                <a:gd name="connsiteY36" fmla="*/ 702794 h 1037139"/>
                <a:gd name="connsiteX37" fmla="*/ 3418284 w 5132298"/>
                <a:gd name="connsiteY37" fmla="*/ 847822 h 1037139"/>
                <a:gd name="connsiteX38" fmla="*/ 2958131 w 5132298"/>
                <a:gd name="connsiteY38" fmla="*/ 848298 h 1037139"/>
                <a:gd name="connsiteX39" fmla="*/ 2958131 w 5132298"/>
                <a:gd name="connsiteY39" fmla="*/ 1037217 h 1037139"/>
                <a:gd name="connsiteX40" fmla="*/ 3418284 w 5132298"/>
                <a:gd name="connsiteY40" fmla="*/ 1036931 h 1037139"/>
                <a:gd name="connsiteX41" fmla="*/ 3818982 w 5132298"/>
                <a:gd name="connsiteY41" fmla="*/ 702794 h 1037139"/>
                <a:gd name="connsiteX42" fmla="*/ 3818982 w 5132298"/>
                <a:gd name="connsiteY42" fmla="*/ 367590 h 1037139"/>
                <a:gd name="connsiteX43" fmla="*/ 3441430 w 5132298"/>
                <a:gd name="connsiteY43" fmla="*/ 78 h 1037139"/>
                <a:gd name="connsiteX44" fmla="*/ 5132651 w 5132298"/>
                <a:gd name="connsiteY44" fmla="*/ 679820 h 1037139"/>
                <a:gd name="connsiteX45" fmla="*/ 5131660 w 5132298"/>
                <a:gd name="connsiteY45" fmla="*/ 650425 h 1037139"/>
                <a:gd name="connsiteX46" fmla="*/ 4877591 w 5132298"/>
                <a:gd name="connsiteY46" fmla="*/ 447943 h 1037139"/>
                <a:gd name="connsiteX47" fmla="*/ 4567171 w 5132298"/>
                <a:gd name="connsiteY47" fmla="*/ 447943 h 1037139"/>
                <a:gd name="connsiteX48" fmla="*/ 4559208 w 5132298"/>
                <a:gd name="connsiteY48" fmla="*/ 447924 h 1037139"/>
                <a:gd name="connsiteX49" fmla="*/ 4469063 w 5132298"/>
                <a:gd name="connsiteY49" fmla="*/ 349759 h 1037139"/>
                <a:gd name="connsiteX50" fmla="*/ 4469368 w 5132298"/>
                <a:gd name="connsiteY50" fmla="*/ 279312 h 1037139"/>
                <a:gd name="connsiteX51" fmla="*/ 4567533 w 5132298"/>
                <a:gd name="connsiteY51" fmla="*/ 189187 h 1037139"/>
                <a:gd name="connsiteX52" fmla="*/ 4690043 w 5132298"/>
                <a:gd name="connsiteY52" fmla="*/ 189187 h 1037139"/>
                <a:gd name="connsiteX53" fmla="*/ 4691243 w 5132298"/>
                <a:gd name="connsiteY53" fmla="*/ 189225 h 1037139"/>
                <a:gd name="connsiteX54" fmla="*/ 5000825 w 5132298"/>
                <a:gd name="connsiteY54" fmla="*/ 189225 h 1037139"/>
                <a:gd name="connsiteX55" fmla="*/ 5035706 w 5132298"/>
                <a:gd name="connsiteY55" fmla="*/ 166270 h 1037139"/>
                <a:gd name="connsiteX56" fmla="*/ 5037687 w 5132298"/>
                <a:gd name="connsiteY56" fmla="*/ 156021 h 1037139"/>
                <a:gd name="connsiteX57" fmla="*/ 5037687 w 5132298"/>
                <a:gd name="connsiteY57" fmla="*/ 33282 h 1037139"/>
                <a:gd name="connsiteX58" fmla="*/ 5000825 w 5132298"/>
                <a:gd name="connsiteY58" fmla="*/ 116 h 1037139"/>
                <a:gd name="connsiteX59" fmla="*/ 4517869 w 5132298"/>
                <a:gd name="connsiteY59" fmla="*/ 173 h 1037139"/>
                <a:gd name="connsiteX60" fmla="*/ 4262409 w 5132298"/>
                <a:gd name="connsiteY60" fmla="*/ 235555 h 1037139"/>
                <a:gd name="connsiteX61" fmla="*/ 4262428 w 5132298"/>
                <a:gd name="connsiteY61" fmla="*/ 382392 h 1037139"/>
                <a:gd name="connsiteX62" fmla="*/ 4497886 w 5132298"/>
                <a:gd name="connsiteY62" fmla="*/ 636214 h 1037139"/>
                <a:gd name="connsiteX63" fmla="*/ 4836309 w 5132298"/>
                <a:gd name="connsiteY63" fmla="*/ 636214 h 1037139"/>
                <a:gd name="connsiteX64" fmla="*/ 4925977 w 5132298"/>
                <a:gd name="connsiteY64" fmla="*/ 734398 h 1037139"/>
                <a:gd name="connsiteX65" fmla="*/ 4925977 w 5132298"/>
                <a:gd name="connsiteY65" fmla="*/ 757944 h 1037139"/>
                <a:gd name="connsiteX66" fmla="*/ 4828289 w 5132298"/>
                <a:gd name="connsiteY66" fmla="*/ 848050 h 1037139"/>
                <a:gd name="connsiteX67" fmla="*/ 4299290 w 5132298"/>
                <a:gd name="connsiteY67" fmla="*/ 848050 h 1037139"/>
                <a:gd name="connsiteX68" fmla="*/ 4264447 w 5132298"/>
                <a:gd name="connsiteY68" fmla="*/ 870872 h 1037139"/>
                <a:gd name="connsiteX69" fmla="*/ 4262390 w 5132298"/>
                <a:gd name="connsiteY69" fmla="*/ 881216 h 1037139"/>
                <a:gd name="connsiteX70" fmla="*/ 4262390 w 5132298"/>
                <a:gd name="connsiteY70" fmla="*/ 1003955 h 1037139"/>
                <a:gd name="connsiteX71" fmla="*/ 4299290 w 5132298"/>
                <a:gd name="connsiteY71" fmla="*/ 1037160 h 1037139"/>
                <a:gd name="connsiteX72" fmla="*/ 4732296 w 5132298"/>
                <a:gd name="connsiteY72" fmla="*/ 1037160 h 1037139"/>
                <a:gd name="connsiteX73" fmla="*/ 4879172 w 5132298"/>
                <a:gd name="connsiteY73" fmla="*/ 1037083 h 1037139"/>
                <a:gd name="connsiteX74" fmla="*/ 5132651 w 5132298"/>
                <a:gd name="connsiteY74" fmla="*/ 801587 h 1037139"/>
                <a:gd name="connsiteX75" fmla="*/ 5132651 w 5132298"/>
                <a:gd name="connsiteY75" fmla="*/ 679820 h 1037139"/>
                <a:gd name="connsiteX76" fmla="*/ 280863 w 5132298"/>
                <a:gd name="connsiteY76" fmla="*/ 189111 h 1037139"/>
                <a:gd name="connsiteX77" fmla="*/ 825046 w 5132298"/>
                <a:gd name="connsiteY77" fmla="*/ 189111 h 1037139"/>
                <a:gd name="connsiteX78" fmla="*/ 861203 w 5132298"/>
                <a:gd name="connsiteY78" fmla="*/ 156573 h 1037139"/>
                <a:gd name="connsiteX79" fmla="*/ 861203 w 5132298"/>
                <a:gd name="connsiteY79" fmla="*/ 32729 h 1037139"/>
                <a:gd name="connsiteX80" fmla="*/ 825046 w 5132298"/>
                <a:gd name="connsiteY80" fmla="*/ 78 h 1037139"/>
                <a:gd name="connsiteX81" fmla="*/ 277073 w 5132298"/>
                <a:gd name="connsiteY81" fmla="*/ 78 h 1037139"/>
                <a:gd name="connsiteX82" fmla="*/ 352 w 5132298"/>
                <a:gd name="connsiteY82" fmla="*/ 255005 h 1037139"/>
                <a:gd name="connsiteX83" fmla="*/ 352 w 5132298"/>
                <a:gd name="connsiteY83" fmla="*/ 782309 h 1037139"/>
                <a:gd name="connsiteX84" fmla="*/ 277073 w 5132298"/>
                <a:gd name="connsiteY84" fmla="*/ 1037217 h 1037139"/>
                <a:gd name="connsiteX85" fmla="*/ 825046 w 5132298"/>
                <a:gd name="connsiteY85" fmla="*/ 1037217 h 1037139"/>
                <a:gd name="connsiteX86" fmla="*/ 861203 w 5132298"/>
                <a:gd name="connsiteY86" fmla="*/ 1004660 h 1037139"/>
                <a:gd name="connsiteX87" fmla="*/ 861203 w 5132298"/>
                <a:gd name="connsiteY87" fmla="*/ 880816 h 1037139"/>
                <a:gd name="connsiteX88" fmla="*/ 825046 w 5132298"/>
                <a:gd name="connsiteY88" fmla="*/ 848298 h 1037139"/>
                <a:gd name="connsiteX89" fmla="*/ 280863 w 5132298"/>
                <a:gd name="connsiteY89" fmla="*/ 848298 h 1037139"/>
                <a:gd name="connsiteX90" fmla="*/ 207006 w 5132298"/>
                <a:gd name="connsiteY90" fmla="*/ 779051 h 1037139"/>
                <a:gd name="connsiteX91" fmla="*/ 207006 w 5132298"/>
                <a:gd name="connsiteY91" fmla="*/ 634347 h 1037139"/>
                <a:gd name="connsiteX92" fmla="*/ 532457 w 5132298"/>
                <a:gd name="connsiteY92" fmla="*/ 634347 h 1037139"/>
                <a:gd name="connsiteX93" fmla="*/ 568595 w 5132298"/>
                <a:gd name="connsiteY93" fmla="*/ 601772 h 1037139"/>
                <a:gd name="connsiteX94" fmla="*/ 568595 w 5132298"/>
                <a:gd name="connsiteY94" fmla="*/ 480557 h 1037139"/>
                <a:gd name="connsiteX95" fmla="*/ 532457 w 5132298"/>
                <a:gd name="connsiteY95" fmla="*/ 447943 h 1037139"/>
                <a:gd name="connsiteX96" fmla="*/ 207006 w 5132298"/>
                <a:gd name="connsiteY96" fmla="*/ 447943 h 1037139"/>
                <a:gd name="connsiteX97" fmla="*/ 207006 w 5132298"/>
                <a:gd name="connsiteY97" fmla="*/ 258395 h 1037139"/>
                <a:gd name="connsiteX98" fmla="*/ 280863 w 5132298"/>
                <a:gd name="connsiteY98" fmla="*/ 189111 h 1037139"/>
                <a:gd name="connsiteX99" fmla="*/ 1186405 w 5132298"/>
                <a:gd name="connsiteY99" fmla="*/ 189130 h 1037139"/>
                <a:gd name="connsiteX100" fmla="*/ 1186405 w 5132298"/>
                <a:gd name="connsiteY100" fmla="*/ 1000336 h 1037139"/>
                <a:gd name="connsiteX101" fmla="*/ 1153144 w 5132298"/>
                <a:gd name="connsiteY101" fmla="*/ 1037198 h 1037139"/>
                <a:gd name="connsiteX102" fmla="*/ 1012879 w 5132298"/>
                <a:gd name="connsiteY102" fmla="*/ 1037198 h 1037139"/>
                <a:gd name="connsiteX103" fmla="*/ 979656 w 5132298"/>
                <a:gd name="connsiteY103" fmla="*/ 1000336 h 1037139"/>
                <a:gd name="connsiteX104" fmla="*/ 979656 w 5132298"/>
                <a:gd name="connsiteY104" fmla="*/ 37035 h 1037139"/>
                <a:gd name="connsiteX105" fmla="*/ 1012879 w 5132298"/>
                <a:gd name="connsiteY105" fmla="*/ 116 h 1037139"/>
                <a:gd name="connsiteX106" fmla="*/ 1439846 w 5132298"/>
                <a:gd name="connsiteY106" fmla="*/ 116 h 1037139"/>
                <a:gd name="connsiteX107" fmla="*/ 1840506 w 5132298"/>
                <a:gd name="connsiteY107" fmla="*/ 369838 h 1037139"/>
                <a:gd name="connsiteX108" fmla="*/ 1840506 w 5132298"/>
                <a:gd name="connsiteY108" fmla="*/ 1004032 h 1037139"/>
                <a:gd name="connsiteX109" fmla="*/ 1803625 w 5132298"/>
                <a:gd name="connsiteY109" fmla="*/ 1037198 h 1037139"/>
                <a:gd name="connsiteX110" fmla="*/ 1670885 w 5132298"/>
                <a:gd name="connsiteY110" fmla="*/ 1037198 h 1037139"/>
                <a:gd name="connsiteX111" fmla="*/ 1634023 w 5132298"/>
                <a:gd name="connsiteY111" fmla="*/ 1004032 h 1037139"/>
                <a:gd name="connsiteX112" fmla="*/ 1634023 w 5132298"/>
                <a:gd name="connsiteY112" fmla="*/ 369838 h 1037139"/>
                <a:gd name="connsiteX113" fmla="*/ 1439846 w 5132298"/>
                <a:gd name="connsiteY113" fmla="*/ 189225 h 1037139"/>
                <a:gd name="connsiteX114" fmla="*/ 1186405 w 5132298"/>
                <a:gd name="connsiteY114" fmla="*/ 189130 h 103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132298" h="1037139">
                  <a:moveTo>
                    <a:pt x="4143956" y="78849"/>
                  </a:moveTo>
                  <a:lnTo>
                    <a:pt x="4143651" y="36939"/>
                  </a:lnTo>
                  <a:cubicBezTo>
                    <a:pt x="4143651" y="16613"/>
                    <a:pt x="4128754" y="78"/>
                    <a:pt x="4110447" y="78"/>
                  </a:cubicBezTo>
                  <a:lnTo>
                    <a:pt x="3970639" y="78"/>
                  </a:lnTo>
                  <a:cubicBezTo>
                    <a:pt x="3952351" y="78"/>
                    <a:pt x="3937435" y="16613"/>
                    <a:pt x="3937435" y="36939"/>
                  </a:cubicBezTo>
                  <a:lnTo>
                    <a:pt x="3937435" y="78849"/>
                  </a:lnTo>
                  <a:lnTo>
                    <a:pt x="3937454" y="78849"/>
                  </a:lnTo>
                  <a:lnTo>
                    <a:pt x="3937759" y="152249"/>
                  </a:lnTo>
                  <a:cubicBezTo>
                    <a:pt x="3937759" y="172575"/>
                    <a:pt x="3952637" y="189111"/>
                    <a:pt x="3970963" y="189111"/>
                  </a:cubicBezTo>
                  <a:lnTo>
                    <a:pt x="4110771" y="189111"/>
                  </a:lnTo>
                  <a:cubicBezTo>
                    <a:pt x="4129059" y="189111"/>
                    <a:pt x="4143975" y="172575"/>
                    <a:pt x="4143975" y="152249"/>
                  </a:cubicBezTo>
                  <a:lnTo>
                    <a:pt x="4143975" y="78849"/>
                  </a:lnTo>
                  <a:lnTo>
                    <a:pt x="4143956" y="78849"/>
                  </a:lnTo>
                  <a:close/>
                  <a:moveTo>
                    <a:pt x="4143956" y="653397"/>
                  </a:moveTo>
                  <a:lnTo>
                    <a:pt x="4143651" y="306706"/>
                  </a:lnTo>
                  <a:cubicBezTo>
                    <a:pt x="4143651" y="286361"/>
                    <a:pt x="4128754" y="269845"/>
                    <a:pt x="4110447" y="269845"/>
                  </a:cubicBezTo>
                  <a:lnTo>
                    <a:pt x="3970639" y="269845"/>
                  </a:lnTo>
                  <a:cubicBezTo>
                    <a:pt x="3952351" y="269845"/>
                    <a:pt x="3937435" y="286361"/>
                    <a:pt x="3937435" y="306706"/>
                  </a:cubicBezTo>
                  <a:lnTo>
                    <a:pt x="3937435" y="653397"/>
                  </a:lnTo>
                  <a:lnTo>
                    <a:pt x="3937454" y="653397"/>
                  </a:lnTo>
                  <a:lnTo>
                    <a:pt x="3937759" y="1000069"/>
                  </a:lnTo>
                  <a:cubicBezTo>
                    <a:pt x="3937759" y="1020396"/>
                    <a:pt x="3952637" y="1036931"/>
                    <a:pt x="3970963" y="1036931"/>
                  </a:cubicBezTo>
                  <a:lnTo>
                    <a:pt x="4110771" y="1036931"/>
                  </a:lnTo>
                  <a:cubicBezTo>
                    <a:pt x="4129059" y="1036931"/>
                    <a:pt x="4143975" y="1020396"/>
                    <a:pt x="4143975" y="1000069"/>
                  </a:cubicBezTo>
                  <a:lnTo>
                    <a:pt x="4143975" y="653397"/>
                  </a:lnTo>
                  <a:lnTo>
                    <a:pt x="4143956" y="653397"/>
                  </a:lnTo>
                  <a:close/>
                  <a:moveTo>
                    <a:pt x="3441430" y="78"/>
                  </a:moveTo>
                  <a:lnTo>
                    <a:pt x="2991355" y="78"/>
                  </a:lnTo>
                  <a:cubicBezTo>
                    <a:pt x="2973029" y="78"/>
                    <a:pt x="2958131" y="16670"/>
                    <a:pt x="2958131" y="37035"/>
                  </a:cubicBezTo>
                  <a:lnTo>
                    <a:pt x="2958131" y="646958"/>
                  </a:lnTo>
                  <a:cubicBezTo>
                    <a:pt x="2958131" y="667323"/>
                    <a:pt x="2973009" y="683858"/>
                    <a:pt x="2991297" y="683858"/>
                  </a:cubicBezTo>
                  <a:lnTo>
                    <a:pt x="3131391" y="683858"/>
                  </a:lnTo>
                  <a:cubicBezTo>
                    <a:pt x="3149717" y="683858"/>
                    <a:pt x="3164595" y="667323"/>
                    <a:pt x="3164595" y="646958"/>
                  </a:cubicBezTo>
                  <a:lnTo>
                    <a:pt x="3164786" y="189015"/>
                  </a:lnTo>
                  <a:lnTo>
                    <a:pt x="3418284" y="189111"/>
                  </a:lnTo>
                  <a:cubicBezTo>
                    <a:pt x="3525383" y="189111"/>
                    <a:pt x="3612499" y="270149"/>
                    <a:pt x="3612499" y="369762"/>
                  </a:cubicBezTo>
                  <a:lnTo>
                    <a:pt x="3612499" y="702794"/>
                  </a:lnTo>
                  <a:cubicBezTo>
                    <a:pt x="3612499" y="802368"/>
                    <a:pt x="3525383" y="847822"/>
                    <a:pt x="3418284" y="847822"/>
                  </a:cubicBezTo>
                  <a:lnTo>
                    <a:pt x="2958131" y="848298"/>
                  </a:lnTo>
                  <a:lnTo>
                    <a:pt x="2958131" y="1037217"/>
                  </a:lnTo>
                  <a:lnTo>
                    <a:pt x="3418284" y="1036931"/>
                  </a:lnTo>
                  <a:cubicBezTo>
                    <a:pt x="3639226" y="1036931"/>
                    <a:pt x="3818982" y="906648"/>
                    <a:pt x="3818982" y="702794"/>
                  </a:cubicBezTo>
                  <a:lnTo>
                    <a:pt x="3818982" y="367590"/>
                  </a:lnTo>
                  <a:cubicBezTo>
                    <a:pt x="3818982" y="171985"/>
                    <a:pt x="3654866" y="78"/>
                    <a:pt x="3441430" y="78"/>
                  </a:cubicBezTo>
                  <a:moveTo>
                    <a:pt x="5132651" y="679820"/>
                  </a:moveTo>
                  <a:cubicBezTo>
                    <a:pt x="5132651" y="670447"/>
                    <a:pt x="5132575" y="660846"/>
                    <a:pt x="5131660" y="650425"/>
                  </a:cubicBezTo>
                  <a:cubicBezTo>
                    <a:pt x="5121469" y="535230"/>
                    <a:pt x="5002749" y="447943"/>
                    <a:pt x="4877591" y="447943"/>
                  </a:cubicBezTo>
                  <a:lnTo>
                    <a:pt x="4567171" y="447943"/>
                  </a:lnTo>
                  <a:lnTo>
                    <a:pt x="4559208" y="447924"/>
                  </a:lnTo>
                  <a:cubicBezTo>
                    <a:pt x="4509487" y="447924"/>
                    <a:pt x="4469063" y="403861"/>
                    <a:pt x="4469063" y="349759"/>
                  </a:cubicBezTo>
                  <a:lnTo>
                    <a:pt x="4469368" y="279312"/>
                  </a:lnTo>
                  <a:cubicBezTo>
                    <a:pt x="4469368" y="229630"/>
                    <a:pt x="4513412" y="189187"/>
                    <a:pt x="4567533" y="189187"/>
                  </a:cubicBezTo>
                  <a:lnTo>
                    <a:pt x="4690043" y="189187"/>
                  </a:lnTo>
                  <a:lnTo>
                    <a:pt x="4691243" y="189225"/>
                  </a:lnTo>
                  <a:lnTo>
                    <a:pt x="5000825" y="189225"/>
                  </a:lnTo>
                  <a:cubicBezTo>
                    <a:pt x="5016656" y="189225"/>
                    <a:pt x="5030676" y="180005"/>
                    <a:pt x="5035706" y="166270"/>
                  </a:cubicBezTo>
                  <a:cubicBezTo>
                    <a:pt x="5037039" y="162612"/>
                    <a:pt x="5037687" y="159259"/>
                    <a:pt x="5037687" y="156021"/>
                  </a:cubicBezTo>
                  <a:lnTo>
                    <a:pt x="5037687" y="33282"/>
                  </a:lnTo>
                  <a:cubicBezTo>
                    <a:pt x="5037687" y="14956"/>
                    <a:pt x="5021151" y="116"/>
                    <a:pt x="5000825" y="116"/>
                  </a:cubicBezTo>
                  <a:lnTo>
                    <a:pt x="4517869" y="173"/>
                  </a:lnTo>
                  <a:cubicBezTo>
                    <a:pt x="4377928" y="173"/>
                    <a:pt x="4262409" y="105805"/>
                    <a:pt x="4262409" y="235555"/>
                  </a:cubicBezTo>
                  <a:lnTo>
                    <a:pt x="4262428" y="382392"/>
                  </a:lnTo>
                  <a:cubicBezTo>
                    <a:pt x="4262428" y="522352"/>
                    <a:pt x="4368041" y="636214"/>
                    <a:pt x="4497886" y="636214"/>
                  </a:cubicBezTo>
                  <a:lnTo>
                    <a:pt x="4836309" y="636214"/>
                  </a:lnTo>
                  <a:cubicBezTo>
                    <a:pt x="4885992" y="636214"/>
                    <a:pt x="4925977" y="680258"/>
                    <a:pt x="4925977" y="734398"/>
                  </a:cubicBezTo>
                  <a:lnTo>
                    <a:pt x="4925977" y="757944"/>
                  </a:lnTo>
                  <a:cubicBezTo>
                    <a:pt x="4925977" y="807645"/>
                    <a:pt x="4882410" y="848050"/>
                    <a:pt x="4828289" y="848050"/>
                  </a:cubicBezTo>
                  <a:lnTo>
                    <a:pt x="4299290" y="848050"/>
                  </a:lnTo>
                  <a:cubicBezTo>
                    <a:pt x="4283440" y="848050"/>
                    <a:pt x="4269419" y="857213"/>
                    <a:pt x="4264447" y="870872"/>
                  </a:cubicBezTo>
                  <a:cubicBezTo>
                    <a:pt x="4263057" y="874606"/>
                    <a:pt x="4262390" y="877997"/>
                    <a:pt x="4262390" y="881216"/>
                  </a:cubicBezTo>
                  <a:lnTo>
                    <a:pt x="4262390" y="1003955"/>
                  </a:lnTo>
                  <a:cubicBezTo>
                    <a:pt x="4262390" y="1022262"/>
                    <a:pt x="4278944" y="1037160"/>
                    <a:pt x="4299290" y="1037160"/>
                  </a:cubicBezTo>
                  <a:lnTo>
                    <a:pt x="4732296" y="1037160"/>
                  </a:lnTo>
                  <a:lnTo>
                    <a:pt x="4879172" y="1037083"/>
                  </a:lnTo>
                  <a:cubicBezTo>
                    <a:pt x="5019075" y="1037083"/>
                    <a:pt x="5132651" y="931470"/>
                    <a:pt x="5132651" y="801587"/>
                  </a:cubicBezTo>
                  <a:lnTo>
                    <a:pt x="5132651" y="679820"/>
                  </a:lnTo>
                  <a:close/>
                  <a:moveTo>
                    <a:pt x="280863" y="189111"/>
                  </a:moveTo>
                  <a:lnTo>
                    <a:pt x="825046" y="189111"/>
                  </a:lnTo>
                  <a:cubicBezTo>
                    <a:pt x="844972" y="189111"/>
                    <a:pt x="861203" y="174518"/>
                    <a:pt x="861203" y="156573"/>
                  </a:cubicBezTo>
                  <a:lnTo>
                    <a:pt x="861203" y="32729"/>
                  </a:lnTo>
                  <a:cubicBezTo>
                    <a:pt x="861203" y="14746"/>
                    <a:pt x="845734" y="78"/>
                    <a:pt x="825046" y="78"/>
                  </a:cubicBezTo>
                  <a:lnTo>
                    <a:pt x="277073" y="78"/>
                  </a:lnTo>
                  <a:cubicBezTo>
                    <a:pt x="124501" y="78"/>
                    <a:pt x="352" y="114301"/>
                    <a:pt x="352" y="255005"/>
                  </a:cubicBezTo>
                  <a:lnTo>
                    <a:pt x="352" y="782309"/>
                  </a:lnTo>
                  <a:cubicBezTo>
                    <a:pt x="352" y="922955"/>
                    <a:pt x="124501" y="1037217"/>
                    <a:pt x="277073" y="1037217"/>
                  </a:cubicBezTo>
                  <a:lnTo>
                    <a:pt x="825046" y="1037217"/>
                  </a:lnTo>
                  <a:cubicBezTo>
                    <a:pt x="844972" y="1037217"/>
                    <a:pt x="861203" y="1022605"/>
                    <a:pt x="861203" y="1004660"/>
                  </a:cubicBezTo>
                  <a:lnTo>
                    <a:pt x="861203" y="880816"/>
                  </a:lnTo>
                  <a:cubicBezTo>
                    <a:pt x="861203" y="862871"/>
                    <a:pt x="844972" y="848298"/>
                    <a:pt x="825046" y="848298"/>
                  </a:cubicBezTo>
                  <a:lnTo>
                    <a:pt x="280863" y="848298"/>
                  </a:lnTo>
                  <a:cubicBezTo>
                    <a:pt x="240839" y="848298"/>
                    <a:pt x="207006" y="816580"/>
                    <a:pt x="207006" y="779051"/>
                  </a:cubicBezTo>
                  <a:lnTo>
                    <a:pt x="207006" y="634347"/>
                  </a:lnTo>
                  <a:lnTo>
                    <a:pt x="532457" y="634347"/>
                  </a:lnTo>
                  <a:cubicBezTo>
                    <a:pt x="552383" y="634347"/>
                    <a:pt x="568595" y="619717"/>
                    <a:pt x="568595" y="601772"/>
                  </a:cubicBezTo>
                  <a:lnTo>
                    <a:pt x="568595" y="480557"/>
                  </a:lnTo>
                  <a:cubicBezTo>
                    <a:pt x="568595" y="462573"/>
                    <a:pt x="552383" y="447943"/>
                    <a:pt x="532457" y="447943"/>
                  </a:cubicBezTo>
                  <a:lnTo>
                    <a:pt x="207006" y="447943"/>
                  </a:lnTo>
                  <a:lnTo>
                    <a:pt x="207006" y="258395"/>
                  </a:lnTo>
                  <a:cubicBezTo>
                    <a:pt x="207006" y="220829"/>
                    <a:pt x="240839" y="189111"/>
                    <a:pt x="280863" y="189111"/>
                  </a:cubicBezTo>
                  <a:moveTo>
                    <a:pt x="1186405" y="189130"/>
                  </a:moveTo>
                  <a:lnTo>
                    <a:pt x="1186405" y="1000336"/>
                  </a:lnTo>
                  <a:cubicBezTo>
                    <a:pt x="1186405" y="1020662"/>
                    <a:pt x="1171470" y="1037198"/>
                    <a:pt x="1153144" y="1037198"/>
                  </a:cubicBezTo>
                  <a:lnTo>
                    <a:pt x="1012879" y="1037198"/>
                  </a:lnTo>
                  <a:cubicBezTo>
                    <a:pt x="994553" y="1037198"/>
                    <a:pt x="979656" y="1020662"/>
                    <a:pt x="979656" y="1000336"/>
                  </a:cubicBezTo>
                  <a:lnTo>
                    <a:pt x="979656" y="37035"/>
                  </a:lnTo>
                  <a:cubicBezTo>
                    <a:pt x="979656" y="16670"/>
                    <a:pt x="994553" y="116"/>
                    <a:pt x="1012879" y="116"/>
                  </a:cubicBezTo>
                  <a:lnTo>
                    <a:pt x="1439846" y="116"/>
                  </a:lnTo>
                  <a:cubicBezTo>
                    <a:pt x="1660769" y="116"/>
                    <a:pt x="1840506" y="165946"/>
                    <a:pt x="1840506" y="369838"/>
                  </a:cubicBezTo>
                  <a:lnTo>
                    <a:pt x="1840506" y="1004032"/>
                  </a:lnTo>
                  <a:cubicBezTo>
                    <a:pt x="1840506" y="1022339"/>
                    <a:pt x="1823971" y="1037198"/>
                    <a:pt x="1803625" y="1037198"/>
                  </a:cubicBezTo>
                  <a:lnTo>
                    <a:pt x="1670885" y="1037198"/>
                  </a:lnTo>
                  <a:cubicBezTo>
                    <a:pt x="1650559" y="1037198"/>
                    <a:pt x="1634023" y="1022339"/>
                    <a:pt x="1634023" y="1004032"/>
                  </a:cubicBezTo>
                  <a:lnTo>
                    <a:pt x="1634023" y="369838"/>
                  </a:lnTo>
                  <a:cubicBezTo>
                    <a:pt x="1634023" y="270264"/>
                    <a:pt x="1546926" y="189225"/>
                    <a:pt x="1439846" y="189225"/>
                  </a:cubicBezTo>
                  <a:lnTo>
                    <a:pt x="1186405" y="189130"/>
                  </a:lnTo>
                  <a:close/>
                </a:path>
              </a:pathLst>
            </a:custGeom>
            <a:solidFill>
              <a:schemeClr val="bg1"/>
            </a:solidFill>
            <a:ln w="19050" cap="flat">
              <a:noFill/>
              <a:prstDash val="solid"/>
              <a:round/>
            </a:ln>
          </p:spPr>
          <p:txBody>
            <a:bodyPr rtlCol="0" anchor="ctr"/>
            <a:lstStyle/>
            <a:p>
              <a:endParaRPr lang="fr-FR"/>
            </a:p>
          </p:txBody>
        </p:sp>
      </p:grpSp>
      <p:sp>
        <p:nvSpPr>
          <p:cNvPr id="7" name="Titre 6"/>
          <p:cNvSpPr>
            <a:spLocks noGrp="1"/>
          </p:cNvSpPr>
          <p:nvPr>
            <p:ph type="title"/>
          </p:nvPr>
        </p:nvSpPr>
        <p:spPr>
          <a:xfrm>
            <a:off x="4212000" y="180000"/>
            <a:ext cx="7740000" cy="612000"/>
          </a:xfrm>
        </p:spPr>
        <p:txBody>
          <a:bodyPr/>
          <a:lstStyle/>
          <a:p>
            <a:r>
              <a:rPr lang="fr-FR" smtClean="0"/>
              <a:t>Modifiez le style du titre</a:t>
            </a:r>
            <a:endParaRPr lang="fr-FR"/>
          </a:p>
        </p:txBody>
      </p:sp>
    </p:spTree>
    <p:extLst>
      <p:ext uri="{BB962C8B-B14F-4D97-AF65-F5344CB8AC3E}">
        <p14:creationId xmlns:p14="http://schemas.microsoft.com/office/powerpoint/2010/main" val="2836106958"/>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re">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r>
              <a:rPr lang="fr-FR" smtClean="0"/>
              <a:t>Diffusion restreinte - Avril 2024</a:t>
            </a:r>
            <a:endParaRPr lang="fr-FR"/>
          </a:p>
        </p:txBody>
      </p:sp>
      <p:sp>
        <p:nvSpPr>
          <p:cNvPr id="4" name="Espace réservé du pied de page 3"/>
          <p:cNvSpPr>
            <a:spLocks noGrp="1"/>
          </p:cNvSpPr>
          <p:nvPr>
            <p:ph type="ftr" sz="quarter" idx="11"/>
          </p:nvPr>
        </p:nvSpPr>
        <p:spPr/>
        <p:txBody>
          <a:bodyPr/>
          <a:lstStyle/>
          <a:p>
            <a:r>
              <a:rPr lang="fr-FR" smtClean="0"/>
              <a:t>Bilatérale Enedis - DGEC - Mobilité électrique</a:t>
            </a:r>
            <a:endParaRPr lang="fr-FR"/>
          </a:p>
        </p:txBody>
      </p:sp>
      <p:sp>
        <p:nvSpPr>
          <p:cNvPr id="5" name="Espace réservé du numéro de diapositive 4"/>
          <p:cNvSpPr>
            <a:spLocks noGrp="1"/>
          </p:cNvSpPr>
          <p:nvPr>
            <p:ph type="sldNum" sz="quarter" idx="12"/>
          </p:nvPr>
        </p:nvSpPr>
        <p:spPr/>
        <p:txBody>
          <a:bodyPr/>
          <a:lstStyle/>
          <a:p>
            <a:fld id="{6B54B0F7-55DD-40D6-B7F4-70B586885C0B}" type="slidenum">
              <a:rPr lang="fr-FR" smtClean="0"/>
              <a:pPr/>
              <a:t>‹N°›</a:t>
            </a:fld>
            <a:endParaRPr lang="fr-FR"/>
          </a:p>
        </p:txBody>
      </p:sp>
      <p:sp>
        <p:nvSpPr>
          <p:cNvPr id="6" name="Titre 5"/>
          <p:cNvSpPr>
            <a:spLocks noGrp="1"/>
          </p:cNvSpPr>
          <p:nvPr>
            <p:ph type="title"/>
          </p:nvPr>
        </p:nvSpPr>
        <p:spPr/>
        <p:txBody>
          <a:bodyPr/>
          <a:lstStyle/>
          <a:p>
            <a:r>
              <a:rPr lang="fr-FR" smtClean="0"/>
              <a:t>Modifiez le style du titre</a:t>
            </a:r>
            <a:endParaRPr lang="fr-FR"/>
          </a:p>
        </p:txBody>
      </p:sp>
    </p:spTree>
    <p:extLst>
      <p:ext uri="{BB962C8B-B14F-4D97-AF65-F5344CB8AC3E}">
        <p14:creationId xmlns:p14="http://schemas.microsoft.com/office/powerpoint/2010/main" val="366621766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0000" y="540000"/>
            <a:ext cx="8640000" cy="2161361"/>
          </a:xfrm>
        </p:spPr>
        <p:txBody>
          <a:bodyPr anchor="b"/>
          <a:lstStyle>
            <a:lvl1pPr algn="l">
              <a:lnSpc>
                <a:spcPct val="76000"/>
              </a:lnSpc>
              <a:defRPr sz="4800">
                <a:solidFill>
                  <a:schemeClr val="tx2"/>
                </a:solidFill>
              </a:defRPr>
            </a:lvl1pPr>
          </a:lstStyle>
          <a:p>
            <a:r>
              <a:rPr lang="fr-FR"/>
              <a:t>Titre de la </a:t>
            </a:r>
            <a:br>
              <a:rPr lang="fr-FR"/>
            </a:br>
            <a:r>
              <a:rPr lang="fr-FR"/>
              <a:t>présentation </a:t>
            </a:r>
            <a:br>
              <a:rPr lang="fr-FR"/>
            </a:br>
            <a:r>
              <a:rPr lang="fr-FR"/>
              <a:t>sur trois lignes</a:t>
            </a:r>
            <a:endParaRPr lang="en-US"/>
          </a:p>
        </p:txBody>
      </p:sp>
      <p:sp>
        <p:nvSpPr>
          <p:cNvPr id="3" name="Subtitle 2"/>
          <p:cNvSpPr>
            <a:spLocks noGrp="1"/>
          </p:cNvSpPr>
          <p:nvPr>
            <p:ph type="subTitle" idx="1" hasCustomPrompt="1"/>
          </p:nvPr>
        </p:nvSpPr>
        <p:spPr>
          <a:xfrm>
            <a:off x="540000" y="2880000"/>
            <a:ext cx="8640000" cy="720000"/>
          </a:xfrm>
        </p:spPr>
        <p:txBody>
          <a:bodyPr/>
          <a:lstStyle>
            <a:lvl1pPr marL="0" indent="0" algn="l">
              <a:lnSpc>
                <a:spcPct val="80000"/>
              </a:lnSpc>
              <a:buNone/>
              <a:defRPr sz="2500">
                <a:solidFill>
                  <a:schemeClr val="tx2"/>
                </a:solidFill>
                <a:latin typeface="Enedis Light" pitchFamily="50"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Sous-titre de la présentation </a:t>
            </a:r>
            <a:br>
              <a:rPr lang="fr-FR"/>
            </a:br>
            <a:r>
              <a:rPr lang="fr-FR"/>
              <a:t>sur deux lignes</a:t>
            </a:r>
            <a:endParaRPr lang="en-US"/>
          </a:p>
        </p:txBody>
      </p:sp>
      <p:grpSp>
        <p:nvGrpSpPr>
          <p:cNvPr id="6" name="Graphique 10">
            <a:extLst>
              <a:ext uri="{FF2B5EF4-FFF2-40B4-BE49-F238E27FC236}">
                <a16:creationId xmlns:a16="http://schemas.microsoft.com/office/drawing/2014/main" id="{3270F1C2-39F4-4808-A348-572B35FDA73D}"/>
              </a:ext>
            </a:extLst>
          </p:cNvPr>
          <p:cNvGrpSpPr/>
          <p:nvPr/>
        </p:nvGrpSpPr>
        <p:grpSpPr>
          <a:xfrm>
            <a:off x="540000" y="5976000"/>
            <a:ext cx="1716673" cy="346912"/>
            <a:chOff x="513998" y="5991475"/>
            <a:chExt cx="1716673" cy="346912"/>
          </a:xfrm>
        </p:grpSpPr>
        <p:sp>
          <p:nvSpPr>
            <p:cNvPr id="7" name="Forme libre : forme 6">
              <a:extLst>
                <a:ext uri="{FF2B5EF4-FFF2-40B4-BE49-F238E27FC236}">
                  <a16:creationId xmlns:a16="http://schemas.microsoft.com/office/drawing/2014/main" id="{91D61045-1864-4893-AB9C-647365F6D11E}"/>
                </a:ext>
              </a:extLst>
            </p:cNvPr>
            <p:cNvSpPr/>
            <p:nvPr/>
          </p:nvSpPr>
          <p:spPr>
            <a:xfrm>
              <a:off x="1129494" y="5991488"/>
              <a:ext cx="373834" cy="346899"/>
            </a:xfrm>
            <a:custGeom>
              <a:avLst/>
              <a:gdLst>
                <a:gd name="connsiteX0" fmla="*/ 173802 w 373834"/>
                <a:gd name="connsiteY0" fmla="*/ 283740 h 346899"/>
                <a:gd name="connsiteX1" fmla="*/ 108846 w 373834"/>
                <a:gd name="connsiteY1" fmla="*/ 223698 h 346899"/>
                <a:gd name="connsiteX2" fmla="*/ 108987 w 373834"/>
                <a:gd name="connsiteY2" fmla="*/ 212802 h 346899"/>
                <a:gd name="connsiteX3" fmla="*/ 247493 w 373834"/>
                <a:gd name="connsiteY3" fmla="*/ 212802 h 346899"/>
                <a:gd name="connsiteX4" fmla="*/ 334413 w 373834"/>
                <a:gd name="connsiteY4" fmla="*/ 132012 h 346899"/>
                <a:gd name="connsiteX5" fmla="*/ 334413 w 373834"/>
                <a:gd name="connsiteY5" fmla="*/ 80827 h 346899"/>
                <a:gd name="connsiteX6" fmla="*/ 247493 w 373834"/>
                <a:gd name="connsiteY6" fmla="*/ 37 h 346899"/>
                <a:gd name="connsiteX7" fmla="*/ 126637 w 373834"/>
                <a:gd name="connsiteY7" fmla="*/ 37 h 346899"/>
                <a:gd name="connsiteX8" fmla="*/ 106457 w 373834"/>
                <a:gd name="connsiteY8" fmla="*/ 1579 h 346899"/>
                <a:gd name="connsiteX9" fmla="*/ 39864 w 373834"/>
                <a:gd name="connsiteY9" fmla="*/ 80827 h 346899"/>
                <a:gd name="connsiteX10" fmla="*/ 39864 w 373834"/>
                <a:gd name="connsiteY10" fmla="*/ 110539 h 346899"/>
                <a:gd name="connsiteX11" fmla="*/ 50958 w 373834"/>
                <a:gd name="connsiteY11" fmla="*/ 122881 h 346899"/>
                <a:gd name="connsiteX12" fmla="*/ 97868 w 373834"/>
                <a:gd name="connsiteY12" fmla="*/ 122881 h 346899"/>
                <a:gd name="connsiteX13" fmla="*/ 108974 w 373834"/>
                <a:gd name="connsiteY13" fmla="*/ 110539 h 346899"/>
                <a:gd name="connsiteX14" fmla="*/ 108974 w 373834"/>
                <a:gd name="connsiteY14" fmla="*/ 91359 h 346899"/>
                <a:gd name="connsiteX15" fmla="*/ 139769 w 373834"/>
                <a:gd name="connsiteY15" fmla="*/ 63240 h 346899"/>
                <a:gd name="connsiteX16" fmla="*/ 234533 w 373834"/>
                <a:gd name="connsiteY16" fmla="*/ 63240 h 346899"/>
                <a:gd name="connsiteX17" fmla="*/ 265335 w 373834"/>
                <a:gd name="connsiteY17" fmla="*/ 91359 h 346899"/>
                <a:gd name="connsiteX18" fmla="*/ 265335 w 373834"/>
                <a:gd name="connsiteY18" fmla="*/ 121741 h 346899"/>
                <a:gd name="connsiteX19" fmla="*/ 234533 w 373834"/>
                <a:gd name="connsiteY19" fmla="*/ 149834 h 346899"/>
                <a:gd name="connsiteX20" fmla="*/ 250 w 373834"/>
                <a:gd name="connsiteY20" fmla="*/ 149834 h 346899"/>
                <a:gd name="connsiteX21" fmla="*/ 250 w 373834"/>
                <a:gd name="connsiteY21" fmla="*/ 212802 h 346899"/>
                <a:gd name="connsiteX22" fmla="*/ 39698 w 373834"/>
                <a:gd name="connsiteY22" fmla="*/ 212802 h 346899"/>
                <a:gd name="connsiteX23" fmla="*/ 39698 w 373834"/>
                <a:gd name="connsiteY23" fmla="*/ 223685 h 346899"/>
                <a:gd name="connsiteX24" fmla="*/ 174031 w 373834"/>
                <a:gd name="connsiteY24" fmla="*/ 346937 h 346899"/>
                <a:gd name="connsiteX25" fmla="*/ 374084 w 373834"/>
                <a:gd name="connsiteY25" fmla="*/ 346937 h 346899"/>
                <a:gd name="connsiteX26" fmla="*/ 374084 w 373834"/>
                <a:gd name="connsiteY26" fmla="*/ 283734 h 346899"/>
                <a:gd name="connsiteX27" fmla="*/ 173802 w 373834"/>
                <a:gd name="connsiteY27" fmla="*/ 283740 h 346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73834" h="346899">
                  <a:moveTo>
                    <a:pt x="173802" y="283740"/>
                  </a:moveTo>
                  <a:cubicBezTo>
                    <a:pt x="137985" y="283740"/>
                    <a:pt x="108846" y="256991"/>
                    <a:pt x="108846" y="223698"/>
                  </a:cubicBezTo>
                  <a:lnTo>
                    <a:pt x="108987" y="212802"/>
                  </a:lnTo>
                  <a:lnTo>
                    <a:pt x="247493" y="212802"/>
                  </a:lnTo>
                  <a:cubicBezTo>
                    <a:pt x="295429" y="212802"/>
                    <a:pt x="334413" y="176564"/>
                    <a:pt x="334413" y="132012"/>
                  </a:cubicBezTo>
                  <a:lnTo>
                    <a:pt x="334413" y="80827"/>
                  </a:lnTo>
                  <a:cubicBezTo>
                    <a:pt x="334413" y="36274"/>
                    <a:pt x="295429" y="37"/>
                    <a:pt x="247493" y="37"/>
                  </a:cubicBezTo>
                  <a:lnTo>
                    <a:pt x="126637" y="37"/>
                  </a:lnTo>
                  <a:cubicBezTo>
                    <a:pt x="119921" y="37"/>
                    <a:pt x="113135" y="101"/>
                    <a:pt x="106457" y="1579"/>
                  </a:cubicBezTo>
                  <a:cubicBezTo>
                    <a:pt x="67161" y="10302"/>
                    <a:pt x="39864" y="43290"/>
                    <a:pt x="39864" y="80827"/>
                  </a:cubicBezTo>
                  <a:lnTo>
                    <a:pt x="39864" y="110539"/>
                  </a:lnTo>
                  <a:cubicBezTo>
                    <a:pt x="39864" y="117338"/>
                    <a:pt x="44834" y="122881"/>
                    <a:pt x="50958" y="122881"/>
                  </a:cubicBezTo>
                  <a:lnTo>
                    <a:pt x="97868" y="122881"/>
                  </a:lnTo>
                  <a:cubicBezTo>
                    <a:pt x="103997" y="122881"/>
                    <a:pt x="108974" y="117338"/>
                    <a:pt x="108974" y="110539"/>
                  </a:cubicBezTo>
                  <a:lnTo>
                    <a:pt x="108974" y="91359"/>
                  </a:lnTo>
                  <a:cubicBezTo>
                    <a:pt x="108974" y="75856"/>
                    <a:pt x="122788" y="63240"/>
                    <a:pt x="139769" y="63240"/>
                  </a:cubicBezTo>
                  <a:lnTo>
                    <a:pt x="234533" y="63240"/>
                  </a:lnTo>
                  <a:cubicBezTo>
                    <a:pt x="251520" y="63240"/>
                    <a:pt x="265335" y="75856"/>
                    <a:pt x="265335" y="91359"/>
                  </a:cubicBezTo>
                  <a:lnTo>
                    <a:pt x="265335" y="121741"/>
                  </a:lnTo>
                  <a:cubicBezTo>
                    <a:pt x="265335" y="137231"/>
                    <a:pt x="251520" y="149834"/>
                    <a:pt x="234533" y="149834"/>
                  </a:cubicBezTo>
                  <a:lnTo>
                    <a:pt x="250" y="149834"/>
                  </a:lnTo>
                  <a:lnTo>
                    <a:pt x="250" y="212802"/>
                  </a:lnTo>
                  <a:lnTo>
                    <a:pt x="39698" y="212802"/>
                  </a:lnTo>
                  <a:lnTo>
                    <a:pt x="39698" y="223685"/>
                  </a:lnTo>
                  <a:cubicBezTo>
                    <a:pt x="39698" y="291871"/>
                    <a:pt x="100130" y="346937"/>
                    <a:pt x="174031" y="346937"/>
                  </a:cubicBezTo>
                  <a:lnTo>
                    <a:pt x="374084" y="346937"/>
                  </a:lnTo>
                  <a:lnTo>
                    <a:pt x="374084" y="283734"/>
                  </a:lnTo>
                  <a:lnTo>
                    <a:pt x="173802" y="283740"/>
                  </a:lnTo>
                  <a:close/>
                </a:path>
              </a:pathLst>
            </a:custGeom>
            <a:solidFill>
              <a:srgbClr val="96CD32"/>
            </a:solidFill>
            <a:ln w="6362" cap="flat">
              <a:noFill/>
              <a:prstDash val="solid"/>
              <a:round/>
            </a:ln>
          </p:spPr>
          <p:txBody>
            <a:bodyPr rtlCol="0" anchor="ctr"/>
            <a:lstStyle/>
            <a:p>
              <a:endParaRPr lang="fr-FR"/>
            </a:p>
          </p:txBody>
        </p:sp>
        <p:sp>
          <p:nvSpPr>
            <p:cNvPr id="8" name="Forme libre : forme 7">
              <a:extLst>
                <a:ext uri="{FF2B5EF4-FFF2-40B4-BE49-F238E27FC236}">
                  <a16:creationId xmlns:a16="http://schemas.microsoft.com/office/drawing/2014/main" id="{90266735-E994-4E7C-84F7-3430D095B16A}"/>
                </a:ext>
              </a:extLst>
            </p:cNvPr>
            <p:cNvSpPr/>
            <p:nvPr/>
          </p:nvSpPr>
          <p:spPr>
            <a:xfrm>
              <a:off x="513998" y="5991475"/>
              <a:ext cx="1716673" cy="346905"/>
            </a:xfrm>
            <a:custGeom>
              <a:avLst/>
              <a:gdLst>
                <a:gd name="connsiteX0" fmla="*/ 1386323 w 1716673"/>
                <a:gd name="connsiteY0" fmla="*/ 26425 h 346905"/>
                <a:gd name="connsiteX1" fmla="*/ 1386221 w 1716673"/>
                <a:gd name="connsiteY1" fmla="*/ 12407 h 346905"/>
                <a:gd name="connsiteX2" fmla="*/ 1375114 w 1716673"/>
                <a:gd name="connsiteY2" fmla="*/ 78 h 346905"/>
                <a:gd name="connsiteX3" fmla="*/ 1328351 w 1716673"/>
                <a:gd name="connsiteY3" fmla="*/ 78 h 346905"/>
                <a:gd name="connsiteX4" fmla="*/ 1317245 w 1716673"/>
                <a:gd name="connsiteY4" fmla="*/ 12407 h 346905"/>
                <a:gd name="connsiteX5" fmla="*/ 1317245 w 1716673"/>
                <a:gd name="connsiteY5" fmla="*/ 26425 h 346905"/>
                <a:gd name="connsiteX6" fmla="*/ 1317251 w 1716673"/>
                <a:gd name="connsiteY6" fmla="*/ 26425 h 346905"/>
                <a:gd name="connsiteX7" fmla="*/ 1317353 w 1716673"/>
                <a:gd name="connsiteY7" fmla="*/ 50976 h 346905"/>
                <a:gd name="connsiteX8" fmla="*/ 1328459 w 1716673"/>
                <a:gd name="connsiteY8" fmla="*/ 63306 h 346905"/>
                <a:gd name="connsiteX9" fmla="*/ 1375223 w 1716673"/>
                <a:gd name="connsiteY9" fmla="*/ 63306 h 346905"/>
                <a:gd name="connsiteX10" fmla="*/ 1386329 w 1716673"/>
                <a:gd name="connsiteY10" fmla="*/ 50976 h 346905"/>
                <a:gd name="connsiteX11" fmla="*/ 1386329 w 1716673"/>
                <a:gd name="connsiteY11" fmla="*/ 26425 h 346905"/>
                <a:gd name="connsiteX12" fmla="*/ 1386323 w 1716673"/>
                <a:gd name="connsiteY12" fmla="*/ 26425 h 346905"/>
                <a:gd name="connsiteX13" fmla="*/ 1386323 w 1716673"/>
                <a:gd name="connsiteY13" fmla="*/ 218602 h 346905"/>
                <a:gd name="connsiteX14" fmla="*/ 1386221 w 1716673"/>
                <a:gd name="connsiteY14" fmla="*/ 102640 h 346905"/>
                <a:gd name="connsiteX15" fmla="*/ 1375114 w 1716673"/>
                <a:gd name="connsiteY15" fmla="*/ 90310 h 346905"/>
                <a:gd name="connsiteX16" fmla="*/ 1328351 w 1716673"/>
                <a:gd name="connsiteY16" fmla="*/ 90310 h 346905"/>
                <a:gd name="connsiteX17" fmla="*/ 1317245 w 1716673"/>
                <a:gd name="connsiteY17" fmla="*/ 102640 h 346905"/>
                <a:gd name="connsiteX18" fmla="*/ 1317245 w 1716673"/>
                <a:gd name="connsiteY18" fmla="*/ 218602 h 346905"/>
                <a:gd name="connsiteX19" fmla="*/ 1317251 w 1716673"/>
                <a:gd name="connsiteY19" fmla="*/ 218602 h 346905"/>
                <a:gd name="connsiteX20" fmla="*/ 1317353 w 1716673"/>
                <a:gd name="connsiteY20" fmla="*/ 334558 h 346905"/>
                <a:gd name="connsiteX21" fmla="*/ 1328459 w 1716673"/>
                <a:gd name="connsiteY21" fmla="*/ 346888 h 346905"/>
                <a:gd name="connsiteX22" fmla="*/ 1375223 w 1716673"/>
                <a:gd name="connsiteY22" fmla="*/ 346888 h 346905"/>
                <a:gd name="connsiteX23" fmla="*/ 1386329 w 1716673"/>
                <a:gd name="connsiteY23" fmla="*/ 334558 h 346905"/>
                <a:gd name="connsiteX24" fmla="*/ 1386329 w 1716673"/>
                <a:gd name="connsiteY24" fmla="*/ 218602 h 346905"/>
                <a:gd name="connsiteX25" fmla="*/ 1386323 w 1716673"/>
                <a:gd name="connsiteY25" fmla="*/ 218602 h 346905"/>
                <a:gd name="connsiteX26" fmla="*/ 1151339 w 1716673"/>
                <a:gd name="connsiteY26" fmla="*/ 78 h 346905"/>
                <a:gd name="connsiteX27" fmla="*/ 1000796 w 1716673"/>
                <a:gd name="connsiteY27" fmla="*/ 78 h 346905"/>
                <a:gd name="connsiteX28" fmla="*/ 989683 w 1716673"/>
                <a:gd name="connsiteY28" fmla="*/ 12439 h 346905"/>
                <a:gd name="connsiteX29" fmla="*/ 989683 w 1716673"/>
                <a:gd name="connsiteY29" fmla="*/ 216448 h 346905"/>
                <a:gd name="connsiteX30" fmla="*/ 1000776 w 1716673"/>
                <a:gd name="connsiteY30" fmla="*/ 228791 h 346905"/>
                <a:gd name="connsiteX31" fmla="*/ 1047636 w 1716673"/>
                <a:gd name="connsiteY31" fmla="*/ 228791 h 346905"/>
                <a:gd name="connsiteX32" fmla="*/ 1058742 w 1716673"/>
                <a:gd name="connsiteY32" fmla="*/ 216448 h 346905"/>
                <a:gd name="connsiteX33" fmla="*/ 1058806 w 1716673"/>
                <a:gd name="connsiteY33" fmla="*/ 63274 h 346905"/>
                <a:gd name="connsiteX34" fmla="*/ 1143597 w 1716673"/>
                <a:gd name="connsiteY34" fmla="*/ 63306 h 346905"/>
                <a:gd name="connsiteX35" fmla="*/ 1208559 w 1716673"/>
                <a:gd name="connsiteY35" fmla="*/ 123731 h 346905"/>
                <a:gd name="connsiteX36" fmla="*/ 1208559 w 1716673"/>
                <a:gd name="connsiteY36" fmla="*/ 235124 h 346905"/>
                <a:gd name="connsiteX37" fmla="*/ 1143597 w 1716673"/>
                <a:gd name="connsiteY37" fmla="*/ 283634 h 346905"/>
                <a:gd name="connsiteX38" fmla="*/ 989683 w 1716673"/>
                <a:gd name="connsiteY38" fmla="*/ 283793 h 346905"/>
                <a:gd name="connsiteX39" fmla="*/ 989683 w 1716673"/>
                <a:gd name="connsiteY39" fmla="*/ 346983 h 346905"/>
                <a:gd name="connsiteX40" fmla="*/ 1143597 w 1716673"/>
                <a:gd name="connsiteY40" fmla="*/ 346888 h 346905"/>
                <a:gd name="connsiteX41" fmla="*/ 1277624 w 1716673"/>
                <a:gd name="connsiteY41" fmla="*/ 235124 h 346905"/>
                <a:gd name="connsiteX42" fmla="*/ 1277624 w 1716673"/>
                <a:gd name="connsiteY42" fmla="*/ 123004 h 346905"/>
                <a:gd name="connsiteX43" fmla="*/ 1151339 w 1716673"/>
                <a:gd name="connsiteY43" fmla="*/ 78 h 346905"/>
                <a:gd name="connsiteX44" fmla="*/ 1717026 w 1716673"/>
                <a:gd name="connsiteY44" fmla="*/ 227440 h 346905"/>
                <a:gd name="connsiteX45" fmla="*/ 1716694 w 1716673"/>
                <a:gd name="connsiteY45" fmla="*/ 217608 h 346905"/>
                <a:gd name="connsiteX46" fmla="*/ 1631712 w 1716673"/>
                <a:gd name="connsiteY46" fmla="*/ 149881 h 346905"/>
                <a:gd name="connsiteX47" fmla="*/ 1527881 w 1716673"/>
                <a:gd name="connsiteY47" fmla="*/ 149881 h 346905"/>
                <a:gd name="connsiteX48" fmla="*/ 1525218 w 1716673"/>
                <a:gd name="connsiteY48" fmla="*/ 149875 h 346905"/>
                <a:gd name="connsiteX49" fmla="*/ 1495066 w 1716673"/>
                <a:gd name="connsiteY49" fmla="*/ 117040 h 346905"/>
                <a:gd name="connsiteX50" fmla="*/ 1495168 w 1716673"/>
                <a:gd name="connsiteY50" fmla="*/ 93477 h 346905"/>
                <a:gd name="connsiteX51" fmla="*/ 1528002 w 1716673"/>
                <a:gd name="connsiteY51" fmla="*/ 63331 h 346905"/>
                <a:gd name="connsiteX52" fmla="*/ 1568980 w 1716673"/>
                <a:gd name="connsiteY52" fmla="*/ 63331 h 346905"/>
                <a:gd name="connsiteX53" fmla="*/ 1569382 w 1716673"/>
                <a:gd name="connsiteY53" fmla="*/ 63344 h 346905"/>
                <a:gd name="connsiteX54" fmla="*/ 1672932 w 1716673"/>
                <a:gd name="connsiteY54" fmla="*/ 63344 h 346905"/>
                <a:gd name="connsiteX55" fmla="*/ 1684599 w 1716673"/>
                <a:gd name="connsiteY55" fmla="*/ 55666 h 346905"/>
                <a:gd name="connsiteX56" fmla="*/ 1685261 w 1716673"/>
                <a:gd name="connsiteY56" fmla="*/ 52238 h 346905"/>
                <a:gd name="connsiteX57" fmla="*/ 1685261 w 1716673"/>
                <a:gd name="connsiteY57" fmla="*/ 11184 h 346905"/>
                <a:gd name="connsiteX58" fmla="*/ 1672932 w 1716673"/>
                <a:gd name="connsiteY58" fmla="*/ 90 h 346905"/>
                <a:gd name="connsiteX59" fmla="*/ 1511391 w 1716673"/>
                <a:gd name="connsiteY59" fmla="*/ 109 h 346905"/>
                <a:gd name="connsiteX60" fmla="*/ 1425943 w 1716673"/>
                <a:gd name="connsiteY60" fmla="*/ 78841 h 346905"/>
                <a:gd name="connsiteX61" fmla="*/ 1425950 w 1716673"/>
                <a:gd name="connsiteY61" fmla="*/ 127955 h 346905"/>
                <a:gd name="connsiteX62" fmla="*/ 1504707 w 1716673"/>
                <a:gd name="connsiteY62" fmla="*/ 212855 h 346905"/>
                <a:gd name="connsiteX63" fmla="*/ 1617904 w 1716673"/>
                <a:gd name="connsiteY63" fmla="*/ 212855 h 346905"/>
                <a:gd name="connsiteX64" fmla="*/ 1647896 w 1716673"/>
                <a:gd name="connsiteY64" fmla="*/ 245695 h 346905"/>
                <a:gd name="connsiteX65" fmla="*/ 1647896 w 1716673"/>
                <a:gd name="connsiteY65" fmla="*/ 253571 h 346905"/>
                <a:gd name="connsiteX66" fmla="*/ 1615221 w 1716673"/>
                <a:gd name="connsiteY66" fmla="*/ 283710 h 346905"/>
                <a:gd name="connsiteX67" fmla="*/ 1438279 w 1716673"/>
                <a:gd name="connsiteY67" fmla="*/ 283710 h 346905"/>
                <a:gd name="connsiteX68" fmla="*/ 1426625 w 1716673"/>
                <a:gd name="connsiteY68" fmla="*/ 291344 h 346905"/>
                <a:gd name="connsiteX69" fmla="*/ 1425937 w 1716673"/>
                <a:gd name="connsiteY69" fmla="*/ 294804 h 346905"/>
                <a:gd name="connsiteX70" fmla="*/ 1425937 w 1716673"/>
                <a:gd name="connsiteY70" fmla="*/ 335858 h 346905"/>
                <a:gd name="connsiteX71" fmla="*/ 1438279 w 1716673"/>
                <a:gd name="connsiteY71" fmla="*/ 346964 h 346905"/>
                <a:gd name="connsiteX72" fmla="*/ 1583113 w 1716673"/>
                <a:gd name="connsiteY72" fmla="*/ 346964 h 346905"/>
                <a:gd name="connsiteX73" fmla="*/ 1632241 w 1716673"/>
                <a:gd name="connsiteY73" fmla="*/ 346939 h 346905"/>
                <a:gd name="connsiteX74" fmla="*/ 1717026 w 1716673"/>
                <a:gd name="connsiteY74" fmla="*/ 268169 h 346905"/>
                <a:gd name="connsiteX75" fmla="*/ 1717026 w 1716673"/>
                <a:gd name="connsiteY75" fmla="*/ 227440 h 346905"/>
                <a:gd name="connsiteX76" fmla="*/ 94179 w 1716673"/>
                <a:gd name="connsiteY76" fmla="*/ 63306 h 346905"/>
                <a:gd name="connsiteX77" fmla="*/ 276199 w 1716673"/>
                <a:gd name="connsiteY77" fmla="*/ 63306 h 346905"/>
                <a:gd name="connsiteX78" fmla="*/ 288293 w 1716673"/>
                <a:gd name="connsiteY78" fmla="*/ 52423 h 346905"/>
                <a:gd name="connsiteX79" fmla="*/ 288293 w 1716673"/>
                <a:gd name="connsiteY79" fmla="*/ 10999 h 346905"/>
                <a:gd name="connsiteX80" fmla="*/ 276199 w 1716673"/>
                <a:gd name="connsiteY80" fmla="*/ 78 h 346905"/>
                <a:gd name="connsiteX81" fmla="*/ 92911 w 1716673"/>
                <a:gd name="connsiteY81" fmla="*/ 78 h 346905"/>
                <a:gd name="connsiteX82" fmla="*/ 352 w 1716673"/>
                <a:gd name="connsiteY82" fmla="*/ 85346 h 346905"/>
                <a:gd name="connsiteX83" fmla="*/ 352 w 1716673"/>
                <a:gd name="connsiteY83" fmla="*/ 261721 h 346905"/>
                <a:gd name="connsiteX84" fmla="*/ 92911 w 1716673"/>
                <a:gd name="connsiteY84" fmla="*/ 346983 h 346905"/>
                <a:gd name="connsiteX85" fmla="*/ 276199 w 1716673"/>
                <a:gd name="connsiteY85" fmla="*/ 346983 h 346905"/>
                <a:gd name="connsiteX86" fmla="*/ 288293 w 1716673"/>
                <a:gd name="connsiteY86" fmla="*/ 336094 h 346905"/>
                <a:gd name="connsiteX87" fmla="*/ 288293 w 1716673"/>
                <a:gd name="connsiteY87" fmla="*/ 294670 h 346905"/>
                <a:gd name="connsiteX88" fmla="*/ 276199 w 1716673"/>
                <a:gd name="connsiteY88" fmla="*/ 283793 h 346905"/>
                <a:gd name="connsiteX89" fmla="*/ 94179 w 1716673"/>
                <a:gd name="connsiteY89" fmla="*/ 283793 h 346905"/>
                <a:gd name="connsiteX90" fmla="*/ 69475 w 1716673"/>
                <a:gd name="connsiteY90" fmla="*/ 260631 h 346905"/>
                <a:gd name="connsiteX91" fmla="*/ 69475 w 1716673"/>
                <a:gd name="connsiteY91" fmla="*/ 212230 h 346905"/>
                <a:gd name="connsiteX92" fmla="*/ 178333 w 1716673"/>
                <a:gd name="connsiteY92" fmla="*/ 212230 h 346905"/>
                <a:gd name="connsiteX93" fmla="*/ 190420 w 1716673"/>
                <a:gd name="connsiteY93" fmla="*/ 201334 h 346905"/>
                <a:gd name="connsiteX94" fmla="*/ 190420 w 1716673"/>
                <a:gd name="connsiteY94" fmla="*/ 160790 h 346905"/>
                <a:gd name="connsiteX95" fmla="*/ 178333 w 1716673"/>
                <a:gd name="connsiteY95" fmla="*/ 149881 h 346905"/>
                <a:gd name="connsiteX96" fmla="*/ 69475 w 1716673"/>
                <a:gd name="connsiteY96" fmla="*/ 149881 h 346905"/>
                <a:gd name="connsiteX97" fmla="*/ 69475 w 1716673"/>
                <a:gd name="connsiteY97" fmla="*/ 86481 h 346905"/>
                <a:gd name="connsiteX98" fmla="*/ 94179 w 1716673"/>
                <a:gd name="connsiteY98" fmla="*/ 63306 h 346905"/>
                <a:gd name="connsiteX99" fmla="*/ 397068 w 1716673"/>
                <a:gd name="connsiteY99" fmla="*/ 63312 h 346905"/>
                <a:gd name="connsiteX100" fmla="*/ 397068 w 1716673"/>
                <a:gd name="connsiteY100" fmla="*/ 334647 h 346905"/>
                <a:gd name="connsiteX101" fmla="*/ 385943 w 1716673"/>
                <a:gd name="connsiteY101" fmla="*/ 346977 h 346905"/>
                <a:gd name="connsiteX102" fmla="*/ 339026 w 1716673"/>
                <a:gd name="connsiteY102" fmla="*/ 346977 h 346905"/>
                <a:gd name="connsiteX103" fmla="*/ 327914 w 1716673"/>
                <a:gd name="connsiteY103" fmla="*/ 334647 h 346905"/>
                <a:gd name="connsiteX104" fmla="*/ 327914 w 1716673"/>
                <a:gd name="connsiteY104" fmla="*/ 12439 h 346905"/>
                <a:gd name="connsiteX105" fmla="*/ 339026 w 1716673"/>
                <a:gd name="connsiteY105" fmla="*/ 90 h 346905"/>
                <a:gd name="connsiteX106" fmla="*/ 481840 w 1716673"/>
                <a:gd name="connsiteY106" fmla="*/ 90 h 346905"/>
                <a:gd name="connsiteX107" fmla="*/ 615855 w 1716673"/>
                <a:gd name="connsiteY107" fmla="*/ 123756 h 346905"/>
                <a:gd name="connsiteX108" fmla="*/ 615855 w 1716673"/>
                <a:gd name="connsiteY108" fmla="*/ 335883 h 346905"/>
                <a:gd name="connsiteX109" fmla="*/ 603519 w 1716673"/>
                <a:gd name="connsiteY109" fmla="*/ 346977 h 346905"/>
                <a:gd name="connsiteX110" fmla="*/ 559119 w 1716673"/>
                <a:gd name="connsiteY110" fmla="*/ 346977 h 346905"/>
                <a:gd name="connsiteX111" fmla="*/ 546789 w 1716673"/>
                <a:gd name="connsiteY111" fmla="*/ 335883 h 346905"/>
                <a:gd name="connsiteX112" fmla="*/ 546789 w 1716673"/>
                <a:gd name="connsiteY112" fmla="*/ 123756 h 346905"/>
                <a:gd name="connsiteX113" fmla="*/ 481840 w 1716673"/>
                <a:gd name="connsiteY113" fmla="*/ 63344 h 346905"/>
                <a:gd name="connsiteX114" fmla="*/ 397068 w 1716673"/>
                <a:gd name="connsiteY114" fmla="*/ 63312 h 34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716673" h="346905">
                  <a:moveTo>
                    <a:pt x="1386323" y="26425"/>
                  </a:moveTo>
                  <a:lnTo>
                    <a:pt x="1386221" y="12407"/>
                  </a:lnTo>
                  <a:cubicBezTo>
                    <a:pt x="1386221" y="5608"/>
                    <a:pt x="1381238" y="78"/>
                    <a:pt x="1375114" y="78"/>
                  </a:cubicBezTo>
                  <a:lnTo>
                    <a:pt x="1328351" y="78"/>
                  </a:lnTo>
                  <a:cubicBezTo>
                    <a:pt x="1322234" y="78"/>
                    <a:pt x="1317245" y="5608"/>
                    <a:pt x="1317245" y="12407"/>
                  </a:cubicBezTo>
                  <a:lnTo>
                    <a:pt x="1317245" y="26425"/>
                  </a:lnTo>
                  <a:lnTo>
                    <a:pt x="1317251" y="26425"/>
                  </a:lnTo>
                  <a:lnTo>
                    <a:pt x="1317353" y="50976"/>
                  </a:lnTo>
                  <a:cubicBezTo>
                    <a:pt x="1317353" y="57775"/>
                    <a:pt x="1322329" y="63306"/>
                    <a:pt x="1328459" y="63306"/>
                  </a:cubicBezTo>
                  <a:lnTo>
                    <a:pt x="1375223" y="63306"/>
                  </a:lnTo>
                  <a:cubicBezTo>
                    <a:pt x="1381340" y="63306"/>
                    <a:pt x="1386329" y="57775"/>
                    <a:pt x="1386329" y="50976"/>
                  </a:cubicBezTo>
                  <a:lnTo>
                    <a:pt x="1386329" y="26425"/>
                  </a:lnTo>
                  <a:lnTo>
                    <a:pt x="1386323" y="26425"/>
                  </a:lnTo>
                  <a:close/>
                  <a:moveTo>
                    <a:pt x="1386323" y="218602"/>
                  </a:moveTo>
                  <a:lnTo>
                    <a:pt x="1386221" y="102640"/>
                  </a:lnTo>
                  <a:cubicBezTo>
                    <a:pt x="1386221" y="95835"/>
                    <a:pt x="1381238" y="90310"/>
                    <a:pt x="1375114" y="90310"/>
                  </a:cubicBezTo>
                  <a:lnTo>
                    <a:pt x="1328351" y="90310"/>
                  </a:lnTo>
                  <a:cubicBezTo>
                    <a:pt x="1322234" y="90310"/>
                    <a:pt x="1317245" y="95835"/>
                    <a:pt x="1317245" y="102640"/>
                  </a:cubicBezTo>
                  <a:lnTo>
                    <a:pt x="1317245" y="218602"/>
                  </a:lnTo>
                  <a:lnTo>
                    <a:pt x="1317251" y="218602"/>
                  </a:lnTo>
                  <a:lnTo>
                    <a:pt x="1317353" y="334558"/>
                  </a:lnTo>
                  <a:cubicBezTo>
                    <a:pt x="1317353" y="341357"/>
                    <a:pt x="1322329" y="346888"/>
                    <a:pt x="1328459" y="346888"/>
                  </a:cubicBezTo>
                  <a:lnTo>
                    <a:pt x="1375223" y="346888"/>
                  </a:lnTo>
                  <a:cubicBezTo>
                    <a:pt x="1381340" y="346888"/>
                    <a:pt x="1386329" y="341357"/>
                    <a:pt x="1386329" y="334558"/>
                  </a:cubicBezTo>
                  <a:lnTo>
                    <a:pt x="1386329" y="218602"/>
                  </a:lnTo>
                  <a:lnTo>
                    <a:pt x="1386323" y="218602"/>
                  </a:lnTo>
                  <a:close/>
                  <a:moveTo>
                    <a:pt x="1151339" y="78"/>
                  </a:moveTo>
                  <a:lnTo>
                    <a:pt x="1000796" y="78"/>
                  </a:lnTo>
                  <a:cubicBezTo>
                    <a:pt x="994666" y="78"/>
                    <a:pt x="989683" y="5627"/>
                    <a:pt x="989683" y="12439"/>
                  </a:cubicBezTo>
                  <a:lnTo>
                    <a:pt x="989683" y="216448"/>
                  </a:lnTo>
                  <a:cubicBezTo>
                    <a:pt x="989683" y="223260"/>
                    <a:pt x="994659" y="228791"/>
                    <a:pt x="1000776" y="228791"/>
                  </a:cubicBezTo>
                  <a:lnTo>
                    <a:pt x="1047636" y="228791"/>
                  </a:lnTo>
                  <a:cubicBezTo>
                    <a:pt x="1053765" y="228791"/>
                    <a:pt x="1058742" y="223260"/>
                    <a:pt x="1058742" y="216448"/>
                  </a:cubicBezTo>
                  <a:lnTo>
                    <a:pt x="1058806" y="63274"/>
                  </a:lnTo>
                  <a:lnTo>
                    <a:pt x="1143597" y="63306"/>
                  </a:lnTo>
                  <a:cubicBezTo>
                    <a:pt x="1179420" y="63306"/>
                    <a:pt x="1208559" y="90412"/>
                    <a:pt x="1208559" y="123731"/>
                  </a:cubicBezTo>
                  <a:lnTo>
                    <a:pt x="1208559" y="235124"/>
                  </a:lnTo>
                  <a:cubicBezTo>
                    <a:pt x="1208559" y="268430"/>
                    <a:pt x="1179420" y="283634"/>
                    <a:pt x="1143597" y="283634"/>
                  </a:cubicBezTo>
                  <a:lnTo>
                    <a:pt x="989683" y="283793"/>
                  </a:lnTo>
                  <a:lnTo>
                    <a:pt x="989683" y="346983"/>
                  </a:lnTo>
                  <a:lnTo>
                    <a:pt x="1143597" y="346888"/>
                  </a:lnTo>
                  <a:cubicBezTo>
                    <a:pt x="1217498" y="346888"/>
                    <a:pt x="1277624" y="303310"/>
                    <a:pt x="1277624" y="235124"/>
                  </a:cubicBezTo>
                  <a:lnTo>
                    <a:pt x="1277624" y="123004"/>
                  </a:lnTo>
                  <a:cubicBezTo>
                    <a:pt x="1277624" y="57578"/>
                    <a:pt x="1222730" y="78"/>
                    <a:pt x="1151339" y="78"/>
                  </a:cubicBezTo>
                  <a:moveTo>
                    <a:pt x="1717026" y="227440"/>
                  </a:moveTo>
                  <a:cubicBezTo>
                    <a:pt x="1717026" y="224305"/>
                    <a:pt x="1717000" y="221094"/>
                    <a:pt x="1716694" y="217608"/>
                  </a:cubicBezTo>
                  <a:cubicBezTo>
                    <a:pt x="1713285" y="179077"/>
                    <a:pt x="1673575" y="149881"/>
                    <a:pt x="1631712" y="149881"/>
                  </a:cubicBezTo>
                  <a:lnTo>
                    <a:pt x="1527881" y="149881"/>
                  </a:lnTo>
                  <a:lnTo>
                    <a:pt x="1525218" y="149875"/>
                  </a:lnTo>
                  <a:cubicBezTo>
                    <a:pt x="1508587" y="149875"/>
                    <a:pt x="1495066" y="135137"/>
                    <a:pt x="1495066" y="117040"/>
                  </a:cubicBezTo>
                  <a:lnTo>
                    <a:pt x="1495168" y="93477"/>
                  </a:lnTo>
                  <a:cubicBezTo>
                    <a:pt x="1495168" y="76859"/>
                    <a:pt x="1509900" y="63331"/>
                    <a:pt x="1528002" y="63331"/>
                  </a:cubicBezTo>
                  <a:lnTo>
                    <a:pt x="1568980" y="63331"/>
                  </a:lnTo>
                  <a:lnTo>
                    <a:pt x="1569382" y="63344"/>
                  </a:lnTo>
                  <a:lnTo>
                    <a:pt x="1672932" y="63344"/>
                  </a:lnTo>
                  <a:cubicBezTo>
                    <a:pt x="1678227" y="63344"/>
                    <a:pt x="1682917" y="60260"/>
                    <a:pt x="1684599" y="55666"/>
                  </a:cubicBezTo>
                  <a:cubicBezTo>
                    <a:pt x="1685045" y="54443"/>
                    <a:pt x="1685261" y="53321"/>
                    <a:pt x="1685261" y="52238"/>
                  </a:cubicBezTo>
                  <a:lnTo>
                    <a:pt x="1685261" y="11184"/>
                  </a:lnTo>
                  <a:cubicBezTo>
                    <a:pt x="1685261" y="5054"/>
                    <a:pt x="1679731" y="90"/>
                    <a:pt x="1672932" y="90"/>
                  </a:cubicBezTo>
                  <a:lnTo>
                    <a:pt x="1511391" y="109"/>
                  </a:lnTo>
                  <a:cubicBezTo>
                    <a:pt x="1464583" y="109"/>
                    <a:pt x="1425943" y="35442"/>
                    <a:pt x="1425943" y="78841"/>
                  </a:cubicBezTo>
                  <a:lnTo>
                    <a:pt x="1425950" y="127955"/>
                  </a:lnTo>
                  <a:cubicBezTo>
                    <a:pt x="1425950" y="174770"/>
                    <a:pt x="1461276" y="212855"/>
                    <a:pt x="1504707" y="212855"/>
                  </a:cubicBezTo>
                  <a:lnTo>
                    <a:pt x="1617904" y="212855"/>
                  </a:lnTo>
                  <a:cubicBezTo>
                    <a:pt x="1634522" y="212855"/>
                    <a:pt x="1647896" y="227587"/>
                    <a:pt x="1647896" y="245695"/>
                  </a:cubicBezTo>
                  <a:lnTo>
                    <a:pt x="1647896" y="253571"/>
                  </a:lnTo>
                  <a:cubicBezTo>
                    <a:pt x="1647896" y="270195"/>
                    <a:pt x="1633324" y="283710"/>
                    <a:pt x="1615221" y="283710"/>
                  </a:cubicBezTo>
                  <a:lnTo>
                    <a:pt x="1438279" y="283710"/>
                  </a:lnTo>
                  <a:cubicBezTo>
                    <a:pt x="1432978" y="283710"/>
                    <a:pt x="1428288" y="286775"/>
                    <a:pt x="1426625" y="291344"/>
                  </a:cubicBezTo>
                  <a:cubicBezTo>
                    <a:pt x="1426160" y="292593"/>
                    <a:pt x="1425937" y="293727"/>
                    <a:pt x="1425937" y="294804"/>
                  </a:cubicBezTo>
                  <a:lnTo>
                    <a:pt x="1425937" y="335858"/>
                  </a:lnTo>
                  <a:cubicBezTo>
                    <a:pt x="1425937" y="341981"/>
                    <a:pt x="1431474" y="346964"/>
                    <a:pt x="1438279" y="346964"/>
                  </a:cubicBezTo>
                  <a:lnTo>
                    <a:pt x="1583113" y="346964"/>
                  </a:lnTo>
                  <a:lnTo>
                    <a:pt x="1632241" y="346939"/>
                  </a:lnTo>
                  <a:cubicBezTo>
                    <a:pt x="1679036" y="346939"/>
                    <a:pt x="1717026" y="311613"/>
                    <a:pt x="1717026" y="268169"/>
                  </a:cubicBezTo>
                  <a:lnTo>
                    <a:pt x="1717026" y="227440"/>
                  </a:lnTo>
                  <a:close/>
                  <a:moveTo>
                    <a:pt x="94179" y="63306"/>
                  </a:moveTo>
                  <a:lnTo>
                    <a:pt x="276199" y="63306"/>
                  </a:lnTo>
                  <a:cubicBezTo>
                    <a:pt x="282864" y="63306"/>
                    <a:pt x="288293" y="58425"/>
                    <a:pt x="288293" y="52423"/>
                  </a:cubicBezTo>
                  <a:lnTo>
                    <a:pt x="288293" y="10999"/>
                  </a:lnTo>
                  <a:cubicBezTo>
                    <a:pt x="288293" y="4984"/>
                    <a:pt x="283119" y="78"/>
                    <a:pt x="276199" y="78"/>
                  </a:cubicBezTo>
                  <a:lnTo>
                    <a:pt x="92911" y="78"/>
                  </a:lnTo>
                  <a:cubicBezTo>
                    <a:pt x="41878" y="78"/>
                    <a:pt x="352" y="38283"/>
                    <a:pt x="352" y="85346"/>
                  </a:cubicBezTo>
                  <a:lnTo>
                    <a:pt x="352" y="261721"/>
                  </a:lnTo>
                  <a:cubicBezTo>
                    <a:pt x="352" y="308765"/>
                    <a:pt x="41878" y="346983"/>
                    <a:pt x="92911" y="346983"/>
                  </a:cubicBezTo>
                  <a:lnTo>
                    <a:pt x="276199" y="346983"/>
                  </a:lnTo>
                  <a:cubicBezTo>
                    <a:pt x="282864" y="346983"/>
                    <a:pt x="288293" y="342096"/>
                    <a:pt x="288293" y="336094"/>
                  </a:cubicBezTo>
                  <a:lnTo>
                    <a:pt x="288293" y="294670"/>
                  </a:lnTo>
                  <a:cubicBezTo>
                    <a:pt x="288293" y="288668"/>
                    <a:pt x="282864" y="283793"/>
                    <a:pt x="276199" y="283793"/>
                  </a:cubicBezTo>
                  <a:lnTo>
                    <a:pt x="94179" y="283793"/>
                  </a:lnTo>
                  <a:cubicBezTo>
                    <a:pt x="80791" y="283793"/>
                    <a:pt x="69475" y="273184"/>
                    <a:pt x="69475" y="260631"/>
                  </a:cubicBezTo>
                  <a:lnTo>
                    <a:pt x="69475" y="212230"/>
                  </a:lnTo>
                  <a:lnTo>
                    <a:pt x="178333" y="212230"/>
                  </a:lnTo>
                  <a:cubicBezTo>
                    <a:pt x="184998" y="212230"/>
                    <a:pt x="190420" y="207337"/>
                    <a:pt x="190420" y="201334"/>
                  </a:cubicBezTo>
                  <a:lnTo>
                    <a:pt x="190420" y="160790"/>
                  </a:lnTo>
                  <a:cubicBezTo>
                    <a:pt x="190420" y="154775"/>
                    <a:pt x="184998" y="149881"/>
                    <a:pt x="178333" y="149881"/>
                  </a:cubicBezTo>
                  <a:lnTo>
                    <a:pt x="69475" y="149881"/>
                  </a:lnTo>
                  <a:lnTo>
                    <a:pt x="69475" y="86481"/>
                  </a:lnTo>
                  <a:cubicBezTo>
                    <a:pt x="69475" y="73915"/>
                    <a:pt x="80791" y="63306"/>
                    <a:pt x="94179" y="63306"/>
                  </a:cubicBezTo>
                  <a:moveTo>
                    <a:pt x="397068" y="63312"/>
                  </a:moveTo>
                  <a:lnTo>
                    <a:pt x="397068" y="334647"/>
                  </a:lnTo>
                  <a:cubicBezTo>
                    <a:pt x="397068" y="341446"/>
                    <a:pt x="392073" y="346977"/>
                    <a:pt x="385943" y="346977"/>
                  </a:cubicBezTo>
                  <a:lnTo>
                    <a:pt x="339026" y="346977"/>
                  </a:lnTo>
                  <a:cubicBezTo>
                    <a:pt x="332897" y="346977"/>
                    <a:pt x="327914" y="341446"/>
                    <a:pt x="327914" y="334647"/>
                  </a:cubicBezTo>
                  <a:lnTo>
                    <a:pt x="327914" y="12439"/>
                  </a:lnTo>
                  <a:cubicBezTo>
                    <a:pt x="327914" y="5627"/>
                    <a:pt x="332897" y="90"/>
                    <a:pt x="339026" y="90"/>
                  </a:cubicBezTo>
                  <a:lnTo>
                    <a:pt x="481840" y="90"/>
                  </a:lnTo>
                  <a:cubicBezTo>
                    <a:pt x="555736" y="90"/>
                    <a:pt x="615855" y="55558"/>
                    <a:pt x="615855" y="123756"/>
                  </a:cubicBezTo>
                  <a:lnTo>
                    <a:pt x="615855" y="335883"/>
                  </a:lnTo>
                  <a:cubicBezTo>
                    <a:pt x="615855" y="342007"/>
                    <a:pt x="610324" y="346977"/>
                    <a:pt x="603519" y="346977"/>
                  </a:cubicBezTo>
                  <a:lnTo>
                    <a:pt x="559119" y="346977"/>
                  </a:lnTo>
                  <a:cubicBezTo>
                    <a:pt x="552320" y="346977"/>
                    <a:pt x="546789" y="342007"/>
                    <a:pt x="546789" y="335883"/>
                  </a:cubicBezTo>
                  <a:lnTo>
                    <a:pt x="546789" y="123756"/>
                  </a:lnTo>
                  <a:cubicBezTo>
                    <a:pt x="546789" y="90450"/>
                    <a:pt x="517657" y="63344"/>
                    <a:pt x="481840" y="63344"/>
                  </a:cubicBezTo>
                  <a:lnTo>
                    <a:pt x="397068" y="63312"/>
                  </a:lnTo>
                  <a:close/>
                </a:path>
              </a:pathLst>
            </a:custGeom>
            <a:solidFill>
              <a:schemeClr val="tx2"/>
            </a:solidFill>
            <a:ln w="6362" cap="flat">
              <a:noFill/>
              <a:prstDash val="solid"/>
              <a:round/>
            </a:ln>
          </p:spPr>
          <p:txBody>
            <a:bodyPr rtlCol="0" anchor="ctr"/>
            <a:lstStyle/>
            <a:p>
              <a:endParaRPr lang="fr-FR"/>
            </a:p>
          </p:txBody>
        </p:sp>
      </p:grpSp>
      <p:pic>
        <p:nvPicPr>
          <p:cNvPr id="9" name="Imag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701472"/>
            <a:ext cx="12192000" cy="1714500"/>
          </a:xfrm>
          <a:prstGeom prst="rect">
            <a:avLst/>
          </a:prstGeom>
        </p:spPr>
      </p:pic>
      <p:sp>
        <p:nvSpPr>
          <p:cNvPr id="4" name="Espace réservé de la date 3"/>
          <p:cNvSpPr>
            <a:spLocks noGrp="1"/>
          </p:cNvSpPr>
          <p:nvPr>
            <p:ph type="dt" sz="half" idx="14"/>
          </p:nvPr>
        </p:nvSpPr>
        <p:spPr>
          <a:xfrm>
            <a:off x="6588000" y="5976000"/>
            <a:ext cx="5040000" cy="346905"/>
          </a:xfrm>
        </p:spPr>
        <p:txBody>
          <a:bodyPr anchor="b"/>
          <a:lstStyle>
            <a:lvl1pPr>
              <a:defRPr sz="1400"/>
            </a:lvl1pPr>
          </a:lstStyle>
          <a:p>
            <a:r>
              <a:rPr lang="fr-FR" smtClean="0"/>
              <a:t>Diffusion restreinte - Avril 2024</a:t>
            </a:r>
            <a:endParaRPr lang="fr-FR" dirty="0"/>
          </a:p>
        </p:txBody>
      </p:sp>
    </p:spTree>
    <p:extLst>
      <p:ext uri="{BB962C8B-B14F-4D97-AF65-F5344CB8AC3E}">
        <p14:creationId xmlns:p14="http://schemas.microsoft.com/office/powerpoint/2010/main" val="3083510883"/>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ommaire 4">
    <p:spTree>
      <p:nvGrpSpPr>
        <p:cNvPr id="1" name=""/>
        <p:cNvGrpSpPr/>
        <p:nvPr/>
      </p:nvGrpSpPr>
      <p:grpSpPr>
        <a:xfrm>
          <a:off x="0" y="0"/>
          <a:ext cx="0" cy="0"/>
          <a:chOff x="0" y="0"/>
          <a:chExt cx="0" cy="0"/>
        </a:xfrm>
      </p:grpSpPr>
      <p:sp>
        <p:nvSpPr>
          <p:cNvPr id="18" name="Espace réservé du graphique SmartArt 17"/>
          <p:cNvSpPr>
            <a:spLocks noGrp="1"/>
          </p:cNvSpPr>
          <p:nvPr>
            <p:ph type="dgm" sz="quarter" idx="49"/>
          </p:nvPr>
        </p:nvSpPr>
        <p:spPr>
          <a:xfrm>
            <a:off x="468000" y="900000"/>
            <a:ext cx="565200" cy="900000"/>
          </a:xfrm>
          <a:blipFill>
            <a:blip r:embed="rId2" cstate="print">
              <a:extLst>
                <a:ext uri="{28A0092B-C50C-407E-A947-70E740481C1C}">
                  <a14:useLocalDpi xmlns:a14="http://schemas.microsoft.com/office/drawing/2010/main" val="0"/>
                </a:ext>
              </a:extLst>
            </a:blip>
            <a:stretch>
              <a:fillRect/>
            </a:stretch>
          </a:blipFill>
        </p:spPr>
        <p:txBody>
          <a:bodyPr/>
          <a:lstStyle>
            <a:lvl1pPr>
              <a:defRPr sz="800">
                <a:solidFill>
                  <a:schemeClr val="bg1"/>
                </a:solidFill>
                <a:latin typeface="+mn-lt"/>
              </a:defRPr>
            </a:lvl1pPr>
          </a:lstStyle>
          <a:p>
            <a:endParaRPr lang="fr-FR" dirty="0"/>
          </a:p>
        </p:txBody>
      </p:sp>
      <p:sp>
        <p:nvSpPr>
          <p:cNvPr id="33" name="Espace réservé du graphique SmartArt 11">
            <a:extLst>
              <a:ext uri="{FF2B5EF4-FFF2-40B4-BE49-F238E27FC236}">
                <a16:creationId xmlns:a16="http://schemas.microsoft.com/office/drawing/2014/main" id="{1575C659-8717-45D7-AD17-F5BE89E96DE2}"/>
              </a:ext>
            </a:extLst>
          </p:cNvPr>
          <p:cNvSpPr>
            <a:spLocks noGrp="1"/>
          </p:cNvSpPr>
          <p:nvPr>
            <p:ph type="dgm" sz="quarter" idx="17"/>
          </p:nvPr>
        </p:nvSpPr>
        <p:spPr>
          <a:xfrm>
            <a:off x="6300000" y="900000"/>
            <a:ext cx="72000" cy="2520000"/>
          </a:xfrm>
          <a:gradFill flip="none" rotWithShape="0">
            <a:gsLst>
              <a:gs pos="40000">
                <a:schemeClr val="accent2"/>
              </a:gs>
              <a:gs pos="0">
                <a:schemeClr val="accent2"/>
              </a:gs>
              <a:gs pos="100000">
                <a:schemeClr val="bg1"/>
              </a:gs>
            </a:gsLst>
            <a:lin ang="5400000" scaled="1"/>
            <a:tileRect/>
          </a:gradFill>
        </p:spPr>
        <p:txBody>
          <a:bodyPr>
            <a:noAutofit/>
          </a:bodyPr>
          <a:lstStyle>
            <a:lvl1pPr>
              <a:defRPr sz="100">
                <a:noFill/>
              </a:defRPr>
            </a:lvl1pPr>
          </a:lstStyle>
          <a:p>
            <a:endParaRPr lang="fr-FR"/>
          </a:p>
        </p:txBody>
      </p:sp>
      <p:sp>
        <p:nvSpPr>
          <p:cNvPr id="36" name="Espace réservé du graphique SmartArt 11">
            <a:extLst>
              <a:ext uri="{FF2B5EF4-FFF2-40B4-BE49-F238E27FC236}">
                <a16:creationId xmlns:a16="http://schemas.microsoft.com/office/drawing/2014/main" id="{D76339D7-380A-4CAD-8DC6-F87ABD51F4C2}"/>
              </a:ext>
            </a:extLst>
          </p:cNvPr>
          <p:cNvSpPr>
            <a:spLocks noGrp="1"/>
          </p:cNvSpPr>
          <p:nvPr>
            <p:ph type="dgm" sz="quarter" idx="20"/>
          </p:nvPr>
        </p:nvSpPr>
        <p:spPr>
          <a:xfrm>
            <a:off x="360000" y="3780000"/>
            <a:ext cx="72000" cy="2520000"/>
          </a:xfrm>
          <a:gradFill flip="none" rotWithShape="0">
            <a:gsLst>
              <a:gs pos="40000">
                <a:schemeClr val="accent1"/>
              </a:gs>
              <a:gs pos="0">
                <a:schemeClr val="accent1"/>
              </a:gs>
              <a:gs pos="100000">
                <a:schemeClr val="bg1"/>
              </a:gs>
            </a:gsLst>
            <a:lin ang="5400000" scaled="1"/>
            <a:tileRect/>
          </a:gradFill>
        </p:spPr>
        <p:txBody>
          <a:bodyPr>
            <a:noAutofit/>
          </a:bodyPr>
          <a:lstStyle>
            <a:lvl1pPr>
              <a:defRPr sz="100">
                <a:noFill/>
              </a:defRPr>
            </a:lvl1pPr>
          </a:lstStyle>
          <a:p>
            <a:endParaRPr lang="fr-FR"/>
          </a:p>
        </p:txBody>
      </p:sp>
      <p:sp>
        <p:nvSpPr>
          <p:cNvPr id="39" name="Espace réservé du graphique SmartArt 11">
            <a:extLst>
              <a:ext uri="{FF2B5EF4-FFF2-40B4-BE49-F238E27FC236}">
                <a16:creationId xmlns:a16="http://schemas.microsoft.com/office/drawing/2014/main" id="{5B9C1650-E33A-490E-97E5-3BB054BA4C58}"/>
              </a:ext>
            </a:extLst>
          </p:cNvPr>
          <p:cNvSpPr>
            <a:spLocks noGrp="1"/>
          </p:cNvSpPr>
          <p:nvPr>
            <p:ph type="dgm" sz="quarter" idx="23"/>
          </p:nvPr>
        </p:nvSpPr>
        <p:spPr>
          <a:xfrm>
            <a:off x="6300000" y="3780000"/>
            <a:ext cx="72000" cy="2520000"/>
          </a:xfrm>
          <a:gradFill flip="none" rotWithShape="0">
            <a:gsLst>
              <a:gs pos="40000">
                <a:schemeClr val="bg2"/>
              </a:gs>
              <a:gs pos="0">
                <a:schemeClr val="bg2"/>
              </a:gs>
              <a:gs pos="100000">
                <a:schemeClr val="bg1"/>
              </a:gs>
            </a:gsLst>
            <a:lin ang="5400000" scaled="1"/>
            <a:tileRect/>
          </a:gradFill>
        </p:spPr>
        <p:txBody>
          <a:bodyPr>
            <a:noAutofit/>
          </a:bodyPr>
          <a:lstStyle>
            <a:lvl1pPr>
              <a:defRPr sz="100">
                <a:noFill/>
              </a:defRPr>
            </a:lvl1pPr>
          </a:lstStyle>
          <a:p>
            <a:endParaRPr lang="fr-FR"/>
          </a:p>
        </p:txBody>
      </p:sp>
      <p:sp>
        <p:nvSpPr>
          <p:cNvPr id="3" name="Espace réservé de la date 2"/>
          <p:cNvSpPr>
            <a:spLocks noGrp="1"/>
          </p:cNvSpPr>
          <p:nvPr>
            <p:ph type="dt" sz="half" idx="37"/>
          </p:nvPr>
        </p:nvSpPr>
        <p:spPr/>
        <p:txBody>
          <a:bodyPr/>
          <a:lstStyle/>
          <a:p>
            <a:r>
              <a:rPr lang="fr-FR" smtClean="0"/>
              <a:t>Diffusion restreinte - Avril 2024</a:t>
            </a:r>
            <a:endParaRPr lang="fr-FR"/>
          </a:p>
        </p:txBody>
      </p:sp>
      <p:sp>
        <p:nvSpPr>
          <p:cNvPr id="7" name="Espace réservé du pied de page 6"/>
          <p:cNvSpPr>
            <a:spLocks noGrp="1"/>
          </p:cNvSpPr>
          <p:nvPr>
            <p:ph type="ftr" sz="quarter" idx="38"/>
          </p:nvPr>
        </p:nvSpPr>
        <p:spPr/>
        <p:txBody>
          <a:bodyPr/>
          <a:lstStyle/>
          <a:p>
            <a:r>
              <a:rPr lang="fr-FR" smtClean="0"/>
              <a:t>Bilatérale Enedis - DGEC - Mobilité électrique</a:t>
            </a:r>
            <a:endParaRPr lang="fr-FR"/>
          </a:p>
        </p:txBody>
      </p:sp>
      <p:sp>
        <p:nvSpPr>
          <p:cNvPr id="8" name="Espace réservé du numéro de diapositive 7"/>
          <p:cNvSpPr>
            <a:spLocks noGrp="1"/>
          </p:cNvSpPr>
          <p:nvPr>
            <p:ph type="sldNum" sz="quarter" idx="39"/>
          </p:nvPr>
        </p:nvSpPr>
        <p:spPr/>
        <p:txBody>
          <a:bodyPr/>
          <a:lstStyle/>
          <a:p>
            <a:fld id="{6B54B0F7-55DD-40D6-B7F4-70B586885C0B}" type="slidenum">
              <a:rPr lang="fr-FR" smtClean="0"/>
              <a:pPr/>
              <a:t>‹N°›</a:t>
            </a:fld>
            <a:endParaRPr lang="fr-FR"/>
          </a:p>
        </p:txBody>
      </p:sp>
      <p:sp>
        <p:nvSpPr>
          <p:cNvPr id="10" name="Titre 9"/>
          <p:cNvSpPr>
            <a:spLocks noGrp="1"/>
          </p:cNvSpPr>
          <p:nvPr>
            <p:ph type="title"/>
          </p:nvPr>
        </p:nvSpPr>
        <p:spPr/>
        <p:txBody>
          <a:bodyPr/>
          <a:lstStyle/>
          <a:p>
            <a:r>
              <a:rPr lang="fr-FR" smtClean="0"/>
              <a:t>Modifiez le style du titre</a:t>
            </a:r>
            <a:endParaRPr lang="fr-FR"/>
          </a:p>
        </p:txBody>
      </p:sp>
      <p:sp>
        <p:nvSpPr>
          <p:cNvPr id="16" name="Espace réservé du texte 15"/>
          <p:cNvSpPr>
            <a:spLocks noGrp="1"/>
          </p:cNvSpPr>
          <p:nvPr>
            <p:ph type="body" sz="quarter" idx="40"/>
          </p:nvPr>
        </p:nvSpPr>
        <p:spPr>
          <a:xfrm>
            <a:off x="540000" y="1836000"/>
            <a:ext cx="5400000" cy="1440000"/>
          </a:xfrm>
          <a:noFill/>
        </p:spPr>
        <p:txBody>
          <a:bodyPr/>
          <a:lstStyle>
            <a:lvl1pPr>
              <a:defRPr sz="2000">
                <a:solidFill>
                  <a:schemeClr val="tx2"/>
                </a:solidFill>
              </a:defRPr>
            </a:lvl1pPr>
            <a:lvl3pPr marL="174625" indent="-174625">
              <a:defRPr/>
            </a:lvl3pPr>
            <a:lvl4pPr marL="174625" indent="0">
              <a:defRPr/>
            </a:lvl4pPr>
            <a:lvl5pPr marL="174625" indent="0">
              <a:spcBef>
                <a:spcPts val="0"/>
              </a:spcBef>
              <a:defRPr/>
            </a:lvl5pPr>
          </a:lstStyle>
          <a:p>
            <a:pPr lvl="0"/>
            <a:r>
              <a:rPr lang="fr-FR" dirty="0" smtClean="0"/>
              <a:t>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55" name="Espace réservé du texte 15"/>
          <p:cNvSpPr>
            <a:spLocks noGrp="1"/>
          </p:cNvSpPr>
          <p:nvPr>
            <p:ph type="body" sz="quarter" idx="41"/>
          </p:nvPr>
        </p:nvSpPr>
        <p:spPr>
          <a:xfrm>
            <a:off x="6480000" y="1836000"/>
            <a:ext cx="5400000" cy="1440000"/>
          </a:xfrm>
          <a:noFill/>
        </p:spPr>
        <p:txBody>
          <a:bodyPr vert="horz" lIns="0" tIns="0" rIns="0" bIns="0" rtlCol="0">
            <a:noAutofit/>
          </a:bodyPr>
          <a:lstStyle>
            <a:lvl1pPr>
              <a:defRPr lang="fr-FR" sz="2000" dirty="0" smtClean="0"/>
            </a:lvl1pPr>
            <a:lvl2pPr>
              <a:defRPr lang="fr-FR" dirty="0" smtClean="0"/>
            </a:lvl2pPr>
            <a:lvl3pPr>
              <a:defRPr lang="fr-FR" dirty="0" smtClean="0"/>
            </a:lvl3pPr>
            <a:lvl4pPr>
              <a:defRPr lang="fr-FR" dirty="0" smtClean="0"/>
            </a:lvl4pPr>
            <a:lvl5pPr>
              <a:defRPr lang="fr-FR" dirty="0"/>
            </a:lvl5pPr>
          </a:lstStyle>
          <a:p>
            <a:pPr lvl="0"/>
            <a:r>
              <a:rPr lang="fr-FR" dirty="0" smtClean="0"/>
              <a:t>Modifier les styles du texte du masque</a:t>
            </a:r>
          </a:p>
          <a:p>
            <a:pPr lvl="1"/>
            <a:r>
              <a:rPr lang="fr-FR" dirty="0" smtClean="0"/>
              <a:t>Deuxième niveau</a:t>
            </a:r>
          </a:p>
          <a:p>
            <a:pPr marL="174625" lvl="2"/>
            <a:r>
              <a:rPr lang="fr-FR" dirty="0" smtClean="0"/>
              <a:t>Troisième niveau</a:t>
            </a:r>
          </a:p>
          <a:p>
            <a:pPr marL="174625" lvl="3"/>
            <a:r>
              <a:rPr lang="fr-FR" dirty="0" smtClean="0"/>
              <a:t>Quatrième niveau</a:t>
            </a:r>
          </a:p>
          <a:p>
            <a:pPr marL="174625" lvl="4">
              <a:spcBef>
                <a:spcPts val="0"/>
              </a:spcBef>
            </a:pPr>
            <a:r>
              <a:rPr lang="fr-FR" dirty="0" smtClean="0"/>
              <a:t>Cinquième niveau</a:t>
            </a:r>
            <a:endParaRPr lang="fr-FR" dirty="0"/>
          </a:p>
        </p:txBody>
      </p:sp>
      <p:sp>
        <p:nvSpPr>
          <p:cNvPr id="59" name="Espace réservé du texte 15"/>
          <p:cNvSpPr>
            <a:spLocks noGrp="1"/>
          </p:cNvSpPr>
          <p:nvPr>
            <p:ph type="body" sz="quarter" idx="42"/>
          </p:nvPr>
        </p:nvSpPr>
        <p:spPr>
          <a:xfrm>
            <a:off x="540000" y="4716000"/>
            <a:ext cx="5400000" cy="1440000"/>
          </a:xfrm>
          <a:noFill/>
        </p:spPr>
        <p:txBody>
          <a:bodyPr vert="horz" lIns="0" tIns="0" rIns="0" bIns="0" rtlCol="0">
            <a:noAutofit/>
          </a:bodyPr>
          <a:lstStyle>
            <a:lvl1pPr>
              <a:defRPr lang="fr-FR" sz="2000" dirty="0" smtClean="0"/>
            </a:lvl1pPr>
            <a:lvl2pPr>
              <a:defRPr lang="fr-FR" dirty="0" smtClean="0"/>
            </a:lvl2pPr>
            <a:lvl3pPr>
              <a:defRPr lang="fr-FR" dirty="0" smtClean="0"/>
            </a:lvl3pPr>
            <a:lvl4pPr>
              <a:defRPr lang="fr-FR" dirty="0" smtClean="0"/>
            </a:lvl4pPr>
            <a:lvl5pPr>
              <a:defRPr lang="fr-FR" dirty="0"/>
            </a:lvl5pPr>
          </a:lstStyle>
          <a:p>
            <a:pPr lvl="0"/>
            <a:r>
              <a:rPr lang="fr-FR" dirty="0" smtClean="0"/>
              <a:t>Modifier les styles du texte du masque</a:t>
            </a:r>
          </a:p>
          <a:p>
            <a:pPr lvl="1"/>
            <a:r>
              <a:rPr lang="fr-FR" dirty="0" smtClean="0"/>
              <a:t>Deuxième niveau</a:t>
            </a:r>
          </a:p>
          <a:p>
            <a:pPr marL="174625" lvl="2"/>
            <a:r>
              <a:rPr lang="fr-FR" dirty="0" smtClean="0"/>
              <a:t>Troisième niveau</a:t>
            </a:r>
          </a:p>
          <a:p>
            <a:pPr marL="174625" lvl="3"/>
            <a:r>
              <a:rPr lang="fr-FR" dirty="0" smtClean="0"/>
              <a:t>Quatrième niveau</a:t>
            </a:r>
          </a:p>
          <a:p>
            <a:pPr marL="174625" lvl="4">
              <a:spcBef>
                <a:spcPts val="0"/>
              </a:spcBef>
            </a:pPr>
            <a:r>
              <a:rPr lang="fr-FR" dirty="0" smtClean="0"/>
              <a:t>Cinquième niveau</a:t>
            </a:r>
            <a:endParaRPr lang="fr-FR" dirty="0"/>
          </a:p>
        </p:txBody>
      </p:sp>
      <p:sp>
        <p:nvSpPr>
          <p:cNvPr id="60" name="Espace réservé du texte 15"/>
          <p:cNvSpPr>
            <a:spLocks noGrp="1"/>
          </p:cNvSpPr>
          <p:nvPr>
            <p:ph type="body" sz="quarter" idx="43"/>
          </p:nvPr>
        </p:nvSpPr>
        <p:spPr>
          <a:xfrm>
            <a:off x="6480000" y="4716000"/>
            <a:ext cx="5400000" cy="1440000"/>
          </a:xfrm>
          <a:noFill/>
        </p:spPr>
        <p:txBody>
          <a:bodyPr vert="horz" lIns="0" tIns="0" rIns="0" bIns="0" rtlCol="0">
            <a:noAutofit/>
          </a:bodyPr>
          <a:lstStyle>
            <a:lvl1pPr>
              <a:defRPr lang="fr-FR" sz="2000" dirty="0" smtClean="0"/>
            </a:lvl1pPr>
            <a:lvl2pPr>
              <a:defRPr lang="fr-FR" dirty="0" smtClean="0"/>
            </a:lvl2pPr>
            <a:lvl3pPr>
              <a:defRPr lang="fr-FR" dirty="0" smtClean="0"/>
            </a:lvl3pPr>
            <a:lvl4pPr>
              <a:defRPr lang="fr-FR" dirty="0" smtClean="0"/>
            </a:lvl4pPr>
            <a:lvl5pPr>
              <a:defRPr lang="fr-FR" dirty="0"/>
            </a:lvl5pPr>
          </a:lstStyle>
          <a:p>
            <a:pPr lvl="0"/>
            <a:r>
              <a:rPr lang="fr-FR" dirty="0" smtClean="0"/>
              <a:t>Modifier les styles du texte du masque</a:t>
            </a:r>
          </a:p>
          <a:p>
            <a:pPr lvl="1"/>
            <a:r>
              <a:rPr lang="fr-FR" dirty="0" smtClean="0"/>
              <a:t>Deuxième niveau</a:t>
            </a:r>
          </a:p>
          <a:p>
            <a:pPr marL="174625" lvl="2"/>
            <a:r>
              <a:rPr lang="fr-FR" dirty="0" smtClean="0"/>
              <a:t>Troisième niveau</a:t>
            </a:r>
          </a:p>
          <a:p>
            <a:pPr marL="174625" lvl="3"/>
            <a:r>
              <a:rPr lang="fr-FR" dirty="0" smtClean="0"/>
              <a:t>Quatrième niveau</a:t>
            </a:r>
          </a:p>
          <a:p>
            <a:pPr marL="174625" lvl="4">
              <a:spcBef>
                <a:spcPts val="0"/>
              </a:spcBef>
            </a:pPr>
            <a:r>
              <a:rPr lang="fr-FR" dirty="0" smtClean="0"/>
              <a:t>Cinquième niveau</a:t>
            </a:r>
            <a:endParaRPr lang="fr-FR" dirty="0"/>
          </a:p>
        </p:txBody>
      </p:sp>
      <p:sp>
        <p:nvSpPr>
          <p:cNvPr id="61" name="Espace réservé du graphique SmartArt 11">
            <a:extLst>
              <a:ext uri="{FF2B5EF4-FFF2-40B4-BE49-F238E27FC236}">
                <a16:creationId xmlns:a16="http://schemas.microsoft.com/office/drawing/2014/main" id="{9BEDF3BA-F00A-4514-A432-A0E832836261}"/>
              </a:ext>
            </a:extLst>
          </p:cNvPr>
          <p:cNvSpPr>
            <a:spLocks noGrp="1"/>
          </p:cNvSpPr>
          <p:nvPr>
            <p:ph type="dgm" sz="quarter" idx="44"/>
          </p:nvPr>
        </p:nvSpPr>
        <p:spPr>
          <a:xfrm>
            <a:off x="360000" y="900000"/>
            <a:ext cx="72000" cy="2520000"/>
          </a:xfrm>
          <a:gradFill flip="none" rotWithShape="0">
            <a:gsLst>
              <a:gs pos="40000">
                <a:schemeClr val="accent6"/>
              </a:gs>
              <a:gs pos="0">
                <a:schemeClr val="accent6"/>
              </a:gs>
              <a:gs pos="100000">
                <a:schemeClr val="bg1"/>
              </a:gs>
            </a:gsLst>
            <a:lin ang="5400000" scaled="1"/>
            <a:tileRect/>
          </a:gradFill>
        </p:spPr>
        <p:txBody>
          <a:bodyPr vert="horz" lIns="0" tIns="0" rIns="0" bIns="0" rtlCol="0">
            <a:noAutofit/>
          </a:bodyPr>
          <a:lstStyle>
            <a:lvl1pPr>
              <a:defRPr lang="fr-FR" sz="100">
                <a:noFill/>
              </a:defRPr>
            </a:lvl1pPr>
          </a:lstStyle>
          <a:p>
            <a:pPr lvl="0"/>
            <a:endParaRPr lang="fr-FR"/>
          </a:p>
        </p:txBody>
      </p:sp>
      <p:sp>
        <p:nvSpPr>
          <p:cNvPr id="66" name="Espace réservé du graphique SmartArt 17"/>
          <p:cNvSpPr>
            <a:spLocks noGrp="1"/>
          </p:cNvSpPr>
          <p:nvPr>
            <p:ph type="dgm" sz="quarter" idx="50"/>
          </p:nvPr>
        </p:nvSpPr>
        <p:spPr>
          <a:xfrm>
            <a:off x="6408000" y="900000"/>
            <a:ext cx="687600" cy="900000"/>
          </a:xfrm>
          <a:blipFill>
            <a:blip r:embed="rId3" cstate="print">
              <a:extLst>
                <a:ext uri="{28A0092B-C50C-407E-A947-70E740481C1C}">
                  <a14:useLocalDpi xmlns:a14="http://schemas.microsoft.com/office/drawing/2010/main" val="0"/>
                </a:ext>
              </a:extLst>
            </a:blip>
            <a:stretch>
              <a:fillRect/>
            </a:stretch>
          </a:blipFill>
        </p:spPr>
        <p:txBody>
          <a:bodyPr/>
          <a:lstStyle>
            <a:lvl1pPr>
              <a:defRPr sz="800">
                <a:solidFill>
                  <a:schemeClr val="bg1"/>
                </a:solidFill>
                <a:latin typeface="+mn-lt"/>
              </a:defRPr>
            </a:lvl1pPr>
          </a:lstStyle>
          <a:p>
            <a:endParaRPr lang="fr-FR" dirty="0"/>
          </a:p>
        </p:txBody>
      </p:sp>
      <p:sp>
        <p:nvSpPr>
          <p:cNvPr id="67" name="Espace réservé du graphique SmartArt 17"/>
          <p:cNvSpPr>
            <a:spLocks noGrp="1"/>
          </p:cNvSpPr>
          <p:nvPr>
            <p:ph type="dgm" sz="quarter" idx="51"/>
          </p:nvPr>
        </p:nvSpPr>
        <p:spPr>
          <a:xfrm>
            <a:off x="468000" y="3780000"/>
            <a:ext cx="676800" cy="900000"/>
          </a:xfrm>
          <a:blipFill>
            <a:blip r:embed="rId4" cstate="print">
              <a:extLst>
                <a:ext uri="{28A0092B-C50C-407E-A947-70E740481C1C}">
                  <a14:useLocalDpi xmlns:a14="http://schemas.microsoft.com/office/drawing/2010/main" val="0"/>
                </a:ext>
              </a:extLst>
            </a:blip>
            <a:stretch>
              <a:fillRect/>
            </a:stretch>
          </a:blipFill>
        </p:spPr>
        <p:txBody>
          <a:bodyPr/>
          <a:lstStyle>
            <a:lvl1pPr>
              <a:defRPr sz="800">
                <a:solidFill>
                  <a:schemeClr val="bg1"/>
                </a:solidFill>
                <a:latin typeface="+mn-lt"/>
              </a:defRPr>
            </a:lvl1pPr>
          </a:lstStyle>
          <a:p>
            <a:endParaRPr lang="fr-FR" dirty="0"/>
          </a:p>
        </p:txBody>
      </p:sp>
      <p:sp>
        <p:nvSpPr>
          <p:cNvPr id="68" name="Espace réservé du graphique SmartArt 17"/>
          <p:cNvSpPr>
            <a:spLocks noGrp="1"/>
          </p:cNvSpPr>
          <p:nvPr>
            <p:ph type="dgm" sz="quarter" idx="52"/>
          </p:nvPr>
        </p:nvSpPr>
        <p:spPr>
          <a:xfrm>
            <a:off x="6408000" y="3780000"/>
            <a:ext cx="702000" cy="900000"/>
          </a:xfrm>
          <a:blipFill>
            <a:blip r:embed="rId5" cstate="print">
              <a:extLst>
                <a:ext uri="{28A0092B-C50C-407E-A947-70E740481C1C}">
                  <a14:useLocalDpi xmlns:a14="http://schemas.microsoft.com/office/drawing/2010/main" val="0"/>
                </a:ext>
              </a:extLst>
            </a:blip>
            <a:stretch>
              <a:fillRect/>
            </a:stretch>
          </a:blipFill>
        </p:spPr>
        <p:txBody>
          <a:bodyPr/>
          <a:lstStyle>
            <a:lvl1pPr>
              <a:defRPr sz="800">
                <a:solidFill>
                  <a:schemeClr val="bg1"/>
                </a:solidFill>
                <a:latin typeface="+mn-lt"/>
              </a:defRPr>
            </a:lvl1pPr>
          </a:lstStyle>
          <a:p>
            <a:endParaRPr lang="fr-FR" dirty="0"/>
          </a:p>
        </p:txBody>
      </p:sp>
    </p:spTree>
    <p:extLst>
      <p:ext uri="{BB962C8B-B14F-4D97-AF65-F5344CB8AC3E}">
        <p14:creationId xmlns:p14="http://schemas.microsoft.com/office/powerpoint/2010/main" val="26669607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anifesto H">
    <p:spTree>
      <p:nvGrpSpPr>
        <p:cNvPr id="1" name=""/>
        <p:cNvGrpSpPr/>
        <p:nvPr/>
      </p:nvGrpSpPr>
      <p:grpSpPr>
        <a:xfrm>
          <a:off x="0" y="0"/>
          <a:ext cx="0" cy="0"/>
          <a:chOff x="0" y="0"/>
          <a:chExt cx="0" cy="0"/>
        </a:xfrm>
      </p:grpSpPr>
      <p:sp>
        <p:nvSpPr>
          <p:cNvPr id="10" name="Espace réservé de la date 9">
            <a:extLst>
              <a:ext uri="{FF2B5EF4-FFF2-40B4-BE49-F238E27FC236}">
                <a16:creationId xmlns:a16="http://schemas.microsoft.com/office/drawing/2014/main" id="{506D7A77-3261-4789-90AF-4391ECC68EB7}"/>
              </a:ext>
            </a:extLst>
          </p:cNvPr>
          <p:cNvSpPr>
            <a:spLocks noGrp="1"/>
          </p:cNvSpPr>
          <p:nvPr>
            <p:ph type="dt" sz="half" idx="19"/>
          </p:nvPr>
        </p:nvSpPr>
        <p:spPr/>
        <p:txBody>
          <a:bodyPr/>
          <a:lstStyle>
            <a:lvl1pPr>
              <a:defRPr>
                <a:solidFill>
                  <a:schemeClr val="tx1">
                    <a:lumMod val="75000"/>
                    <a:lumOff val="25000"/>
                  </a:schemeClr>
                </a:solidFill>
              </a:defRPr>
            </a:lvl1pPr>
          </a:lstStyle>
          <a:p>
            <a:r>
              <a:rPr lang="fr-FR" smtClean="0"/>
              <a:t>Diffusion restreinte - Avril 2024</a:t>
            </a:r>
            <a:endParaRPr lang="fr-FR"/>
          </a:p>
        </p:txBody>
      </p:sp>
      <p:sp>
        <p:nvSpPr>
          <p:cNvPr id="11" name="Espace réservé du pied de page 10">
            <a:extLst>
              <a:ext uri="{FF2B5EF4-FFF2-40B4-BE49-F238E27FC236}">
                <a16:creationId xmlns:a16="http://schemas.microsoft.com/office/drawing/2014/main" id="{05070C08-0C4F-480C-A4AD-38AC3DBE4AC8}"/>
              </a:ext>
            </a:extLst>
          </p:cNvPr>
          <p:cNvSpPr>
            <a:spLocks noGrp="1"/>
          </p:cNvSpPr>
          <p:nvPr>
            <p:ph type="ftr" sz="quarter" idx="20"/>
          </p:nvPr>
        </p:nvSpPr>
        <p:spPr/>
        <p:txBody>
          <a:bodyPr/>
          <a:lstStyle>
            <a:lvl1pPr>
              <a:defRPr>
                <a:solidFill>
                  <a:schemeClr val="tx1">
                    <a:lumMod val="75000"/>
                    <a:lumOff val="25000"/>
                  </a:schemeClr>
                </a:solidFill>
              </a:defRPr>
            </a:lvl1pPr>
          </a:lstStyle>
          <a:p>
            <a:r>
              <a:rPr lang="fr-FR" smtClean="0"/>
              <a:t>Bilatérale Enedis - DGEC - Mobilité électrique</a:t>
            </a:r>
            <a:endParaRPr lang="fr-FR"/>
          </a:p>
        </p:txBody>
      </p:sp>
      <p:sp>
        <p:nvSpPr>
          <p:cNvPr id="12" name="Espace réservé du numéro de diapositive 11">
            <a:extLst>
              <a:ext uri="{FF2B5EF4-FFF2-40B4-BE49-F238E27FC236}">
                <a16:creationId xmlns:a16="http://schemas.microsoft.com/office/drawing/2014/main" id="{A20B3F73-B7A3-4D47-82E4-C5AA9E80D66F}"/>
              </a:ext>
            </a:extLst>
          </p:cNvPr>
          <p:cNvSpPr>
            <a:spLocks noGrp="1"/>
          </p:cNvSpPr>
          <p:nvPr>
            <p:ph type="sldNum" sz="quarter" idx="21"/>
          </p:nvPr>
        </p:nvSpPr>
        <p:spPr/>
        <p:txBody>
          <a:bodyPr/>
          <a:lstStyle>
            <a:lvl1pPr>
              <a:defRPr>
                <a:solidFill>
                  <a:schemeClr val="tx1">
                    <a:lumMod val="75000"/>
                    <a:lumOff val="25000"/>
                  </a:schemeClr>
                </a:solidFill>
              </a:defRPr>
            </a:lvl1pPr>
          </a:lstStyle>
          <a:p>
            <a:fld id="{6B54B0F7-55DD-40D6-B7F4-70B586885C0B}" type="slidenum">
              <a:rPr lang="fr-FR" smtClean="0"/>
              <a:pPr/>
              <a:t>‹N°›</a:t>
            </a:fld>
            <a:endParaRPr lang="fr-FR"/>
          </a:p>
        </p:txBody>
      </p:sp>
      <p:sp>
        <p:nvSpPr>
          <p:cNvPr id="14" name="Titre 8">
            <a:extLst>
              <a:ext uri="{FF2B5EF4-FFF2-40B4-BE49-F238E27FC236}">
                <a16:creationId xmlns:a16="http://schemas.microsoft.com/office/drawing/2014/main" id="{84C899FF-869A-4315-A506-197107D1CE36}"/>
              </a:ext>
            </a:extLst>
          </p:cNvPr>
          <p:cNvSpPr>
            <a:spLocks noGrp="1"/>
          </p:cNvSpPr>
          <p:nvPr>
            <p:ph type="title" hasCustomPrompt="1"/>
          </p:nvPr>
        </p:nvSpPr>
        <p:spPr>
          <a:xfrm>
            <a:off x="360000" y="180000"/>
            <a:ext cx="11520000" cy="540000"/>
          </a:xfrm>
        </p:spPr>
        <p:txBody>
          <a:bodyPr/>
          <a:lstStyle>
            <a:lvl1pPr>
              <a:lnSpc>
                <a:spcPct val="84000"/>
              </a:lnSpc>
              <a:defRPr sz="2800"/>
            </a:lvl1pPr>
          </a:lstStyle>
          <a:p>
            <a:r>
              <a:rPr lang="fr-FR"/>
              <a:t>Lorem ipsum </a:t>
            </a:r>
            <a:r>
              <a:rPr lang="fr-FR" err="1"/>
              <a:t>dolor</a:t>
            </a:r>
            <a:r>
              <a:rPr lang="fr-FR"/>
              <a:t> </a:t>
            </a:r>
            <a:r>
              <a:rPr lang="fr-FR" err="1"/>
              <a:t>sit</a:t>
            </a:r>
            <a:r>
              <a:rPr lang="fr-FR"/>
              <a:t> </a:t>
            </a:r>
            <a:r>
              <a:rPr lang="fr-FR" err="1"/>
              <a:t>amet</a:t>
            </a:r>
            <a:r>
              <a:rPr lang="fr-FR"/>
              <a:t>, </a:t>
            </a:r>
            <a:r>
              <a:rPr lang="fr-FR" err="1"/>
              <a:t>consectetuer</a:t>
            </a:r>
            <a:r>
              <a:rPr lang="fr-FR"/>
              <a:t/>
            </a:r>
            <a:br>
              <a:rPr lang="fr-FR"/>
            </a:br>
            <a:r>
              <a:rPr lang="fr-FR" err="1"/>
              <a:t>adipiscing</a:t>
            </a:r>
            <a:r>
              <a:rPr lang="fr-FR"/>
              <a:t> </a:t>
            </a:r>
            <a:r>
              <a:rPr lang="fr-FR" err="1"/>
              <a:t>elit</a:t>
            </a:r>
            <a:r>
              <a:rPr lang="fr-FR"/>
              <a:t>, </a:t>
            </a:r>
            <a:r>
              <a:rPr lang="fr-FR" err="1"/>
              <a:t>sed</a:t>
            </a:r>
            <a:r>
              <a:rPr lang="fr-FR"/>
              <a:t> diam </a:t>
            </a:r>
            <a:r>
              <a:rPr lang="fr-FR" err="1"/>
              <a:t>nonummy</a:t>
            </a:r>
            <a:r>
              <a:rPr lang="fr-FR"/>
              <a:t> </a:t>
            </a:r>
            <a:r>
              <a:rPr lang="fr-FR" err="1"/>
              <a:t>nibh</a:t>
            </a:r>
            <a:r>
              <a:rPr lang="fr-FR"/>
              <a:t> </a:t>
            </a:r>
            <a:r>
              <a:rPr lang="fr-FR" err="1"/>
              <a:t>euismod</a:t>
            </a:r>
            <a:endParaRPr lang="fr-FR"/>
          </a:p>
        </p:txBody>
      </p:sp>
      <p:sp>
        <p:nvSpPr>
          <p:cNvPr id="21" name="Espace réservé du texte 12">
            <a:extLst>
              <a:ext uri="{FF2B5EF4-FFF2-40B4-BE49-F238E27FC236}">
                <a16:creationId xmlns:a16="http://schemas.microsoft.com/office/drawing/2014/main" id="{FAD613FF-7307-4886-9872-D6432E72380D}"/>
              </a:ext>
            </a:extLst>
          </p:cNvPr>
          <p:cNvSpPr>
            <a:spLocks noGrp="1"/>
          </p:cNvSpPr>
          <p:nvPr>
            <p:ph type="body" sz="quarter" idx="33" hasCustomPrompt="1"/>
          </p:nvPr>
        </p:nvSpPr>
        <p:spPr>
          <a:xfrm>
            <a:off x="1510700" y="1510290"/>
            <a:ext cx="4303825" cy="623248"/>
          </a:xfrm>
        </p:spPr>
        <p:txBody>
          <a:bodyPr/>
          <a:lstStyle>
            <a:lvl1pPr>
              <a:lnSpc>
                <a:spcPct val="80000"/>
              </a:lnSpc>
              <a:spcBef>
                <a:spcPts val="400"/>
              </a:spcBef>
              <a:defRPr sz="1500">
                <a:latin typeface="+mj-lt"/>
              </a:defRPr>
            </a:lvl1pPr>
            <a:lvl2pPr>
              <a:defRPr sz="1500"/>
            </a:lvl2pPr>
            <a:lvl3pPr>
              <a:defRPr sz="1400"/>
            </a:lvl3pPr>
            <a:lvl5pPr>
              <a:defRPr/>
            </a:lvl5pPr>
          </a:lstStyle>
          <a:p>
            <a:pPr lvl="0"/>
            <a:r>
              <a:rPr lang="fr-FR" dirty="0" err="1"/>
              <a:t>Tation</a:t>
            </a:r>
            <a:r>
              <a:rPr lang="fr-FR" dirty="0"/>
              <a:t> </a:t>
            </a:r>
            <a:r>
              <a:rPr lang="fr-FR" dirty="0" err="1"/>
              <a:t>ullamcorper</a:t>
            </a:r>
            <a:r>
              <a:rPr lang="fr-FR" dirty="0"/>
              <a:t> </a:t>
            </a:r>
            <a:r>
              <a:rPr lang="fr-FR" dirty="0" err="1"/>
              <a:t>suscipit</a:t>
            </a:r>
            <a:r>
              <a:rPr lang="fr-FR" dirty="0"/>
              <a:t> </a:t>
            </a:r>
            <a:r>
              <a:rPr lang="fr-FR" dirty="0" err="1"/>
              <a:t>lobortis</a:t>
            </a:r>
            <a:r>
              <a:rPr lang="fr-FR" dirty="0"/>
              <a:t> </a:t>
            </a:r>
            <a:r>
              <a:rPr lang="fr-FR" dirty="0" err="1"/>
              <a:t>nisl</a:t>
            </a:r>
            <a:r>
              <a:rPr lang="fr-FR" dirty="0"/>
              <a:t> ut</a:t>
            </a:r>
          </a:p>
          <a:p>
            <a:pPr lvl="0"/>
            <a:r>
              <a:rPr lang="fr-FR" dirty="0" err="1"/>
              <a:t>aliquip</a:t>
            </a:r>
            <a:r>
              <a:rPr lang="fr-FR" dirty="0"/>
              <a:t> ex </a:t>
            </a:r>
            <a:r>
              <a:rPr lang="fr-FR" dirty="0" err="1"/>
              <a:t>dolor</a:t>
            </a:r>
            <a:r>
              <a:rPr lang="fr-FR" dirty="0"/>
              <a:t> in </a:t>
            </a:r>
            <a:r>
              <a:rPr lang="fr-FR" dirty="0" err="1" smtClean="0"/>
              <a:t>hendrerit</a:t>
            </a:r>
            <a:r>
              <a:rPr lang="fr-FR" dirty="0" smtClean="0"/>
              <a:t> </a:t>
            </a:r>
            <a:r>
              <a:rPr lang="fr-FR" dirty="0"/>
              <a:t>in </a:t>
            </a:r>
            <a:r>
              <a:rPr lang="fr-FR" dirty="0" err="1"/>
              <a:t>vulputate</a:t>
            </a:r>
            <a:r>
              <a:rPr lang="fr-FR" dirty="0"/>
              <a:t> </a:t>
            </a:r>
            <a:r>
              <a:rPr lang="fr-FR" dirty="0" err="1"/>
              <a:t>velit</a:t>
            </a:r>
            <a:endParaRPr lang="fr-FR" dirty="0"/>
          </a:p>
          <a:p>
            <a:pPr lvl="0"/>
            <a:r>
              <a:rPr lang="fr-FR" dirty="0"/>
              <a:t>esse </a:t>
            </a:r>
            <a:r>
              <a:rPr lang="fr-FR" dirty="0" err="1"/>
              <a:t>molestie</a:t>
            </a:r>
            <a:r>
              <a:rPr lang="fr-FR" dirty="0"/>
              <a:t> </a:t>
            </a:r>
            <a:r>
              <a:rPr lang="fr-FR" dirty="0" err="1"/>
              <a:t>consequat</a:t>
            </a:r>
            <a:r>
              <a:rPr lang="fr-FR" dirty="0"/>
              <a:t>, </a:t>
            </a:r>
            <a:r>
              <a:rPr lang="fr-FR" dirty="0" err="1"/>
              <a:t>vel</a:t>
            </a:r>
            <a:r>
              <a:rPr lang="fr-FR" dirty="0"/>
              <a:t> </a:t>
            </a:r>
            <a:r>
              <a:rPr lang="fr-FR" dirty="0" err="1"/>
              <a:t>illum</a:t>
            </a:r>
            <a:r>
              <a:rPr lang="fr-FR" dirty="0"/>
              <a:t> </a:t>
            </a:r>
            <a:r>
              <a:rPr lang="fr-FR" dirty="0" err="1"/>
              <a:t>dolore</a:t>
            </a:r>
            <a:r>
              <a:rPr lang="fr-FR" dirty="0"/>
              <a:t> </a:t>
            </a:r>
            <a:r>
              <a:rPr lang="fr-FR" dirty="0" smtClean="0"/>
              <a:t>eu</a:t>
            </a:r>
          </a:p>
          <a:p>
            <a:pPr lvl="1"/>
            <a:r>
              <a:rPr lang="fr-FR" dirty="0" err="1" smtClean="0"/>
              <a:t>Ddd</a:t>
            </a:r>
            <a:endParaRPr lang="fr-FR" dirty="0" smtClean="0"/>
          </a:p>
          <a:p>
            <a:pPr lvl="2"/>
            <a:r>
              <a:rPr lang="fr-FR" dirty="0" err="1" smtClean="0"/>
              <a:t>ddd</a:t>
            </a:r>
            <a:endParaRPr lang="fr-FR" dirty="0"/>
          </a:p>
        </p:txBody>
      </p:sp>
      <p:sp>
        <p:nvSpPr>
          <p:cNvPr id="22" name="Espace réservé pour une image  4">
            <a:extLst>
              <a:ext uri="{FF2B5EF4-FFF2-40B4-BE49-F238E27FC236}">
                <a16:creationId xmlns:a16="http://schemas.microsoft.com/office/drawing/2014/main" id="{E04FBDC5-3108-4A68-A848-7297022E59E6}"/>
              </a:ext>
            </a:extLst>
          </p:cNvPr>
          <p:cNvSpPr>
            <a:spLocks noGrp="1"/>
          </p:cNvSpPr>
          <p:nvPr>
            <p:ph type="pic" sz="quarter" idx="36"/>
          </p:nvPr>
        </p:nvSpPr>
        <p:spPr>
          <a:xfrm>
            <a:off x="633448" y="1508896"/>
            <a:ext cx="641350" cy="621854"/>
          </a:xfrm>
        </p:spPr>
        <p:txBody>
          <a:bodyPr>
            <a:noAutofit/>
          </a:bodyPr>
          <a:lstStyle>
            <a:lvl1pPr>
              <a:defRPr>
                <a:noFill/>
              </a:defRPr>
            </a:lvl1pPr>
          </a:lstStyle>
          <a:p>
            <a:endParaRPr lang="fr-FR"/>
          </a:p>
        </p:txBody>
      </p:sp>
      <p:sp>
        <p:nvSpPr>
          <p:cNvPr id="23" name="Espace réservé du texte 12">
            <a:extLst>
              <a:ext uri="{FF2B5EF4-FFF2-40B4-BE49-F238E27FC236}">
                <a16:creationId xmlns:a16="http://schemas.microsoft.com/office/drawing/2014/main" id="{65206111-FFE9-4901-8740-8E14962A9EF9}"/>
              </a:ext>
            </a:extLst>
          </p:cNvPr>
          <p:cNvSpPr>
            <a:spLocks noGrp="1"/>
          </p:cNvSpPr>
          <p:nvPr>
            <p:ph type="body" sz="quarter" idx="37" hasCustomPrompt="1"/>
          </p:nvPr>
        </p:nvSpPr>
        <p:spPr>
          <a:xfrm>
            <a:off x="1510700" y="2915924"/>
            <a:ext cx="4303825" cy="623248"/>
          </a:xfrm>
        </p:spPr>
        <p:txBody>
          <a:bodyPr vert="horz" lIns="0" tIns="0" rIns="0" bIns="0" rtlCol="0">
            <a:noAutofit/>
          </a:bodyPr>
          <a:lstStyle>
            <a:lvl1pPr>
              <a:defRPr lang="fr-FR" sz="1500">
                <a:latin typeface="+mj-lt"/>
              </a:defRPr>
            </a:lvl1pPr>
          </a:lstStyle>
          <a:p>
            <a:pPr lvl="0">
              <a:lnSpc>
                <a:spcPct val="80000"/>
              </a:lnSpc>
              <a:spcBef>
                <a:spcPts val="400"/>
              </a:spcBef>
            </a:pPr>
            <a:r>
              <a:rPr lang="fr-FR" err="1"/>
              <a:t>Tation</a:t>
            </a:r>
            <a:r>
              <a:rPr lang="fr-FR"/>
              <a:t> </a:t>
            </a:r>
            <a:r>
              <a:rPr lang="fr-FR" err="1"/>
              <a:t>ullamcorper</a:t>
            </a:r>
            <a:r>
              <a:rPr lang="fr-FR"/>
              <a:t> </a:t>
            </a:r>
            <a:r>
              <a:rPr lang="fr-FR" err="1"/>
              <a:t>suscipit</a:t>
            </a:r>
            <a:r>
              <a:rPr lang="fr-FR"/>
              <a:t> </a:t>
            </a:r>
            <a:r>
              <a:rPr lang="fr-FR" err="1"/>
              <a:t>lobortis</a:t>
            </a:r>
            <a:r>
              <a:rPr lang="fr-FR"/>
              <a:t> </a:t>
            </a:r>
            <a:r>
              <a:rPr lang="fr-FR" err="1"/>
              <a:t>nisl</a:t>
            </a:r>
            <a:r>
              <a:rPr lang="fr-FR"/>
              <a:t> ut</a:t>
            </a:r>
          </a:p>
          <a:p>
            <a:pPr lvl="0">
              <a:lnSpc>
                <a:spcPct val="80000"/>
              </a:lnSpc>
              <a:spcBef>
                <a:spcPts val="400"/>
              </a:spcBef>
            </a:pPr>
            <a:r>
              <a:rPr lang="fr-FR" err="1"/>
              <a:t>aliquip</a:t>
            </a:r>
            <a:r>
              <a:rPr lang="fr-FR"/>
              <a:t> ex </a:t>
            </a:r>
            <a:r>
              <a:rPr lang="fr-FR" err="1"/>
              <a:t>dolor</a:t>
            </a:r>
            <a:r>
              <a:rPr lang="fr-FR"/>
              <a:t> in </a:t>
            </a:r>
            <a:r>
              <a:rPr lang="fr-FR" err="1"/>
              <a:t>hendrerit</a:t>
            </a:r>
            <a:r>
              <a:rPr lang="fr-FR"/>
              <a:t> in </a:t>
            </a:r>
            <a:r>
              <a:rPr lang="fr-FR" err="1"/>
              <a:t>vulputate</a:t>
            </a:r>
            <a:r>
              <a:rPr lang="fr-FR"/>
              <a:t> </a:t>
            </a:r>
            <a:r>
              <a:rPr lang="fr-FR" err="1"/>
              <a:t>velit</a:t>
            </a:r>
            <a:endParaRPr lang="fr-FR"/>
          </a:p>
          <a:p>
            <a:pPr lvl="0">
              <a:lnSpc>
                <a:spcPct val="80000"/>
              </a:lnSpc>
              <a:spcBef>
                <a:spcPts val="400"/>
              </a:spcBef>
            </a:pPr>
            <a:r>
              <a:rPr lang="fr-FR"/>
              <a:t>esse </a:t>
            </a:r>
            <a:r>
              <a:rPr lang="fr-FR" err="1"/>
              <a:t>molestie</a:t>
            </a:r>
            <a:r>
              <a:rPr lang="fr-FR"/>
              <a:t> </a:t>
            </a:r>
            <a:r>
              <a:rPr lang="fr-FR" err="1"/>
              <a:t>consequat</a:t>
            </a:r>
            <a:r>
              <a:rPr lang="fr-FR"/>
              <a:t>, </a:t>
            </a:r>
            <a:r>
              <a:rPr lang="fr-FR" err="1"/>
              <a:t>vel</a:t>
            </a:r>
            <a:r>
              <a:rPr lang="fr-FR"/>
              <a:t> </a:t>
            </a:r>
            <a:r>
              <a:rPr lang="fr-FR" err="1"/>
              <a:t>illum</a:t>
            </a:r>
            <a:r>
              <a:rPr lang="fr-FR"/>
              <a:t> </a:t>
            </a:r>
            <a:r>
              <a:rPr lang="fr-FR" err="1"/>
              <a:t>dolore</a:t>
            </a:r>
            <a:r>
              <a:rPr lang="fr-FR"/>
              <a:t> eu</a:t>
            </a:r>
          </a:p>
        </p:txBody>
      </p:sp>
      <p:sp>
        <p:nvSpPr>
          <p:cNvPr id="24" name="Espace réservé pour une image  4">
            <a:extLst>
              <a:ext uri="{FF2B5EF4-FFF2-40B4-BE49-F238E27FC236}">
                <a16:creationId xmlns:a16="http://schemas.microsoft.com/office/drawing/2014/main" id="{2D4D7D07-8C50-4205-A0DF-AA0787854023}"/>
              </a:ext>
            </a:extLst>
          </p:cNvPr>
          <p:cNvSpPr>
            <a:spLocks noGrp="1"/>
          </p:cNvSpPr>
          <p:nvPr>
            <p:ph type="pic" sz="quarter" idx="38"/>
          </p:nvPr>
        </p:nvSpPr>
        <p:spPr>
          <a:xfrm>
            <a:off x="633448" y="2914530"/>
            <a:ext cx="641350" cy="621854"/>
          </a:xfrm>
        </p:spPr>
        <p:txBody>
          <a:bodyPr>
            <a:noAutofit/>
          </a:bodyPr>
          <a:lstStyle>
            <a:lvl1pPr>
              <a:defRPr>
                <a:noFill/>
              </a:defRPr>
            </a:lvl1pPr>
          </a:lstStyle>
          <a:p>
            <a:endParaRPr lang="fr-FR"/>
          </a:p>
        </p:txBody>
      </p:sp>
      <p:sp>
        <p:nvSpPr>
          <p:cNvPr id="25" name="Espace réservé du texte 12">
            <a:extLst>
              <a:ext uri="{FF2B5EF4-FFF2-40B4-BE49-F238E27FC236}">
                <a16:creationId xmlns:a16="http://schemas.microsoft.com/office/drawing/2014/main" id="{7E901A14-6F2F-4A63-8A5A-8118F393B7A4}"/>
              </a:ext>
            </a:extLst>
          </p:cNvPr>
          <p:cNvSpPr>
            <a:spLocks noGrp="1"/>
          </p:cNvSpPr>
          <p:nvPr>
            <p:ph type="body" sz="quarter" idx="39" hasCustomPrompt="1"/>
          </p:nvPr>
        </p:nvSpPr>
        <p:spPr>
          <a:xfrm>
            <a:off x="1510700" y="4337820"/>
            <a:ext cx="4303825" cy="623248"/>
          </a:xfrm>
        </p:spPr>
        <p:txBody>
          <a:bodyPr vert="horz" lIns="0" tIns="0" rIns="0" bIns="0" rtlCol="0">
            <a:noAutofit/>
          </a:bodyPr>
          <a:lstStyle>
            <a:lvl1pPr>
              <a:defRPr lang="fr-FR" sz="1500">
                <a:latin typeface="+mj-lt"/>
              </a:defRPr>
            </a:lvl1pPr>
          </a:lstStyle>
          <a:p>
            <a:pPr lvl="0">
              <a:lnSpc>
                <a:spcPct val="80000"/>
              </a:lnSpc>
              <a:spcBef>
                <a:spcPts val="400"/>
              </a:spcBef>
            </a:pPr>
            <a:r>
              <a:rPr lang="fr-FR" err="1"/>
              <a:t>Tation</a:t>
            </a:r>
            <a:r>
              <a:rPr lang="fr-FR"/>
              <a:t> </a:t>
            </a:r>
            <a:r>
              <a:rPr lang="fr-FR" err="1"/>
              <a:t>ullamcorper</a:t>
            </a:r>
            <a:r>
              <a:rPr lang="fr-FR"/>
              <a:t> </a:t>
            </a:r>
            <a:r>
              <a:rPr lang="fr-FR" err="1"/>
              <a:t>suscipit</a:t>
            </a:r>
            <a:r>
              <a:rPr lang="fr-FR"/>
              <a:t> </a:t>
            </a:r>
            <a:r>
              <a:rPr lang="fr-FR" err="1"/>
              <a:t>lobortis</a:t>
            </a:r>
            <a:r>
              <a:rPr lang="fr-FR"/>
              <a:t> </a:t>
            </a:r>
            <a:r>
              <a:rPr lang="fr-FR" err="1"/>
              <a:t>nisl</a:t>
            </a:r>
            <a:r>
              <a:rPr lang="fr-FR"/>
              <a:t> ut</a:t>
            </a:r>
          </a:p>
          <a:p>
            <a:pPr lvl="0">
              <a:lnSpc>
                <a:spcPct val="80000"/>
              </a:lnSpc>
              <a:spcBef>
                <a:spcPts val="400"/>
              </a:spcBef>
            </a:pPr>
            <a:r>
              <a:rPr lang="fr-FR" err="1"/>
              <a:t>aliquip</a:t>
            </a:r>
            <a:r>
              <a:rPr lang="fr-FR"/>
              <a:t> ex </a:t>
            </a:r>
            <a:r>
              <a:rPr lang="fr-FR" err="1"/>
              <a:t>dolor</a:t>
            </a:r>
            <a:r>
              <a:rPr lang="fr-FR"/>
              <a:t> in </a:t>
            </a:r>
            <a:r>
              <a:rPr lang="fr-FR" err="1"/>
              <a:t>hendrerit</a:t>
            </a:r>
            <a:r>
              <a:rPr lang="fr-FR"/>
              <a:t> in </a:t>
            </a:r>
            <a:r>
              <a:rPr lang="fr-FR" err="1"/>
              <a:t>vulputate</a:t>
            </a:r>
            <a:r>
              <a:rPr lang="fr-FR"/>
              <a:t> </a:t>
            </a:r>
            <a:r>
              <a:rPr lang="fr-FR" err="1"/>
              <a:t>velit</a:t>
            </a:r>
            <a:endParaRPr lang="fr-FR"/>
          </a:p>
          <a:p>
            <a:pPr lvl="0">
              <a:lnSpc>
                <a:spcPct val="80000"/>
              </a:lnSpc>
              <a:spcBef>
                <a:spcPts val="400"/>
              </a:spcBef>
            </a:pPr>
            <a:r>
              <a:rPr lang="fr-FR"/>
              <a:t>esse </a:t>
            </a:r>
            <a:r>
              <a:rPr lang="fr-FR" err="1"/>
              <a:t>molestie</a:t>
            </a:r>
            <a:r>
              <a:rPr lang="fr-FR"/>
              <a:t> </a:t>
            </a:r>
            <a:r>
              <a:rPr lang="fr-FR" err="1"/>
              <a:t>consequat</a:t>
            </a:r>
            <a:r>
              <a:rPr lang="fr-FR"/>
              <a:t>, </a:t>
            </a:r>
            <a:r>
              <a:rPr lang="fr-FR" err="1"/>
              <a:t>vel</a:t>
            </a:r>
            <a:r>
              <a:rPr lang="fr-FR"/>
              <a:t> </a:t>
            </a:r>
            <a:r>
              <a:rPr lang="fr-FR" err="1"/>
              <a:t>illum</a:t>
            </a:r>
            <a:r>
              <a:rPr lang="fr-FR"/>
              <a:t> </a:t>
            </a:r>
            <a:r>
              <a:rPr lang="fr-FR" err="1"/>
              <a:t>dolore</a:t>
            </a:r>
            <a:r>
              <a:rPr lang="fr-FR"/>
              <a:t> eu</a:t>
            </a:r>
          </a:p>
        </p:txBody>
      </p:sp>
      <p:sp>
        <p:nvSpPr>
          <p:cNvPr id="26" name="Espace réservé pour une image  4">
            <a:extLst>
              <a:ext uri="{FF2B5EF4-FFF2-40B4-BE49-F238E27FC236}">
                <a16:creationId xmlns:a16="http://schemas.microsoft.com/office/drawing/2014/main" id="{CFF50F26-9839-4EB6-BAE0-3268B3227585}"/>
              </a:ext>
            </a:extLst>
          </p:cNvPr>
          <p:cNvSpPr>
            <a:spLocks noGrp="1"/>
          </p:cNvSpPr>
          <p:nvPr>
            <p:ph type="pic" sz="quarter" idx="40"/>
          </p:nvPr>
        </p:nvSpPr>
        <p:spPr>
          <a:xfrm>
            <a:off x="633448" y="4336426"/>
            <a:ext cx="641350" cy="621854"/>
          </a:xfrm>
        </p:spPr>
        <p:txBody>
          <a:bodyPr>
            <a:noAutofit/>
          </a:bodyPr>
          <a:lstStyle>
            <a:lvl1pPr>
              <a:defRPr>
                <a:noFill/>
              </a:defRPr>
            </a:lvl1pPr>
          </a:lstStyle>
          <a:p>
            <a:endParaRPr lang="fr-FR"/>
          </a:p>
        </p:txBody>
      </p:sp>
      <p:sp>
        <p:nvSpPr>
          <p:cNvPr id="27" name="Espace réservé du texte 12">
            <a:extLst>
              <a:ext uri="{FF2B5EF4-FFF2-40B4-BE49-F238E27FC236}">
                <a16:creationId xmlns:a16="http://schemas.microsoft.com/office/drawing/2014/main" id="{37F48A97-1394-48B3-AD87-9B86580D4388}"/>
              </a:ext>
            </a:extLst>
          </p:cNvPr>
          <p:cNvSpPr>
            <a:spLocks noGrp="1"/>
          </p:cNvSpPr>
          <p:nvPr>
            <p:ph type="body" sz="quarter" idx="41" hasCustomPrompt="1"/>
          </p:nvPr>
        </p:nvSpPr>
        <p:spPr>
          <a:xfrm>
            <a:off x="7216175" y="1510290"/>
            <a:ext cx="4303825" cy="623248"/>
          </a:xfrm>
        </p:spPr>
        <p:txBody>
          <a:bodyPr vert="horz" lIns="0" tIns="0" rIns="0" bIns="0" rtlCol="0">
            <a:noAutofit/>
          </a:bodyPr>
          <a:lstStyle>
            <a:lvl1pPr>
              <a:defRPr lang="fr-FR" sz="1500">
                <a:latin typeface="+mj-lt"/>
              </a:defRPr>
            </a:lvl1pPr>
          </a:lstStyle>
          <a:p>
            <a:pPr lvl="0">
              <a:lnSpc>
                <a:spcPct val="80000"/>
              </a:lnSpc>
              <a:spcBef>
                <a:spcPts val="400"/>
              </a:spcBef>
            </a:pPr>
            <a:r>
              <a:rPr lang="fr-FR" err="1"/>
              <a:t>Tation</a:t>
            </a:r>
            <a:r>
              <a:rPr lang="fr-FR"/>
              <a:t> </a:t>
            </a:r>
            <a:r>
              <a:rPr lang="fr-FR" err="1"/>
              <a:t>ullamcorper</a:t>
            </a:r>
            <a:r>
              <a:rPr lang="fr-FR"/>
              <a:t> </a:t>
            </a:r>
            <a:r>
              <a:rPr lang="fr-FR" err="1"/>
              <a:t>suscipit</a:t>
            </a:r>
            <a:r>
              <a:rPr lang="fr-FR"/>
              <a:t> </a:t>
            </a:r>
            <a:r>
              <a:rPr lang="fr-FR" err="1"/>
              <a:t>lobortis</a:t>
            </a:r>
            <a:r>
              <a:rPr lang="fr-FR"/>
              <a:t> </a:t>
            </a:r>
            <a:r>
              <a:rPr lang="fr-FR" err="1"/>
              <a:t>nisl</a:t>
            </a:r>
            <a:r>
              <a:rPr lang="fr-FR"/>
              <a:t> ut</a:t>
            </a:r>
          </a:p>
          <a:p>
            <a:pPr lvl="0">
              <a:lnSpc>
                <a:spcPct val="80000"/>
              </a:lnSpc>
              <a:spcBef>
                <a:spcPts val="400"/>
              </a:spcBef>
            </a:pPr>
            <a:r>
              <a:rPr lang="fr-FR" err="1"/>
              <a:t>aliquip</a:t>
            </a:r>
            <a:r>
              <a:rPr lang="fr-FR"/>
              <a:t> ex </a:t>
            </a:r>
            <a:r>
              <a:rPr lang="fr-FR" err="1"/>
              <a:t>dolor</a:t>
            </a:r>
            <a:r>
              <a:rPr lang="fr-FR"/>
              <a:t> in </a:t>
            </a:r>
            <a:r>
              <a:rPr lang="fr-FR" err="1"/>
              <a:t>hendrerit</a:t>
            </a:r>
            <a:r>
              <a:rPr lang="fr-FR"/>
              <a:t> in </a:t>
            </a:r>
            <a:r>
              <a:rPr lang="fr-FR" err="1"/>
              <a:t>vulputate</a:t>
            </a:r>
            <a:r>
              <a:rPr lang="fr-FR"/>
              <a:t> </a:t>
            </a:r>
            <a:r>
              <a:rPr lang="fr-FR" err="1"/>
              <a:t>velit</a:t>
            </a:r>
            <a:endParaRPr lang="fr-FR"/>
          </a:p>
          <a:p>
            <a:pPr lvl="0">
              <a:lnSpc>
                <a:spcPct val="80000"/>
              </a:lnSpc>
              <a:spcBef>
                <a:spcPts val="400"/>
              </a:spcBef>
            </a:pPr>
            <a:r>
              <a:rPr lang="fr-FR"/>
              <a:t>esse </a:t>
            </a:r>
            <a:r>
              <a:rPr lang="fr-FR" err="1"/>
              <a:t>molestie</a:t>
            </a:r>
            <a:r>
              <a:rPr lang="fr-FR"/>
              <a:t> </a:t>
            </a:r>
            <a:r>
              <a:rPr lang="fr-FR" err="1"/>
              <a:t>consequat</a:t>
            </a:r>
            <a:r>
              <a:rPr lang="fr-FR"/>
              <a:t>, </a:t>
            </a:r>
            <a:r>
              <a:rPr lang="fr-FR" err="1"/>
              <a:t>vel</a:t>
            </a:r>
            <a:r>
              <a:rPr lang="fr-FR"/>
              <a:t> </a:t>
            </a:r>
            <a:r>
              <a:rPr lang="fr-FR" err="1"/>
              <a:t>illum</a:t>
            </a:r>
            <a:r>
              <a:rPr lang="fr-FR"/>
              <a:t> </a:t>
            </a:r>
            <a:r>
              <a:rPr lang="fr-FR" err="1"/>
              <a:t>dolore</a:t>
            </a:r>
            <a:r>
              <a:rPr lang="fr-FR"/>
              <a:t> eu</a:t>
            </a:r>
          </a:p>
        </p:txBody>
      </p:sp>
      <p:sp>
        <p:nvSpPr>
          <p:cNvPr id="28" name="Espace réservé pour une image  4">
            <a:extLst>
              <a:ext uri="{FF2B5EF4-FFF2-40B4-BE49-F238E27FC236}">
                <a16:creationId xmlns:a16="http://schemas.microsoft.com/office/drawing/2014/main" id="{3708297E-6991-47C6-B127-04AA494045A8}"/>
              </a:ext>
            </a:extLst>
          </p:cNvPr>
          <p:cNvSpPr>
            <a:spLocks noGrp="1"/>
          </p:cNvSpPr>
          <p:nvPr>
            <p:ph type="pic" sz="quarter" idx="42"/>
          </p:nvPr>
        </p:nvSpPr>
        <p:spPr>
          <a:xfrm>
            <a:off x="6338923" y="1508896"/>
            <a:ext cx="641350" cy="621854"/>
          </a:xfrm>
        </p:spPr>
        <p:txBody>
          <a:bodyPr>
            <a:noAutofit/>
          </a:bodyPr>
          <a:lstStyle>
            <a:lvl1pPr>
              <a:defRPr>
                <a:noFill/>
              </a:defRPr>
            </a:lvl1pPr>
          </a:lstStyle>
          <a:p>
            <a:endParaRPr lang="fr-FR"/>
          </a:p>
        </p:txBody>
      </p:sp>
      <p:sp>
        <p:nvSpPr>
          <p:cNvPr id="29" name="Espace réservé du texte 12">
            <a:extLst>
              <a:ext uri="{FF2B5EF4-FFF2-40B4-BE49-F238E27FC236}">
                <a16:creationId xmlns:a16="http://schemas.microsoft.com/office/drawing/2014/main" id="{47F434D1-3CE9-4493-AE36-958D114A8AEE}"/>
              </a:ext>
            </a:extLst>
          </p:cNvPr>
          <p:cNvSpPr>
            <a:spLocks noGrp="1"/>
          </p:cNvSpPr>
          <p:nvPr>
            <p:ph type="body" sz="quarter" idx="43" hasCustomPrompt="1"/>
          </p:nvPr>
        </p:nvSpPr>
        <p:spPr>
          <a:xfrm>
            <a:off x="7216175" y="2915924"/>
            <a:ext cx="4303825" cy="623248"/>
          </a:xfrm>
        </p:spPr>
        <p:txBody>
          <a:bodyPr/>
          <a:lstStyle>
            <a:lvl1pPr>
              <a:defRPr sz="1500">
                <a:latin typeface="+mj-lt"/>
              </a:defRPr>
            </a:lvl1pPr>
            <a:lvl5pPr>
              <a:defRPr/>
            </a:lvl5pPr>
          </a:lstStyle>
          <a:p>
            <a:pPr lvl="0"/>
            <a:r>
              <a:rPr lang="fr-FR" err="1"/>
              <a:t>Tation</a:t>
            </a:r>
            <a:r>
              <a:rPr lang="fr-FR"/>
              <a:t> </a:t>
            </a:r>
            <a:r>
              <a:rPr lang="fr-FR" err="1"/>
              <a:t>ullamcorper</a:t>
            </a:r>
            <a:r>
              <a:rPr lang="fr-FR"/>
              <a:t> </a:t>
            </a:r>
            <a:r>
              <a:rPr lang="fr-FR" err="1"/>
              <a:t>suscipit</a:t>
            </a:r>
            <a:r>
              <a:rPr lang="fr-FR"/>
              <a:t> </a:t>
            </a:r>
            <a:r>
              <a:rPr lang="fr-FR" err="1"/>
              <a:t>lobortis</a:t>
            </a:r>
            <a:r>
              <a:rPr lang="fr-FR"/>
              <a:t> </a:t>
            </a:r>
            <a:r>
              <a:rPr lang="fr-FR" err="1"/>
              <a:t>nisl</a:t>
            </a:r>
            <a:r>
              <a:rPr lang="fr-FR"/>
              <a:t> ut</a:t>
            </a:r>
          </a:p>
          <a:p>
            <a:pPr lvl="0"/>
            <a:r>
              <a:rPr lang="fr-FR" err="1"/>
              <a:t>aliquip</a:t>
            </a:r>
            <a:r>
              <a:rPr lang="fr-FR"/>
              <a:t> ex </a:t>
            </a:r>
            <a:r>
              <a:rPr lang="fr-FR" err="1"/>
              <a:t>dolor</a:t>
            </a:r>
            <a:r>
              <a:rPr lang="fr-FR"/>
              <a:t> in </a:t>
            </a:r>
            <a:r>
              <a:rPr lang="fr-FR" err="1"/>
              <a:t>hendrerit</a:t>
            </a:r>
            <a:r>
              <a:rPr lang="fr-FR"/>
              <a:t> in </a:t>
            </a:r>
            <a:r>
              <a:rPr lang="fr-FR" err="1"/>
              <a:t>vulputate</a:t>
            </a:r>
            <a:r>
              <a:rPr lang="fr-FR"/>
              <a:t> </a:t>
            </a:r>
            <a:r>
              <a:rPr lang="fr-FR" err="1"/>
              <a:t>velit</a:t>
            </a:r>
            <a:endParaRPr lang="fr-FR"/>
          </a:p>
          <a:p>
            <a:pPr lvl="0"/>
            <a:r>
              <a:rPr lang="fr-FR"/>
              <a:t>esse </a:t>
            </a:r>
            <a:r>
              <a:rPr lang="fr-FR" err="1"/>
              <a:t>molestie</a:t>
            </a:r>
            <a:r>
              <a:rPr lang="fr-FR"/>
              <a:t> </a:t>
            </a:r>
            <a:r>
              <a:rPr lang="fr-FR" err="1"/>
              <a:t>consequat</a:t>
            </a:r>
            <a:r>
              <a:rPr lang="fr-FR"/>
              <a:t>, </a:t>
            </a:r>
            <a:r>
              <a:rPr lang="fr-FR" err="1"/>
              <a:t>vel</a:t>
            </a:r>
            <a:r>
              <a:rPr lang="fr-FR"/>
              <a:t> </a:t>
            </a:r>
            <a:r>
              <a:rPr lang="fr-FR" err="1"/>
              <a:t>illum</a:t>
            </a:r>
            <a:r>
              <a:rPr lang="fr-FR"/>
              <a:t> </a:t>
            </a:r>
            <a:r>
              <a:rPr lang="fr-FR" err="1"/>
              <a:t>dolore</a:t>
            </a:r>
            <a:r>
              <a:rPr lang="fr-FR"/>
              <a:t> eu</a:t>
            </a:r>
          </a:p>
        </p:txBody>
      </p:sp>
      <p:sp>
        <p:nvSpPr>
          <p:cNvPr id="30" name="Espace réservé pour une image  4">
            <a:extLst>
              <a:ext uri="{FF2B5EF4-FFF2-40B4-BE49-F238E27FC236}">
                <a16:creationId xmlns:a16="http://schemas.microsoft.com/office/drawing/2014/main" id="{242916BF-A5B6-4C87-8B0C-2DB0BA6F0216}"/>
              </a:ext>
            </a:extLst>
          </p:cNvPr>
          <p:cNvSpPr>
            <a:spLocks noGrp="1"/>
          </p:cNvSpPr>
          <p:nvPr>
            <p:ph type="pic" sz="quarter" idx="44"/>
          </p:nvPr>
        </p:nvSpPr>
        <p:spPr>
          <a:xfrm>
            <a:off x="6338923" y="2914530"/>
            <a:ext cx="641350" cy="621854"/>
          </a:xfrm>
        </p:spPr>
        <p:txBody>
          <a:bodyPr>
            <a:noAutofit/>
          </a:bodyPr>
          <a:lstStyle>
            <a:lvl1pPr>
              <a:defRPr>
                <a:noFill/>
              </a:defRPr>
            </a:lvl1pPr>
          </a:lstStyle>
          <a:p>
            <a:endParaRPr lang="fr-FR"/>
          </a:p>
        </p:txBody>
      </p:sp>
      <p:sp>
        <p:nvSpPr>
          <p:cNvPr id="31" name="Espace réservé du texte 12">
            <a:extLst>
              <a:ext uri="{FF2B5EF4-FFF2-40B4-BE49-F238E27FC236}">
                <a16:creationId xmlns:a16="http://schemas.microsoft.com/office/drawing/2014/main" id="{1D360D50-3AC4-400E-8957-E8D2D923FFD5}"/>
              </a:ext>
            </a:extLst>
          </p:cNvPr>
          <p:cNvSpPr>
            <a:spLocks noGrp="1"/>
          </p:cNvSpPr>
          <p:nvPr>
            <p:ph type="body" sz="quarter" idx="45" hasCustomPrompt="1"/>
          </p:nvPr>
        </p:nvSpPr>
        <p:spPr>
          <a:xfrm>
            <a:off x="7216175" y="4337820"/>
            <a:ext cx="4303825" cy="623248"/>
          </a:xfrm>
        </p:spPr>
        <p:txBody>
          <a:bodyPr vert="horz" lIns="0" tIns="0" rIns="0" bIns="0" rtlCol="0">
            <a:noAutofit/>
          </a:bodyPr>
          <a:lstStyle>
            <a:lvl1pPr>
              <a:defRPr lang="fr-FR" sz="1500">
                <a:latin typeface="+mj-lt"/>
              </a:defRPr>
            </a:lvl1pPr>
          </a:lstStyle>
          <a:p>
            <a:pPr lvl="0">
              <a:lnSpc>
                <a:spcPct val="80000"/>
              </a:lnSpc>
              <a:spcBef>
                <a:spcPts val="400"/>
              </a:spcBef>
            </a:pPr>
            <a:r>
              <a:rPr lang="fr-FR" err="1"/>
              <a:t>Tation</a:t>
            </a:r>
            <a:r>
              <a:rPr lang="fr-FR"/>
              <a:t> </a:t>
            </a:r>
            <a:r>
              <a:rPr lang="fr-FR" err="1"/>
              <a:t>ullamcorper</a:t>
            </a:r>
            <a:r>
              <a:rPr lang="fr-FR"/>
              <a:t> </a:t>
            </a:r>
            <a:r>
              <a:rPr lang="fr-FR" err="1"/>
              <a:t>suscipit</a:t>
            </a:r>
            <a:r>
              <a:rPr lang="fr-FR"/>
              <a:t> </a:t>
            </a:r>
            <a:r>
              <a:rPr lang="fr-FR" err="1"/>
              <a:t>lobortis</a:t>
            </a:r>
            <a:r>
              <a:rPr lang="fr-FR"/>
              <a:t> </a:t>
            </a:r>
            <a:r>
              <a:rPr lang="fr-FR" err="1"/>
              <a:t>nisl</a:t>
            </a:r>
            <a:r>
              <a:rPr lang="fr-FR"/>
              <a:t> ut</a:t>
            </a:r>
          </a:p>
          <a:p>
            <a:pPr lvl="0">
              <a:lnSpc>
                <a:spcPct val="80000"/>
              </a:lnSpc>
              <a:spcBef>
                <a:spcPts val="400"/>
              </a:spcBef>
            </a:pPr>
            <a:r>
              <a:rPr lang="fr-FR" err="1"/>
              <a:t>aliquip</a:t>
            </a:r>
            <a:r>
              <a:rPr lang="fr-FR"/>
              <a:t> ex </a:t>
            </a:r>
            <a:r>
              <a:rPr lang="fr-FR" err="1"/>
              <a:t>dolor</a:t>
            </a:r>
            <a:r>
              <a:rPr lang="fr-FR"/>
              <a:t> in </a:t>
            </a:r>
            <a:r>
              <a:rPr lang="fr-FR" err="1"/>
              <a:t>hendrerit</a:t>
            </a:r>
            <a:r>
              <a:rPr lang="fr-FR"/>
              <a:t> in </a:t>
            </a:r>
            <a:r>
              <a:rPr lang="fr-FR" err="1"/>
              <a:t>vulputate</a:t>
            </a:r>
            <a:r>
              <a:rPr lang="fr-FR"/>
              <a:t> </a:t>
            </a:r>
            <a:r>
              <a:rPr lang="fr-FR" err="1"/>
              <a:t>velit</a:t>
            </a:r>
            <a:endParaRPr lang="fr-FR"/>
          </a:p>
          <a:p>
            <a:pPr lvl="0">
              <a:lnSpc>
                <a:spcPct val="80000"/>
              </a:lnSpc>
              <a:spcBef>
                <a:spcPts val="400"/>
              </a:spcBef>
            </a:pPr>
            <a:r>
              <a:rPr lang="fr-FR"/>
              <a:t>esse </a:t>
            </a:r>
            <a:r>
              <a:rPr lang="fr-FR" err="1"/>
              <a:t>molestie</a:t>
            </a:r>
            <a:r>
              <a:rPr lang="fr-FR"/>
              <a:t> </a:t>
            </a:r>
            <a:r>
              <a:rPr lang="fr-FR" err="1"/>
              <a:t>consequat</a:t>
            </a:r>
            <a:r>
              <a:rPr lang="fr-FR"/>
              <a:t>, </a:t>
            </a:r>
            <a:r>
              <a:rPr lang="fr-FR" err="1"/>
              <a:t>vel</a:t>
            </a:r>
            <a:r>
              <a:rPr lang="fr-FR"/>
              <a:t> </a:t>
            </a:r>
            <a:r>
              <a:rPr lang="fr-FR" err="1"/>
              <a:t>illum</a:t>
            </a:r>
            <a:r>
              <a:rPr lang="fr-FR"/>
              <a:t> </a:t>
            </a:r>
            <a:r>
              <a:rPr lang="fr-FR" err="1"/>
              <a:t>dolore</a:t>
            </a:r>
            <a:r>
              <a:rPr lang="fr-FR"/>
              <a:t> eu</a:t>
            </a:r>
          </a:p>
        </p:txBody>
      </p:sp>
      <p:sp>
        <p:nvSpPr>
          <p:cNvPr id="32" name="Espace réservé pour une image  4">
            <a:extLst>
              <a:ext uri="{FF2B5EF4-FFF2-40B4-BE49-F238E27FC236}">
                <a16:creationId xmlns:a16="http://schemas.microsoft.com/office/drawing/2014/main" id="{754F8632-5B54-4370-A3B5-0B945F38AB07}"/>
              </a:ext>
            </a:extLst>
          </p:cNvPr>
          <p:cNvSpPr>
            <a:spLocks noGrp="1"/>
          </p:cNvSpPr>
          <p:nvPr>
            <p:ph type="pic" sz="quarter" idx="46"/>
          </p:nvPr>
        </p:nvSpPr>
        <p:spPr>
          <a:xfrm>
            <a:off x="6338923" y="4336426"/>
            <a:ext cx="641350" cy="621854"/>
          </a:xfrm>
        </p:spPr>
        <p:txBody>
          <a:bodyPr>
            <a:noAutofit/>
          </a:bodyPr>
          <a:lstStyle>
            <a:lvl1pPr>
              <a:defRPr>
                <a:noFill/>
              </a:defRPr>
            </a:lvl1pPr>
          </a:lstStyle>
          <a:p>
            <a:endParaRPr lang="fr-FR"/>
          </a:p>
        </p:txBody>
      </p:sp>
    </p:spTree>
    <p:extLst>
      <p:ext uri="{BB962C8B-B14F-4D97-AF65-F5344CB8AC3E}">
        <p14:creationId xmlns:p14="http://schemas.microsoft.com/office/powerpoint/2010/main" val="814743353"/>
      </p:ext>
    </p:extLst>
  </p:cSld>
  <p:clrMapOvr>
    <a:masterClrMapping/>
  </p:clrMapOvr>
  <p:extLst mod="1">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Chapitre">
    <p:bg>
      <p:bgPr>
        <a:solidFill>
          <a:schemeClr val="tx2"/>
        </a:solidFill>
        <a:effectLst/>
      </p:bgPr>
    </p:bg>
    <p:spTree>
      <p:nvGrpSpPr>
        <p:cNvPr id="1" name=""/>
        <p:cNvGrpSpPr/>
        <p:nvPr/>
      </p:nvGrpSpPr>
      <p:grpSpPr>
        <a:xfrm>
          <a:off x="0" y="0"/>
          <a:ext cx="0" cy="0"/>
          <a:chOff x="0" y="0"/>
          <a:chExt cx="0" cy="0"/>
        </a:xfrm>
      </p:grpSpPr>
      <p:pic>
        <p:nvPicPr>
          <p:cNvPr id="9" name="Graphique 9">
            <a:extLst>
              <a:ext uri="{FF2B5EF4-FFF2-40B4-BE49-F238E27FC236}">
                <a16:creationId xmlns:a16="http://schemas.microsoft.com/office/drawing/2014/main" id="{E7E00268-DFEE-40A0-8BA0-46BB9D234D68}"/>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1" y="605605"/>
            <a:ext cx="12192001" cy="5652000"/>
          </a:xfrm>
          <a:prstGeom prst="rect">
            <a:avLst/>
          </a:prstGeom>
        </p:spPr>
      </p:pic>
      <p:sp>
        <p:nvSpPr>
          <p:cNvPr id="14" name="Espace réservé du numéro de diapositive 13">
            <a:extLst>
              <a:ext uri="{FF2B5EF4-FFF2-40B4-BE49-F238E27FC236}">
                <a16:creationId xmlns:a16="http://schemas.microsoft.com/office/drawing/2014/main" id="{FDC00936-BF14-4A2E-8AFC-70AF3C367646}"/>
              </a:ext>
            </a:extLst>
          </p:cNvPr>
          <p:cNvSpPr>
            <a:spLocks noGrp="1"/>
          </p:cNvSpPr>
          <p:nvPr>
            <p:ph type="sldNum" sz="quarter" idx="16"/>
          </p:nvPr>
        </p:nvSpPr>
        <p:spPr/>
        <p:txBody>
          <a:bodyPr/>
          <a:lstStyle>
            <a:lvl1pPr>
              <a:defRPr>
                <a:solidFill>
                  <a:schemeClr val="bg1"/>
                </a:solidFill>
              </a:defRPr>
            </a:lvl1pPr>
          </a:lstStyle>
          <a:p>
            <a:fld id="{0E896D16-09AE-411D-B63D-68D5DFDAD9AB}" type="slidenum">
              <a:rPr lang="fr-FR" smtClean="0"/>
              <a:pPr/>
              <a:t>‹N°›</a:t>
            </a:fld>
            <a:endParaRPr lang="fr-FR"/>
          </a:p>
        </p:txBody>
      </p:sp>
      <p:sp>
        <p:nvSpPr>
          <p:cNvPr id="2" name="Espace réservé de la date 1"/>
          <p:cNvSpPr>
            <a:spLocks noGrp="1"/>
          </p:cNvSpPr>
          <p:nvPr>
            <p:ph type="dt" sz="half" idx="21"/>
          </p:nvPr>
        </p:nvSpPr>
        <p:spPr/>
        <p:txBody>
          <a:bodyPr/>
          <a:lstStyle>
            <a:lvl1pPr>
              <a:defRPr>
                <a:solidFill>
                  <a:schemeClr val="bg1"/>
                </a:solidFill>
              </a:defRPr>
            </a:lvl1pPr>
          </a:lstStyle>
          <a:p>
            <a:r>
              <a:rPr lang="fr-FR" smtClean="0"/>
              <a:t>Diffusion restreinte - Avril 2024</a:t>
            </a:r>
            <a:endParaRPr lang="fr-FR"/>
          </a:p>
        </p:txBody>
      </p:sp>
      <p:sp>
        <p:nvSpPr>
          <p:cNvPr id="3" name="Espace réservé du pied de page 2"/>
          <p:cNvSpPr>
            <a:spLocks noGrp="1"/>
          </p:cNvSpPr>
          <p:nvPr>
            <p:ph type="ftr" sz="quarter" idx="22"/>
          </p:nvPr>
        </p:nvSpPr>
        <p:spPr/>
        <p:txBody>
          <a:bodyPr/>
          <a:lstStyle>
            <a:lvl1pPr>
              <a:defRPr>
                <a:solidFill>
                  <a:schemeClr val="bg1"/>
                </a:solidFill>
              </a:defRPr>
            </a:lvl1pPr>
          </a:lstStyle>
          <a:p>
            <a:r>
              <a:rPr lang="fr-FR" smtClean="0"/>
              <a:t>Bilatérale Enedis - DGEC - Mobilité électrique</a:t>
            </a:r>
            <a:endParaRPr lang="fr-FR"/>
          </a:p>
        </p:txBody>
      </p:sp>
      <p:grpSp>
        <p:nvGrpSpPr>
          <p:cNvPr id="10" name="Groupe 9">
            <a:extLst>
              <a:ext uri="{FF2B5EF4-FFF2-40B4-BE49-F238E27FC236}">
                <a16:creationId xmlns:a16="http://schemas.microsoft.com/office/drawing/2014/main" id="{F4FAAC4F-29CC-4144-9856-71A8E253354B}"/>
              </a:ext>
            </a:extLst>
          </p:cNvPr>
          <p:cNvGrpSpPr>
            <a:grpSpLocks noChangeAspect="1"/>
          </p:cNvGrpSpPr>
          <p:nvPr userDrawn="1"/>
        </p:nvGrpSpPr>
        <p:grpSpPr>
          <a:xfrm>
            <a:off x="144000" y="6587999"/>
            <a:ext cx="767567" cy="155112"/>
            <a:chOff x="3231832" y="7185063"/>
            <a:chExt cx="5132298" cy="1037158"/>
          </a:xfrm>
        </p:grpSpPr>
        <p:sp>
          <p:nvSpPr>
            <p:cNvPr id="11" name="Forme libre : forme 17">
              <a:extLst>
                <a:ext uri="{FF2B5EF4-FFF2-40B4-BE49-F238E27FC236}">
                  <a16:creationId xmlns:a16="http://schemas.microsoft.com/office/drawing/2014/main" id="{A97AA9B0-92D5-4733-A3B8-64339C545124}"/>
                </a:ext>
              </a:extLst>
            </p:cNvPr>
            <p:cNvSpPr/>
            <p:nvPr/>
          </p:nvSpPr>
          <p:spPr>
            <a:xfrm>
              <a:off x="5071966" y="7185101"/>
              <a:ext cx="1117644" cy="1037120"/>
            </a:xfrm>
            <a:custGeom>
              <a:avLst/>
              <a:gdLst>
                <a:gd name="connsiteX0" fmla="*/ 519115 w 1117644"/>
                <a:gd name="connsiteY0" fmla="*/ 848219 h 1037120"/>
                <a:gd name="connsiteX1" fmla="*/ 324919 w 1117644"/>
                <a:gd name="connsiteY1" fmla="*/ 668711 h 1037120"/>
                <a:gd name="connsiteX2" fmla="*/ 325338 w 1117644"/>
                <a:gd name="connsiteY2" fmla="*/ 636136 h 1037120"/>
                <a:gd name="connsiteX3" fmla="*/ 739428 w 1117644"/>
                <a:gd name="connsiteY3" fmla="*/ 636136 h 1037120"/>
                <a:gd name="connsiteX4" fmla="*/ 999289 w 1117644"/>
                <a:gd name="connsiteY4" fmla="*/ 394601 h 1037120"/>
                <a:gd name="connsiteX5" fmla="*/ 999289 w 1117644"/>
                <a:gd name="connsiteY5" fmla="*/ 241572 h 1037120"/>
                <a:gd name="connsiteX6" fmla="*/ 739428 w 1117644"/>
                <a:gd name="connsiteY6" fmla="*/ 37 h 1037120"/>
                <a:gd name="connsiteX7" fmla="*/ 378107 w 1117644"/>
                <a:gd name="connsiteY7" fmla="*/ 37 h 1037120"/>
                <a:gd name="connsiteX8" fmla="*/ 317775 w 1117644"/>
                <a:gd name="connsiteY8" fmla="*/ 4647 h 1037120"/>
                <a:gd name="connsiteX9" fmla="*/ 118684 w 1117644"/>
                <a:gd name="connsiteY9" fmla="*/ 241572 h 1037120"/>
                <a:gd name="connsiteX10" fmla="*/ 118684 w 1117644"/>
                <a:gd name="connsiteY10" fmla="*/ 330402 h 1037120"/>
                <a:gd name="connsiteX11" fmla="*/ 151850 w 1117644"/>
                <a:gd name="connsiteY11" fmla="*/ 367302 h 1037120"/>
                <a:gd name="connsiteX12" fmla="*/ 292096 w 1117644"/>
                <a:gd name="connsiteY12" fmla="*/ 367302 h 1037120"/>
                <a:gd name="connsiteX13" fmla="*/ 325300 w 1117644"/>
                <a:gd name="connsiteY13" fmla="*/ 330402 h 1037120"/>
                <a:gd name="connsiteX14" fmla="*/ 325300 w 1117644"/>
                <a:gd name="connsiteY14" fmla="*/ 273062 h 1037120"/>
                <a:gd name="connsiteX15" fmla="*/ 417369 w 1117644"/>
                <a:gd name="connsiteY15" fmla="*/ 188994 h 1037120"/>
                <a:gd name="connsiteX16" fmla="*/ 700680 w 1117644"/>
                <a:gd name="connsiteY16" fmla="*/ 188994 h 1037120"/>
                <a:gd name="connsiteX17" fmla="*/ 792768 w 1117644"/>
                <a:gd name="connsiteY17" fmla="*/ 273062 h 1037120"/>
                <a:gd name="connsiteX18" fmla="*/ 792768 w 1117644"/>
                <a:gd name="connsiteY18" fmla="*/ 363892 h 1037120"/>
                <a:gd name="connsiteX19" fmla="*/ 700680 w 1117644"/>
                <a:gd name="connsiteY19" fmla="*/ 447884 h 1037120"/>
                <a:gd name="connsiteX20" fmla="*/ 250 w 1117644"/>
                <a:gd name="connsiteY20" fmla="*/ 447884 h 1037120"/>
                <a:gd name="connsiteX21" fmla="*/ 250 w 1117644"/>
                <a:gd name="connsiteY21" fmla="*/ 636136 h 1037120"/>
                <a:gd name="connsiteX22" fmla="*/ 118188 w 1117644"/>
                <a:gd name="connsiteY22" fmla="*/ 636136 h 1037120"/>
                <a:gd name="connsiteX23" fmla="*/ 118188 w 1117644"/>
                <a:gd name="connsiteY23" fmla="*/ 668673 h 1037120"/>
                <a:gd name="connsiteX24" fmla="*/ 519800 w 1117644"/>
                <a:gd name="connsiteY24" fmla="*/ 1037157 h 1037120"/>
                <a:gd name="connsiteX25" fmla="*/ 1117894 w 1117644"/>
                <a:gd name="connsiteY25" fmla="*/ 1037157 h 1037120"/>
                <a:gd name="connsiteX26" fmla="*/ 1117894 w 1117644"/>
                <a:gd name="connsiteY26" fmla="*/ 848200 h 1037120"/>
                <a:gd name="connsiteX27" fmla="*/ 519115 w 1117644"/>
                <a:gd name="connsiteY27" fmla="*/ 848219 h 103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17644" h="1037120">
                  <a:moveTo>
                    <a:pt x="519115" y="848219"/>
                  </a:moveTo>
                  <a:cubicBezTo>
                    <a:pt x="412035" y="848219"/>
                    <a:pt x="324919" y="768248"/>
                    <a:pt x="324919" y="668711"/>
                  </a:cubicBezTo>
                  <a:lnTo>
                    <a:pt x="325338" y="636136"/>
                  </a:lnTo>
                  <a:lnTo>
                    <a:pt x="739428" y="636136"/>
                  </a:lnTo>
                  <a:cubicBezTo>
                    <a:pt x="882741" y="636136"/>
                    <a:pt x="999289" y="527798"/>
                    <a:pt x="999289" y="394601"/>
                  </a:cubicBezTo>
                  <a:lnTo>
                    <a:pt x="999289" y="241572"/>
                  </a:lnTo>
                  <a:cubicBezTo>
                    <a:pt x="999289" y="108375"/>
                    <a:pt x="882741" y="37"/>
                    <a:pt x="739428" y="37"/>
                  </a:cubicBezTo>
                  <a:lnTo>
                    <a:pt x="378107" y="37"/>
                  </a:lnTo>
                  <a:cubicBezTo>
                    <a:pt x="358028" y="37"/>
                    <a:pt x="337740" y="228"/>
                    <a:pt x="317775" y="4647"/>
                  </a:cubicBezTo>
                  <a:cubicBezTo>
                    <a:pt x="200294" y="30727"/>
                    <a:pt x="118684" y="129349"/>
                    <a:pt x="118684" y="241572"/>
                  </a:cubicBezTo>
                  <a:lnTo>
                    <a:pt x="118684" y="330402"/>
                  </a:lnTo>
                  <a:cubicBezTo>
                    <a:pt x="118684" y="350729"/>
                    <a:pt x="133543" y="367302"/>
                    <a:pt x="151850" y="367302"/>
                  </a:cubicBezTo>
                  <a:lnTo>
                    <a:pt x="292096" y="367302"/>
                  </a:lnTo>
                  <a:cubicBezTo>
                    <a:pt x="310422" y="367302"/>
                    <a:pt x="325300" y="350729"/>
                    <a:pt x="325300" y="330402"/>
                  </a:cubicBezTo>
                  <a:lnTo>
                    <a:pt x="325300" y="273062"/>
                  </a:lnTo>
                  <a:cubicBezTo>
                    <a:pt x="325300" y="226713"/>
                    <a:pt x="366600" y="188994"/>
                    <a:pt x="417369" y="188994"/>
                  </a:cubicBezTo>
                  <a:lnTo>
                    <a:pt x="700680" y="188994"/>
                  </a:lnTo>
                  <a:cubicBezTo>
                    <a:pt x="751467" y="188994"/>
                    <a:pt x="792768" y="226713"/>
                    <a:pt x="792768" y="273062"/>
                  </a:cubicBezTo>
                  <a:lnTo>
                    <a:pt x="792768" y="363892"/>
                  </a:lnTo>
                  <a:cubicBezTo>
                    <a:pt x="792768" y="410203"/>
                    <a:pt x="751467" y="447884"/>
                    <a:pt x="700680" y="447884"/>
                  </a:cubicBezTo>
                  <a:lnTo>
                    <a:pt x="250" y="447884"/>
                  </a:lnTo>
                  <a:lnTo>
                    <a:pt x="250" y="636136"/>
                  </a:lnTo>
                  <a:lnTo>
                    <a:pt x="118188" y="636136"/>
                  </a:lnTo>
                  <a:lnTo>
                    <a:pt x="118188" y="668673"/>
                  </a:lnTo>
                  <a:cubicBezTo>
                    <a:pt x="118188" y="872527"/>
                    <a:pt x="298859" y="1037157"/>
                    <a:pt x="519800" y="1037157"/>
                  </a:cubicBezTo>
                  <a:lnTo>
                    <a:pt x="1117894" y="1037157"/>
                  </a:lnTo>
                  <a:lnTo>
                    <a:pt x="1117894" y="848200"/>
                  </a:lnTo>
                  <a:lnTo>
                    <a:pt x="519115" y="848219"/>
                  </a:lnTo>
                  <a:close/>
                </a:path>
              </a:pathLst>
            </a:custGeom>
            <a:solidFill>
              <a:srgbClr val="96CD32"/>
            </a:solidFill>
            <a:ln w="19050" cap="flat">
              <a:noFill/>
              <a:prstDash val="solid"/>
              <a:round/>
            </a:ln>
          </p:spPr>
          <p:txBody>
            <a:bodyPr rtlCol="0" anchor="ctr"/>
            <a:lstStyle/>
            <a:p>
              <a:endParaRPr lang="fr-FR"/>
            </a:p>
          </p:txBody>
        </p:sp>
        <p:sp>
          <p:nvSpPr>
            <p:cNvPr id="12" name="Forme libre : forme 18">
              <a:extLst>
                <a:ext uri="{FF2B5EF4-FFF2-40B4-BE49-F238E27FC236}">
                  <a16:creationId xmlns:a16="http://schemas.microsoft.com/office/drawing/2014/main" id="{4CBA4159-2E86-411E-A0B6-2490089540CB}"/>
                </a:ext>
              </a:extLst>
            </p:cNvPr>
            <p:cNvSpPr/>
            <p:nvPr/>
          </p:nvSpPr>
          <p:spPr>
            <a:xfrm>
              <a:off x="3231832" y="7185063"/>
              <a:ext cx="5132298" cy="1037139"/>
            </a:xfrm>
            <a:custGeom>
              <a:avLst/>
              <a:gdLst>
                <a:gd name="connsiteX0" fmla="*/ 4143956 w 5132298"/>
                <a:gd name="connsiteY0" fmla="*/ 78849 h 1037139"/>
                <a:gd name="connsiteX1" fmla="*/ 4143651 w 5132298"/>
                <a:gd name="connsiteY1" fmla="*/ 36939 h 1037139"/>
                <a:gd name="connsiteX2" fmla="*/ 4110447 w 5132298"/>
                <a:gd name="connsiteY2" fmla="*/ 78 h 1037139"/>
                <a:gd name="connsiteX3" fmla="*/ 3970639 w 5132298"/>
                <a:gd name="connsiteY3" fmla="*/ 78 h 1037139"/>
                <a:gd name="connsiteX4" fmla="*/ 3937435 w 5132298"/>
                <a:gd name="connsiteY4" fmla="*/ 36939 h 1037139"/>
                <a:gd name="connsiteX5" fmla="*/ 3937435 w 5132298"/>
                <a:gd name="connsiteY5" fmla="*/ 78849 h 1037139"/>
                <a:gd name="connsiteX6" fmla="*/ 3937454 w 5132298"/>
                <a:gd name="connsiteY6" fmla="*/ 78849 h 1037139"/>
                <a:gd name="connsiteX7" fmla="*/ 3937759 w 5132298"/>
                <a:gd name="connsiteY7" fmla="*/ 152249 h 1037139"/>
                <a:gd name="connsiteX8" fmla="*/ 3970963 w 5132298"/>
                <a:gd name="connsiteY8" fmla="*/ 189111 h 1037139"/>
                <a:gd name="connsiteX9" fmla="*/ 4110771 w 5132298"/>
                <a:gd name="connsiteY9" fmla="*/ 189111 h 1037139"/>
                <a:gd name="connsiteX10" fmla="*/ 4143975 w 5132298"/>
                <a:gd name="connsiteY10" fmla="*/ 152249 h 1037139"/>
                <a:gd name="connsiteX11" fmla="*/ 4143975 w 5132298"/>
                <a:gd name="connsiteY11" fmla="*/ 78849 h 1037139"/>
                <a:gd name="connsiteX12" fmla="*/ 4143956 w 5132298"/>
                <a:gd name="connsiteY12" fmla="*/ 78849 h 1037139"/>
                <a:gd name="connsiteX13" fmla="*/ 4143956 w 5132298"/>
                <a:gd name="connsiteY13" fmla="*/ 653397 h 1037139"/>
                <a:gd name="connsiteX14" fmla="*/ 4143651 w 5132298"/>
                <a:gd name="connsiteY14" fmla="*/ 306706 h 1037139"/>
                <a:gd name="connsiteX15" fmla="*/ 4110447 w 5132298"/>
                <a:gd name="connsiteY15" fmla="*/ 269845 h 1037139"/>
                <a:gd name="connsiteX16" fmla="*/ 3970639 w 5132298"/>
                <a:gd name="connsiteY16" fmla="*/ 269845 h 1037139"/>
                <a:gd name="connsiteX17" fmla="*/ 3937435 w 5132298"/>
                <a:gd name="connsiteY17" fmla="*/ 306706 h 1037139"/>
                <a:gd name="connsiteX18" fmla="*/ 3937435 w 5132298"/>
                <a:gd name="connsiteY18" fmla="*/ 653397 h 1037139"/>
                <a:gd name="connsiteX19" fmla="*/ 3937454 w 5132298"/>
                <a:gd name="connsiteY19" fmla="*/ 653397 h 1037139"/>
                <a:gd name="connsiteX20" fmla="*/ 3937759 w 5132298"/>
                <a:gd name="connsiteY20" fmla="*/ 1000069 h 1037139"/>
                <a:gd name="connsiteX21" fmla="*/ 3970963 w 5132298"/>
                <a:gd name="connsiteY21" fmla="*/ 1036931 h 1037139"/>
                <a:gd name="connsiteX22" fmla="*/ 4110771 w 5132298"/>
                <a:gd name="connsiteY22" fmla="*/ 1036931 h 1037139"/>
                <a:gd name="connsiteX23" fmla="*/ 4143975 w 5132298"/>
                <a:gd name="connsiteY23" fmla="*/ 1000069 h 1037139"/>
                <a:gd name="connsiteX24" fmla="*/ 4143975 w 5132298"/>
                <a:gd name="connsiteY24" fmla="*/ 653397 h 1037139"/>
                <a:gd name="connsiteX25" fmla="*/ 4143956 w 5132298"/>
                <a:gd name="connsiteY25" fmla="*/ 653397 h 1037139"/>
                <a:gd name="connsiteX26" fmla="*/ 3441430 w 5132298"/>
                <a:gd name="connsiteY26" fmla="*/ 78 h 1037139"/>
                <a:gd name="connsiteX27" fmla="*/ 2991355 w 5132298"/>
                <a:gd name="connsiteY27" fmla="*/ 78 h 1037139"/>
                <a:gd name="connsiteX28" fmla="*/ 2958131 w 5132298"/>
                <a:gd name="connsiteY28" fmla="*/ 37035 h 1037139"/>
                <a:gd name="connsiteX29" fmla="*/ 2958131 w 5132298"/>
                <a:gd name="connsiteY29" fmla="*/ 646958 h 1037139"/>
                <a:gd name="connsiteX30" fmla="*/ 2991297 w 5132298"/>
                <a:gd name="connsiteY30" fmla="*/ 683858 h 1037139"/>
                <a:gd name="connsiteX31" fmla="*/ 3131391 w 5132298"/>
                <a:gd name="connsiteY31" fmla="*/ 683858 h 1037139"/>
                <a:gd name="connsiteX32" fmla="*/ 3164595 w 5132298"/>
                <a:gd name="connsiteY32" fmla="*/ 646958 h 1037139"/>
                <a:gd name="connsiteX33" fmla="*/ 3164786 w 5132298"/>
                <a:gd name="connsiteY33" fmla="*/ 189015 h 1037139"/>
                <a:gd name="connsiteX34" fmla="*/ 3418284 w 5132298"/>
                <a:gd name="connsiteY34" fmla="*/ 189111 h 1037139"/>
                <a:gd name="connsiteX35" fmla="*/ 3612499 w 5132298"/>
                <a:gd name="connsiteY35" fmla="*/ 369762 h 1037139"/>
                <a:gd name="connsiteX36" fmla="*/ 3612499 w 5132298"/>
                <a:gd name="connsiteY36" fmla="*/ 702794 h 1037139"/>
                <a:gd name="connsiteX37" fmla="*/ 3418284 w 5132298"/>
                <a:gd name="connsiteY37" fmla="*/ 847822 h 1037139"/>
                <a:gd name="connsiteX38" fmla="*/ 2958131 w 5132298"/>
                <a:gd name="connsiteY38" fmla="*/ 848298 h 1037139"/>
                <a:gd name="connsiteX39" fmla="*/ 2958131 w 5132298"/>
                <a:gd name="connsiteY39" fmla="*/ 1037217 h 1037139"/>
                <a:gd name="connsiteX40" fmla="*/ 3418284 w 5132298"/>
                <a:gd name="connsiteY40" fmla="*/ 1036931 h 1037139"/>
                <a:gd name="connsiteX41" fmla="*/ 3818982 w 5132298"/>
                <a:gd name="connsiteY41" fmla="*/ 702794 h 1037139"/>
                <a:gd name="connsiteX42" fmla="*/ 3818982 w 5132298"/>
                <a:gd name="connsiteY42" fmla="*/ 367590 h 1037139"/>
                <a:gd name="connsiteX43" fmla="*/ 3441430 w 5132298"/>
                <a:gd name="connsiteY43" fmla="*/ 78 h 1037139"/>
                <a:gd name="connsiteX44" fmla="*/ 5132651 w 5132298"/>
                <a:gd name="connsiteY44" fmla="*/ 679820 h 1037139"/>
                <a:gd name="connsiteX45" fmla="*/ 5131660 w 5132298"/>
                <a:gd name="connsiteY45" fmla="*/ 650425 h 1037139"/>
                <a:gd name="connsiteX46" fmla="*/ 4877591 w 5132298"/>
                <a:gd name="connsiteY46" fmla="*/ 447943 h 1037139"/>
                <a:gd name="connsiteX47" fmla="*/ 4567171 w 5132298"/>
                <a:gd name="connsiteY47" fmla="*/ 447943 h 1037139"/>
                <a:gd name="connsiteX48" fmla="*/ 4559208 w 5132298"/>
                <a:gd name="connsiteY48" fmla="*/ 447924 h 1037139"/>
                <a:gd name="connsiteX49" fmla="*/ 4469063 w 5132298"/>
                <a:gd name="connsiteY49" fmla="*/ 349759 h 1037139"/>
                <a:gd name="connsiteX50" fmla="*/ 4469368 w 5132298"/>
                <a:gd name="connsiteY50" fmla="*/ 279312 h 1037139"/>
                <a:gd name="connsiteX51" fmla="*/ 4567533 w 5132298"/>
                <a:gd name="connsiteY51" fmla="*/ 189187 h 1037139"/>
                <a:gd name="connsiteX52" fmla="*/ 4690043 w 5132298"/>
                <a:gd name="connsiteY52" fmla="*/ 189187 h 1037139"/>
                <a:gd name="connsiteX53" fmla="*/ 4691243 w 5132298"/>
                <a:gd name="connsiteY53" fmla="*/ 189225 h 1037139"/>
                <a:gd name="connsiteX54" fmla="*/ 5000825 w 5132298"/>
                <a:gd name="connsiteY54" fmla="*/ 189225 h 1037139"/>
                <a:gd name="connsiteX55" fmla="*/ 5035706 w 5132298"/>
                <a:gd name="connsiteY55" fmla="*/ 166270 h 1037139"/>
                <a:gd name="connsiteX56" fmla="*/ 5037687 w 5132298"/>
                <a:gd name="connsiteY56" fmla="*/ 156021 h 1037139"/>
                <a:gd name="connsiteX57" fmla="*/ 5037687 w 5132298"/>
                <a:gd name="connsiteY57" fmla="*/ 33282 h 1037139"/>
                <a:gd name="connsiteX58" fmla="*/ 5000825 w 5132298"/>
                <a:gd name="connsiteY58" fmla="*/ 116 h 1037139"/>
                <a:gd name="connsiteX59" fmla="*/ 4517869 w 5132298"/>
                <a:gd name="connsiteY59" fmla="*/ 173 h 1037139"/>
                <a:gd name="connsiteX60" fmla="*/ 4262409 w 5132298"/>
                <a:gd name="connsiteY60" fmla="*/ 235555 h 1037139"/>
                <a:gd name="connsiteX61" fmla="*/ 4262428 w 5132298"/>
                <a:gd name="connsiteY61" fmla="*/ 382392 h 1037139"/>
                <a:gd name="connsiteX62" fmla="*/ 4497886 w 5132298"/>
                <a:gd name="connsiteY62" fmla="*/ 636214 h 1037139"/>
                <a:gd name="connsiteX63" fmla="*/ 4836309 w 5132298"/>
                <a:gd name="connsiteY63" fmla="*/ 636214 h 1037139"/>
                <a:gd name="connsiteX64" fmla="*/ 4925977 w 5132298"/>
                <a:gd name="connsiteY64" fmla="*/ 734398 h 1037139"/>
                <a:gd name="connsiteX65" fmla="*/ 4925977 w 5132298"/>
                <a:gd name="connsiteY65" fmla="*/ 757944 h 1037139"/>
                <a:gd name="connsiteX66" fmla="*/ 4828289 w 5132298"/>
                <a:gd name="connsiteY66" fmla="*/ 848050 h 1037139"/>
                <a:gd name="connsiteX67" fmla="*/ 4299290 w 5132298"/>
                <a:gd name="connsiteY67" fmla="*/ 848050 h 1037139"/>
                <a:gd name="connsiteX68" fmla="*/ 4264447 w 5132298"/>
                <a:gd name="connsiteY68" fmla="*/ 870872 h 1037139"/>
                <a:gd name="connsiteX69" fmla="*/ 4262390 w 5132298"/>
                <a:gd name="connsiteY69" fmla="*/ 881216 h 1037139"/>
                <a:gd name="connsiteX70" fmla="*/ 4262390 w 5132298"/>
                <a:gd name="connsiteY70" fmla="*/ 1003955 h 1037139"/>
                <a:gd name="connsiteX71" fmla="*/ 4299290 w 5132298"/>
                <a:gd name="connsiteY71" fmla="*/ 1037160 h 1037139"/>
                <a:gd name="connsiteX72" fmla="*/ 4732296 w 5132298"/>
                <a:gd name="connsiteY72" fmla="*/ 1037160 h 1037139"/>
                <a:gd name="connsiteX73" fmla="*/ 4879172 w 5132298"/>
                <a:gd name="connsiteY73" fmla="*/ 1037083 h 1037139"/>
                <a:gd name="connsiteX74" fmla="*/ 5132651 w 5132298"/>
                <a:gd name="connsiteY74" fmla="*/ 801587 h 1037139"/>
                <a:gd name="connsiteX75" fmla="*/ 5132651 w 5132298"/>
                <a:gd name="connsiteY75" fmla="*/ 679820 h 1037139"/>
                <a:gd name="connsiteX76" fmla="*/ 280863 w 5132298"/>
                <a:gd name="connsiteY76" fmla="*/ 189111 h 1037139"/>
                <a:gd name="connsiteX77" fmla="*/ 825046 w 5132298"/>
                <a:gd name="connsiteY77" fmla="*/ 189111 h 1037139"/>
                <a:gd name="connsiteX78" fmla="*/ 861203 w 5132298"/>
                <a:gd name="connsiteY78" fmla="*/ 156573 h 1037139"/>
                <a:gd name="connsiteX79" fmla="*/ 861203 w 5132298"/>
                <a:gd name="connsiteY79" fmla="*/ 32729 h 1037139"/>
                <a:gd name="connsiteX80" fmla="*/ 825046 w 5132298"/>
                <a:gd name="connsiteY80" fmla="*/ 78 h 1037139"/>
                <a:gd name="connsiteX81" fmla="*/ 277073 w 5132298"/>
                <a:gd name="connsiteY81" fmla="*/ 78 h 1037139"/>
                <a:gd name="connsiteX82" fmla="*/ 352 w 5132298"/>
                <a:gd name="connsiteY82" fmla="*/ 255005 h 1037139"/>
                <a:gd name="connsiteX83" fmla="*/ 352 w 5132298"/>
                <a:gd name="connsiteY83" fmla="*/ 782309 h 1037139"/>
                <a:gd name="connsiteX84" fmla="*/ 277073 w 5132298"/>
                <a:gd name="connsiteY84" fmla="*/ 1037217 h 1037139"/>
                <a:gd name="connsiteX85" fmla="*/ 825046 w 5132298"/>
                <a:gd name="connsiteY85" fmla="*/ 1037217 h 1037139"/>
                <a:gd name="connsiteX86" fmla="*/ 861203 w 5132298"/>
                <a:gd name="connsiteY86" fmla="*/ 1004660 h 1037139"/>
                <a:gd name="connsiteX87" fmla="*/ 861203 w 5132298"/>
                <a:gd name="connsiteY87" fmla="*/ 880816 h 1037139"/>
                <a:gd name="connsiteX88" fmla="*/ 825046 w 5132298"/>
                <a:gd name="connsiteY88" fmla="*/ 848298 h 1037139"/>
                <a:gd name="connsiteX89" fmla="*/ 280863 w 5132298"/>
                <a:gd name="connsiteY89" fmla="*/ 848298 h 1037139"/>
                <a:gd name="connsiteX90" fmla="*/ 207006 w 5132298"/>
                <a:gd name="connsiteY90" fmla="*/ 779051 h 1037139"/>
                <a:gd name="connsiteX91" fmla="*/ 207006 w 5132298"/>
                <a:gd name="connsiteY91" fmla="*/ 634347 h 1037139"/>
                <a:gd name="connsiteX92" fmla="*/ 532457 w 5132298"/>
                <a:gd name="connsiteY92" fmla="*/ 634347 h 1037139"/>
                <a:gd name="connsiteX93" fmla="*/ 568595 w 5132298"/>
                <a:gd name="connsiteY93" fmla="*/ 601772 h 1037139"/>
                <a:gd name="connsiteX94" fmla="*/ 568595 w 5132298"/>
                <a:gd name="connsiteY94" fmla="*/ 480557 h 1037139"/>
                <a:gd name="connsiteX95" fmla="*/ 532457 w 5132298"/>
                <a:gd name="connsiteY95" fmla="*/ 447943 h 1037139"/>
                <a:gd name="connsiteX96" fmla="*/ 207006 w 5132298"/>
                <a:gd name="connsiteY96" fmla="*/ 447943 h 1037139"/>
                <a:gd name="connsiteX97" fmla="*/ 207006 w 5132298"/>
                <a:gd name="connsiteY97" fmla="*/ 258395 h 1037139"/>
                <a:gd name="connsiteX98" fmla="*/ 280863 w 5132298"/>
                <a:gd name="connsiteY98" fmla="*/ 189111 h 1037139"/>
                <a:gd name="connsiteX99" fmla="*/ 1186405 w 5132298"/>
                <a:gd name="connsiteY99" fmla="*/ 189130 h 1037139"/>
                <a:gd name="connsiteX100" fmla="*/ 1186405 w 5132298"/>
                <a:gd name="connsiteY100" fmla="*/ 1000336 h 1037139"/>
                <a:gd name="connsiteX101" fmla="*/ 1153144 w 5132298"/>
                <a:gd name="connsiteY101" fmla="*/ 1037198 h 1037139"/>
                <a:gd name="connsiteX102" fmla="*/ 1012879 w 5132298"/>
                <a:gd name="connsiteY102" fmla="*/ 1037198 h 1037139"/>
                <a:gd name="connsiteX103" fmla="*/ 979656 w 5132298"/>
                <a:gd name="connsiteY103" fmla="*/ 1000336 h 1037139"/>
                <a:gd name="connsiteX104" fmla="*/ 979656 w 5132298"/>
                <a:gd name="connsiteY104" fmla="*/ 37035 h 1037139"/>
                <a:gd name="connsiteX105" fmla="*/ 1012879 w 5132298"/>
                <a:gd name="connsiteY105" fmla="*/ 116 h 1037139"/>
                <a:gd name="connsiteX106" fmla="*/ 1439846 w 5132298"/>
                <a:gd name="connsiteY106" fmla="*/ 116 h 1037139"/>
                <a:gd name="connsiteX107" fmla="*/ 1840506 w 5132298"/>
                <a:gd name="connsiteY107" fmla="*/ 369838 h 1037139"/>
                <a:gd name="connsiteX108" fmla="*/ 1840506 w 5132298"/>
                <a:gd name="connsiteY108" fmla="*/ 1004032 h 1037139"/>
                <a:gd name="connsiteX109" fmla="*/ 1803625 w 5132298"/>
                <a:gd name="connsiteY109" fmla="*/ 1037198 h 1037139"/>
                <a:gd name="connsiteX110" fmla="*/ 1670885 w 5132298"/>
                <a:gd name="connsiteY110" fmla="*/ 1037198 h 1037139"/>
                <a:gd name="connsiteX111" fmla="*/ 1634023 w 5132298"/>
                <a:gd name="connsiteY111" fmla="*/ 1004032 h 1037139"/>
                <a:gd name="connsiteX112" fmla="*/ 1634023 w 5132298"/>
                <a:gd name="connsiteY112" fmla="*/ 369838 h 1037139"/>
                <a:gd name="connsiteX113" fmla="*/ 1439846 w 5132298"/>
                <a:gd name="connsiteY113" fmla="*/ 189225 h 1037139"/>
                <a:gd name="connsiteX114" fmla="*/ 1186405 w 5132298"/>
                <a:gd name="connsiteY114" fmla="*/ 189130 h 103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132298" h="1037139">
                  <a:moveTo>
                    <a:pt x="4143956" y="78849"/>
                  </a:moveTo>
                  <a:lnTo>
                    <a:pt x="4143651" y="36939"/>
                  </a:lnTo>
                  <a:cubicBezTo>
                    <a:pt x="4143651" y="16613"/>
                    <a:pt x="4128754" y="78"/>
                    <a:pt x="4110447" y="78"/>
                  </a:cubicBezTo>
                  <a:lnTo>
                    <a:pt x="3970639" y="78"/>
                  </a:lnTo>
                  <a:cubicBezTo>
                    <a:pt x="3952351" y="78"/>
                    <a:pt x="3937435" y="16613"/>
                    <a:pt x="3937435" y="36939"/>
                  </a:cubicBezTo>
                  <a:lnTo>
                    <a:pt x="3937435" y="78849"/>
                  </a:lnTo>
                  <a:lnTo>
                    <a:pt x="3937454" y="78849"/>
                  </a:lnTo>
                  <a:lnTo>
                    <a:pt x="3937759" y="152249"/>
                  </a:lnTo>
                  <a:cubicBezTo>
                    <a:pt x="3937759" y="172575"/>
                    <a:pt x="3952637" y="189111"/>
                    <a:pt x="3970963" y="189111"/>
                  </a:cubicBezTo>
                  <a:lnTo>
                    <a:pt x="4110771" y="189111"/>
                  </a:lnTo>
                  <a:cubicBezTo>
                    <a:pt x="4129059" y="189111"/>
                    <a:pt x="4143975" y="172575"/>
                    <a:pt x="4143975" y="152249"/>
                  </a:cubicBezTo>
                  <a:lnTo>
                    <a:pt x="4143975" y="78849"/>
                  </a:lnTo>
                  <a:lnTo>
                    <a:pt x="4143956" y="78849"/>
                  </a:lnTo>
                  <a:close/>
                  <a:moveTo>
                    <a:pt x="4143956" y="653397"/>
                  </a:moveTo>
                  <a:lnTo>
                    <a:pt x="4143651" y="306706"/>
                  </a:lnTo>
                  <a:cubicBezTo>
                    <a:pt x="4143651" y="286361"/>
                    <a:pt x="4128754" y="269845"/>
                    <a:pt x="4110447" y="269845"/>
                  </a:cubicBezTo>
                  <a:lnTo>
                    <a:pt x="3970639" y="269845"/>
                  </a:lnTo>
                  <a:cubicBezTo>
                    <a:pt x="3952351" y="269845"/>
                    <a:pt x="3937435" y="286361"/>
                    <a:pt x="3937435" y="306706"/>
                  </a:cubicBezTo>
                  <a:lnTo>
                    <a:pt x="3937435" y="653397"/>
                  </a:lnTo>
                  <a:lnTo>
                    <a:pt x="3937454" y="653397"/>
                  </a:lnTo>
                  <a:lnTo>
                    <a:pt x="3937759" y="1000069"/>
                  </a:lnTo>
                  <a:cubicBezTo>
                    <a:pt x="3937759" y="1020396"/>
                    <a:pt x="3952637" y="1036931"/>
                    <a:pt x="3970963" y="1036931"/>
                  </a:cubicBezTo>
                  <a:lnTo>
                    <a:pt x="4110771" y="1036931"/>
                  </a:lnTo>
                  <a:cubicBezTo>
                    <a:pt x="4129059" y="1036931"/>
                    <a:pt x="4143975" y="1020396"/>
                    <a:pt x="4143975" y="1000069"/>
                  </a:cubicBezTo>
                  <a:lnTo>
                    <a:pt x="4143975" y="653397"/>
                  </a:lnTo>
                  <a:lnTo>
                    <a:pt x="4143956" y="653397"/>
                  </a:lnTo>
                  <a:close/>
                  <a:moveTo>
                    <a:pt x="3441430" y="78"/>
                  </a:moveTo>
                  <a:lnTo>
                    <a:pt x="2991355" y="78"/>
                  </a:lnTo>
                  <a:cubicBezTo>
                    <a:pt x="2973029" y="78"/>
                    <a:pt x="2958131" y="16670"/>
                    <a:pt x="2958131" y="37035"/>
                  </a:cubicBezTo>
                  <a:lnTo>
                    <a:pt x="2958131" y="646958"/>
                  </a:lnTo>
                  <a:cubicBezTo>
                    <a:pt x="2958131" y="667323"/>
                    <a:pt x="2973009" y="683858"/>
                    <a:pt x="2991297" y="683858"/>
                  </a:cubicBezTo>
                  <a:lnTo>
                    <a:pt x="3131391" y="683858"/>
                  </a:lnTo>
                  <a:cubicBezTo>
                    <a:pt x="3149717" y="683858"/>
                    <a:pt x="3164595" y="667323"/>
                    <a:pt x="3164595" y="646958"/>
                  </a:cubicBezTo>
                  <a:lnTo>
                    <a:pt x="3164786" y="189015"/>
                  </a:lnTo>
                  <a:lnTo>
                    <a:pt x="3418284" y="189111"/>
                  </a:lnTo>
                  <a:cubicBezTo>
                    <a:pt x="3525383" y="189111"/>
                    <a:pt x="3612499" y="270149"/>
                    <a:pt x="3612499" y="369762"/>
                  </a:cubicBezTo>
                  <a:lnTo>
                    <a:pt x="3612499" y="702794"/>
                  </a:lnTo>
                  <a:cubicBezTo>
                    <a:pt x="3612499" y="802368"/>
                    <a:pt x="3525383" y="847822"/>
                    <a:pt x="3418284" y="847822"/>
                  </a:cubicBezTo>
                  <a:lnTo>
                    <a:pt x="2958131" y="848298"/>
                  </a:lnTo>
                  <a:lnTo>
                    <a:pt x="2958131" y="1037217"/>
                  </a:lnTo>
                  <a:lnTo>
                    <a:pt x="3418284" y="1036931"/>
                  </a:lnTo>
                  <a:cubicBezTo>
                    <a:pt x="3639226" y="1036931"/>
                    <a:pt x="3818982" y="906648"/>
                    <a:pt x="3818982" y="702794"/>
                  </a:cubicBezTo>
                  <a:lnTo>
                    <a:pt x="3818982" y="367590"/>
                  </a:lnTo>
                  <a:cubicBezTo>
                    <a:pt x="3818982" y="171985"/>
                    <a:pt x="3654866" y="78"/>
                    <a:pt x="3441430" y="78"/>
                  </a:cubicBezTo>
                  <a:moveTo>
                    <a:pt x="5132651" y="679820"/>
                  </a:moveTo>
                  <a:cubicBezTo>
                    <a:pt x="5132651" y="670447"/>
                    <a:pt x="5132575" y="660846"/>
                    <a:pt x="5131660" y="650425"/>
                  </a:cubicBezTo>
                  <a:cubicBezTo>
                    <a:pt x="5121469" y="535230"/>
                    <a:pt x="5002749" y="447943"/>
                    <a:pt x="4877591" y="447943"/>
                  </a:cubicBezTo>
                  <a:lnTo>
                    <a:pt x="4567171" y="447943"/>
                  </a:lnTo>
                  <a:lnTo>
                    <a:pt x="4559208" y="447924"/>
                  </a:lnTo>
                  <a:cubicBezTo>
                    <a:pt x="4509487" y="447924"/>
                    <a:pt x="4469063" y="403861"/>
                    <a:pt x="4469063" y="349759"/>
                  </a:cubicBezTo>
                  <a:lnTo>
                    <a:pt x="4469368" y="279312"/>
                  </a:lnTo>
                  <a:cubicBezTo>
                    <a:pt x="4469368" y="229630"/>
                    <a:pt x="4513412" y="189187"/>
                    <a:pt x="4567533" y="189187"/>
                  </a:cubicBezTo>
                  <a:lnTo>
                    <a:pt x="4690043" y="189187"/>
                  </a:lnTo>
                  <a:lnTo>
                    <a:pt x="4691243" y="189225"/>
                  </a:lnTo>
                  <a:lnTo>
                    <a:pt x="5000825" y="189225"/>
                  </a:lnTo>
                  <a:cubicBezTo>
                    <a:pt x="5016656" y="189225"/>
                    <a:pt x="5030676" y="180005"/>
                    <a:pt x="5035706" y="166270"/>
                  </a:cubicBezTo>
                  <a:cubicBezTo>
                    <a:pt x="5037039" y="162612"/>
                    <a:pt x="5037687" y="159259"/>
                    <a:pt x="5037687" y="156021"/>
                  </a:cubicBezTo>
                  <a:lnTo>
                    <a:pt x="5037687" y="33282"/>
                  </a:lnTo>
                  <a:cubicBezTo>
                    <a:pt x="5037687" y="14956"/>
                    <a:pt x="5021151" y="116"/>
                    <a:pt x="5000825" y="116"/>
                  </a:cubicBezTo>
                  <a:lnTo>
                    <a:pt x="4517869" y="173"/>
                  </a:lnTo>
                  <a:cubicBezTo>
                    <a:pt x="4377928" y="173"/>
                    <a:pt x="4262409" y="105805"/>
                    <a:pt x="4262409" y="235555"/>
                  </a:cubicBezTo>
                  <a:lnTo>
                    <a:pt x="4262428" y="382392"/>
                  </a:lnTo>
                  <a:cubicBezTo>
                    <a:pt x="4262428" y="522352"/>
                    <a:pt x="4368041" y="636214"/>
                    <a:pt x="4497886" y="636214"/>
                  </a:cubicBezTo>
                  <a:lnTo>
                    <a:pt x="4836309" y="636214"/>
                  </a:lnTo>
                  <a:cubicBezTo>
                    <a:pt x="4885992" y="636214"/>
                    <a:pt x="4925977" y="680258"/>
                    <a:pt x="4925977" y="734398"/>
                  </a:cubicBezTo>
                  <a:lnTo>
                    <a:pt x="4925977" y="757944"/>
                  </a:lnTo>
                  <a:cubicBezTo>
                    <a:pt x="4925977" y="807645"/>
                    <a:pt x="4882410" y="848050"/>
                    <a:pt x="4828289" y="848050"/>
                  </a:cubicBezTo>
                  <a:lnTo>
                    <a:pt x="4299290" y="848050"/>
                  </a:lnTo>
                  <a:cubicBezTo>
                    <a:pt x="4283440" y="848050"/>
                    <a:pt x="4269419" y="857213"/>
                    <a:pt x="4264447" y="870872"/>
                  </a:cubicBezTo>
                  <a:cubicBezTo>
                    <a:pt x="4263057" y="874606"/>
                    <a:pt x="4262390" y="877997"/>
                    <a:pt x="4262390" y="881216"/>
                  </a:cubicBezTo>
                  <a:lnTo>
                    <a:pt x="4262390" y="1003955"/>
                  </a:lnTo>
                  <a:cubicBezTo>
                    <a:pt x="4262390" y="1022262"/>
                    <a:pt x="4278944" y="1037160"/>
                    <a:pt x="4299290" y="1037160"/>
                  </a:cubicBezTo>
                  <a:lnTo>
                    <a:pt x="4732296" y="1037160"/>
                  </a:lnTo>
                  <a:lnTo>
                    <a:pt x="4879172" y="1037083"/>
                  </a:lnTo>
                  <a:cubicBezTo>
                    <a:pt x="5019075" y="1037083"/>
                    <a:pt x="5132651" y="931470"/>
                    <a:pt x="5132651" y="801587"/>
                  </a:cubicBezTo>
                  <a:lnTo>
                    <a:pt x="5132651" y="679820"/>
                  </a:lnTo>
                  <a:close/>
                  <a:moveTo>
                    <a:pt x="280863" y="189111"/>
                  </a:moveTo>
                  <a:lnTo>
                    <a:pt x="825046" y="189111"/>
                  </a:lnTo>
                  <a:cubicBezTo>
                    <a:pt x="844972" y="189111"/>
                    <a:pt x="861203" y="174518"/>
                    <a:pt x="861203" y="156573"/>
                  </a:cubicBezTo>
                  <a:lnTo>
                    <a:pt x="861203" y="32729"/>
                  </a:lnTo>
                  <a:cubicBezTo>
                    <a:pt x="861203" y="14746"/>
                    <a:pt x="845734" y="78"/>
                    <a:pt x="825046" y="78"/>
                  </a:cubicBezTo>
                  <a:lnTo>
                    <a:pt x="277073" y="78"/>
                  </a:lnTo>
                  <a:cubicBezTo>
                    <a:pt x="124501" y="78"/>
                    <a:pt x="352" y="114301"/>
                    <a:pt x="352" y="255005"/>
                  </a:cubicBezTo>
                  <a:lnTo>
                    <a:pt x="352" y="782309"/>
                  </a:lnTo>
                  <a:cubicBezTo>
                    <a:pt x="352" y="922955"/>
                    <a:pt x="124501" y="1037217"/>
                    <a:pt x="277073" y="1037217"/>
                  </a:cubicBezTo>
                  <a:lnTo>
                    <a:pt x="825046" y="1037217"/>
                  </a:lnTo>
                  <a:cubicBezTo>
                    <a:pt x="844972" y="1037217"/>
                    <a:pt x="861203" y="1022605"/>
                    <a:pt x="861203" y="1004660"/>
                  </a:cubicBezTo>
                  <a:lnTo>
                    <a:pt x="861203" y="880816"/>
                  </a:lnTo>
                  <a:cubicBezTo>
                    <a:pt x="861203" y="862871"/>
                    <a:pt x="844972" y="848298"/>
                    <a:pt x="825046" y="848298"/>
                  </a:cubicBezTo>
                  <a:lnTo>
                    <a:pt x="280863" y="848298"/>
                  </a:lnTo>
                  <a:cubicBezTo>
                    <a:pt x="240839" y="848298"/>
                    <a:pt x="207006" y="816580"/>
                    <a:pt x="207006" y="779051"/>
                  </a:cubicBezTo>
                  <a:lnTo>
                    <a:pt x="207006" y="634347"/>
                  </a:lnTo>
                  <a:lnTo>
                    <a:pt x="532457" y="634347"/>
                  </a:lnTo>
                  <a:cubicBezTo>
                    <a:pt x="552383" y="634347"/>
                    <a:pt x="568595" y="619717"/>
                    <a:pt x="568595" y="601772"/>
                  </a:cubicBezTo>
                  <a:lnTo>
                    <a:pt x="568595" y="480557"/>
                  </a:lnTo>
                  <a:cubicBezTo>
                    <a:pt x="568595" y="462573"/>
                    <a:pt x="552383" y="447943"/>
                    <a:pt x="532457" y="447943"/>
                  </a:cubicBezTo>
                  <a:lnTo>
                    <a:pt x="207006" y="447943"/>
                  </a:lnTo>
                  <a:lnTo>
                    <a:pt x="207006" y="258395"/>
                  </a:lnTo>
                  <a:cubicBezTo>
                    <a:pt x="207006" y="220829"/>
                    <a:pt x="240839" y="189111"/>
                    <a:pt x="280863" y="189111"/>
                  </a:cubicBezTo>
                  <a:moveTo>
                    <a:pt x="1186405" y="189130"/>
                  </a:moveTo>
                  <a:lnTo>
                    <a:pt x="1186405" y="1000336"/>
                  </a:lnTo>
                  <a:cubicBezTo>
                    <a:pt x="1186405" y="1020662"/>
                    <a:pt x="1171470" y="1037198"/>
                    <a:pt x="1153144" y="1037198"/>
                  </a:cubicBezTo>
                  <a:lnTo>
                    <a:pt x="1012879" y="1037198"/>
                  </a:lnTo>
                  <a:cubicBezTo>
                    <a:pt x="994553" y="1037198"/>
                    <a:pt x="979656" y="1020662"/>
                    <a:pt x="979656" y="1000336"/>
                  </a:cubicBezTo>
                  <a:lnTo>
                    <a:pt x="979656" y="37035"/>
                  </a:lnTo>
                  <a:cubicBezTo>
                    <a:pt x="979656" y="16670"/>
                    <a:pt x="994553" y="116"/>
                    <a:pt x="1012879" y="116"/>
                  </a:cubicBezTo>
                  <a:lnTo>
                    <a:pt x="1439846" y="116"/>
                  </a:lnTo>
                  <a:cubicBezTo>
                    <a:pt x="1660769" y="116"/>
                    <a:pt x="1840506" y="165946"/>
                    <a:pt x="1840506" y="369838"/>
                  </a:cubicBezTo>
                  <a:lnTo>
                    <a:pt x="1840506" y="1004032"/>
                  </a:lnTo>
                  <a:cubicBezTo>
                    <a:pt x="1840506" y="1022339"/>
                    <a:pt x="1823971" y="1037198"/>
                    <a:pt x="1803625" y="1037198"/>
                  </a:cubicBezTo>
                  <a:lnTo>
                    <a:pt x="1670885" y="1037198"/>
                  </a:lnTo>
                  <a:cubicBezTo>
                    <a:pt x="1650559" y="1037198"/>
                    <a:pt x="1634023" y="1022339"/>
                    <a:pt x="1634023" y="1004032"/>
                  </a:cubicBezTo>
                  <a:lnTo>
                    <a:pt x="1634023" y="369838"/>
                  </a:lnTo>
                  <a:cubicBezTo>
                    <a:pt x="1634023" y="270264"/>
                    <a:pt x="1546926" y="189225"/>
                    <a:pt x="1439846" y="189225"/>
                  </a:cubicBezTo>
                  <a:lnTo>
                    <a:pt x="1186405" y="189130"/>
                  </a:lnTo>
                  <a:close/>
                </a:path>
              </a:pathLst>
            </a:custGeom>
            <a:solidFill>
              <a:schemeClr val="bg1"/>
            </a:solidFill>
            <a:ln w="19050" cap="flat">
              <a:noFill/>
              <a:prstDash val="solid"/>
              <a:round/>
            </a:ln>
          </p:spPr>
          <p:txBody>
            <a:bodyPr rtlCol="0" anchor="ctr"/>
            <a:lstStyle/>
            <a:p>
              <a:endParaRPr lang="fr-FR"/>
            </a:p>
          </p:txBody>
        </p:sp>
      </p:grpSp>
      <p:sp>
        <p:nvSpPr>
          <p:cNvPr id="16" name="Title 1">
            <a:extLst>
              <a:ext uri="{FF2B5EF4-FFF2-40B4-BE49-F238E27FC236}">
                <a16:creationId xmlns:a16="http://schemas.microsoft.com/office/drawing/2014/main" id="{01B44EE4-3310-4F01-B01F-7EF3CB5AB62B}"/>
              </a:ext>
            </a:extLst>
          </p:cNvPr>
          <p:cNvSpPr>
            <a:spLocks noGrp="1"/>
          </p:cNvSpPr>
          <p:nvPr>
            <p:ph type="ctrTitle" hasCustomPrompt="1"/>
          </p:nvPr>
        </p:nvSpPr>
        <p:spPr>
          <a:xfrm>
            <a:off x="540000" y="1800000"/>
            <a:ext cx="7560000" cy="1800000"/>
          </a:xfrm>
        </p:spPr>
        <p:txBody>
          <a:bodyPr tIns="72000" anchor="t"/>
          <a:lstStyle>
            <a:lvl1pPr algn="l">
              <a:lnSpc>
                <a:spcPct val="80000"/>
              </a:lnSpc>
              <a:spcBef>
                <a:spcPts val="0"/>
              </a:spcBef>
              <a:defRPr sz="4800">
                <a:solidFill>
                  <a:schemeClr val="bg1"/>
                </a:solidFill>
              </a:defRPr>
            </a:lvl1pPr>
          </a:lstStyle>
          <a:p>
            <a:r>
              <a:rPr lang="fr-FR" dirty="0"/>
              <a:t>Titre du </a:t>
            </a:r>
            <a:br>
              <a:rPr lang="fr-FR" dirty="0"/>
            </a:br>
            <a:r>
              <a:rPr lang="fr-FR" dirty="0"/>
              <a:t>chapitre</a:t>
            </a:r>
            <a:br>
              <a:rPr lang="fr-FR" dirty="0"/>
            </a:br>
            <a:r>
              <a:rPr lang="fr-FR" dirty="0"/>
              <a:t>sur trois lignes</a:t>
            </a:r>
            <a:endParaRPr lang="en-US" dirty="0"/>
          </a:p>
        </p:txBody>
      </p:sp>
      <p:sp>
        <p:nvSpPr>
          <p:cNvPr id="17" name="Subtitle 2">
            <a:extLst>
              <a:ext uri="{FF2B5EF4-FFF2-40B4-BE49-F238E27FC236}">
                <a16:creationId xmlns:a16="http://schemas.microsoft.com/office/drawing/2014/main" id="{B6B3D307-BACE-4719-B90F-E143C5937ABF}"/>
              </a:ext>
            </a:extLst>
          </p:cNvPr>
          <p:cNvSpPr>
            <a:spLocks noGrp="1"/>
          </p:cNvSpPr>
          <p:nvPr>
            <p:ph type="subTitle" idx="1" hasCustomPrompt="1"/>
          </p:nvPr>
        </p:nvSpPr>
        <p:spPr>
          <a:xfrm>
            <a:off x="540000" y="4320000"/>
            <a:ext cx="7560000" cy="720000"/>
          </a:xfrm>
        </p:spPr>
        <p:txBody>
          <a:bodyPr/>
          <a:lstStyle>
            <a:lvl1pPr marL="0" indent="0" algn="l">
              <a:lnSpc>
                <a:spcPct val="80000"/>
              </a:lnSpc>
              <a:buNone/>
              <a:defRPr sz="2500">
                <a:solidFill>
                  <a:schemeClr val="bg1"/>
                </a:solidFill>
                <a:latin typeface="Enedis Light" pitchFamily="50"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Sous-titre du chapitre</a:t>
            </a:r>
            <a:br>
              <a:rPr lang="fr-FR"/>
            </a:br>
            <a:r>
              <a:rPr lang="fr-FR"/>
              <a:t>sur deux lignes</a:t>
            </a:r>
            <a:endParaRPr lang="en-US"/>
          </a:p>
        </p:txBody>
      </p:sp>
      <p:sp>
        <p:nvSpPr>
          <p:cNvPr id="18" name="Espace réservé du graphique SmartArt 11">
            <a:extLst>
              <a:ext uri="{FF2B5EF4-FFF2-40B4-BE49-F238E27FC236}">
                <a16:creationId xmlns:a16="http://schemas.microsoft.com/office/drawing/2014/main" id="{B796FD99-BC03-492C-B455-F334B00DF92E}"/>
              </a:ext>
            </a:extLst>
          </p:cNvPr>
          <p:cNvSpPr>
            <a:spLocks noGrp="1"/>
          </p:cNvSpPr>
          <p:nvPr>
            <p:ph type="dgm" sz="quarter" idx="20"/>
          </p:nvPr>
        </p:nvSpPr>
        <p:spPr>
          <a:xfrm>
            <a:off x="360000" y="1800000"/>
            <a:ext cx="72000" cy="1800000"/>
          </a:xfrm>
          <a:solidFill>
            <a:schemeClr val="accent1"/>
          </a:solidFill>
        </p:spPr>
        <p:txBody>
          <a:bodyPr>
            <a:noAutofit/>
          </a:bodyPr>
          <a:lstStyle>
            <a:lvl1pPr>
              <a:defRPr sz="100">
                <a:noFill/>
              </a:defRPr>
            </a:lvl1pPr>
          </a:lstStyle>
          <a:p>
            <a:r>
              <a:rPr lang="fr-FR" smtClean="0"/>
              <a:t>Cliquez sur l'icône pour ajouter un graphique SmartArt</a:t>
            </a:r>
            <a:endParaRPr lang="fr-FR"/>
          </a:p>
        </p:txBody>
      </p:sp>
    </p:spTree>
    <p:extLst>
      <p:ext uri="{BB962C8B-B14F-4D97-AF65-F5344CB8AC3E}">
        <p14:creationId xmlns:p14="http://schemas.microsoft.com/office/powerpoint/2010/main" val="25959532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Diapositive infographie">
    <p:bg>
      <p:bgPr>
        <a:solidFill>
          <a:schemeClr val="tx1"/>
        </a:solidFill>
        <a:effectLst/>
      </p:bgPr>
    </p:bg>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C6797FC5-6C3D-4138-A22B-25A93A47052F}"/>
              </a:ext>
            </a:extLst>
          </p:cNvPr>
          <p:cNvSpPr txBox="1"/>
          <p:nvPr userDrawn="1"/>
        </p:nvSpPr>
        <p:spPr>
          <a:xfrm>
            <a:off x="389572" y="754380"/>
            <a:ext cx="9122728" cy="1938992"/>
          </a:xfrm>
          <a:prstGeom prst="rect">
            <a:avLst/>
          </a:prstGeom>
          <a:noFill/>
        </p:spPr>
        <p:txBody>
          <a:bodyPr wrap="square" rtlCol="0">
            <a:spAutoFit/>
          </a:bodyPr>
          <a:lstStyle/>
          <a:p>
            <a:r>
              <a:rPr lang="fr-FR" sz="6000" b="1">
                <a:solidFill>
                  <a:schemeClr val="bg1"/>
                </a:solidFill>
                <a:latin typeface="+mj-lt"/>
              </a:rPr>
              <a:t>Diapositives</a:t>
            </a:r>
          </a:p>
          <a:p>
            <a:r>
              <a:rPr lang="fr-FR" sz="6000" b="1">
                <a:solidFill>
                  <a:schemeClr val="bg1"/>
                </a:solidFill>
                <a:latin typeface="+mj-lt"/>
              </a:rPr>
              <a:t>Données et infographies</a:t>
            </a:r>
          </a:p>
        </p:txBody>
      </p:sp>
      <p:sp>
        <p:nvSpPr>
          <p:cNvPr id="7" name="Rectangle 6">
            <a:extLst>
              <a:ext uri="{FF2B5EF4-FFF2-40B4-BE49-F238E27FC236}">
                <a16:creationId xmlns:a16="http://schemas.microsoft.com/office/drawing/2014/main" id="{1192475B-7CF7-49DA-A68D-80D222243F11}"/>
              </a:ext>
            </a:extLst>
          </p:cNvPr>
          <p:cNvSpPr/>
          <p:nvPr userDrawn="1"/>
        </p:nvSpPr>
        <p:spPr>
          <a:xfrm>
            <a:off x="521495" y="2962275"/>
            <a:ext cx="357187" cy="500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Graphique 7">
            <a:extLst>
              <a:ext uri="{FF2B5EF4-FFF2-40B4-BE49-F238E27FC236}">
                <a16:creationId xmlns:a16="http://schemas.microsoft.com/office/drawing/2014/main" id="{C82C95D8-4AA6-4827-9B60-6B7D03DA469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518307" y="6473187"/>
            <a:ext cx="765479" cy="154800"/>
          </a:xfrm>
          <a:prstGeom prst="rect">
            <a:avLst/>
          </a:prstGeom>
        </p:spPr>
      </p:pic>
    </p:spTree>
    <p:extLst>
      <p:ext uri="{BB962C8B-B14F-4D97-AF65-F5344CB8AC3E}">
        <p14:creationId xmlns:p14="http://schemas.microsoft.com/office/powerpoint/2010/main" val="10979869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fographie B">
    <p:spTree>
      <p:nvGrpSpPr>
        <p:cNvPr id="1" name=""/>
        <p:cNvGrpSpPr/>
        <p:nvPr/>
      </p:nvGrpSpPr>
      <p:grpSpPr>
        <a:xfrm>
          <a:off x="0" y="0"/>
          <a:ext cx="0" cy="0"/>
          <a:chOff x="0" y="0"/>
          <a:chExt cx="0" cy="0"/>
        </a:xfrm>
      </p:grpSpPr>
      <p:sp>
        <p:nvSpPr>
          <p:cNvPr id="10" name="Espace réservé de la date 9">
            <a:extLst>
              <a:ext uri="{FF2B5EF4-FFF2-40B4-BE49-F238E27FC236}">
                <a16:creationId xmlns:a16="http://schemas.microsoft.com/office/drawing/2014/main" id="{506D7A77-3261-4789-90AF-4391ECC68EB7}"/>
              </a:ext>
            </a:extLst>
          </p:cNvPr>
          <p:cNvSpPr>
            <a:spLocks noGrp="1"/>
          </p:cNvSpPr>
          <p:nvPr>
            <p:ph type="dt" sz="half" idx="19"/>
          </p:nvPr>
        </p:nvSpPr>
        <p:spPr/>
        <p:txBody>
          <a:bodyPr/>
          <a:lstStyle>
            <a:lvl1pPr>
              <a:defRPr>
                <a:solidFill>
                  <a:schemeClr val="tx2"/>
                </a:solidFill>
              </a:defRPr>
            </a:lvl1pPr>
          </a:lstStyle>
          <a:p>
            <a:r>
              <a:rPr lang="fr-FR" smtClean="0"/>
              <a:t>25 mai 2022</a:t>
            </a:r>
            <a:endParaRPr lang="fr-FR"/>
          </a:p>
        </p:txBody>
      </p:sp>
      <p:sp>
        <p:nvSpPr>
          <p:cNvPr id="11" name="Espace réservé du pied de page 10">
            <a:extLst>
              <a:ext uri="{FF2B5EF4-FFF2-40B4-BE49-F238E27FC236}">
                <a16:creationId xmlns:a16="http://schemas.microsoft.com/office/drawing/2014/main" id="{05070C08-0C4F-480C-A4AD-38AC3DBE4AC8}"/>
              </a:ext>
            </a:extLst>
          </p:cNvPr>
          <p:cNvSpPr>
            <a:spLocks noGrp="1"/>
          </p:cNvSpPr>
          <p:nvPr>
            <p:ph type="ftr" sz="quarter" idx="20"/>
          </p:nvPr>
        </p:nvSpPr>
        <p:spPr>
          <a:xfrm>
            <a:off x="1626384" y="6469013"/>
            <a:ext cx="4812515" cy="226714"/>
          </a:xfrm>
          <a:prstGeom prst="rect">
            <a:avLst/>
          </a:prstGeom>
        </p:spPr>
        <p:txBody>
          <a:bodyPr/>
          <a:lstStyle/>
          <a:p>
            <a:r>
              <a:rPr lang="fr-FR" smtClean="0"/>
              <a:t>Stratégie Mobilité Electrique Enedis</a:t>
            </a:r>
            <a:endParaRPr lang="fr-FR"/>
          </a:p>
        </p:txBody>
      </p:sp>
      <p:sp>
        <p:nvSpPr>
          <p:cNvPr id="12" name="Espace réservé du numéro de diapositive 11">
            <a:extLst>
              <a:ext uri="{FF2B5EF4-FFF2-40B4-BE49-F238E27FC236}">
                <a16:creationId xmlns:a16="http://schemas.microsoft.com/office/drawing/2014/main" id="{A20B3F73-B7A3-4D47-82E4-C5AA9E80D66F}"/>
              </a:ext>
            </a:extLst>
          </p:cNvPr>
          <p:cNvSpPr>
            <a:spLocks noGrp="1"/>
          </p:cNvSpPr>
          <p:nvPr>
            <p:ph type="sldNum" sz="quarter" idx="21"/>
          </p:nvPr>
        </p:nvSpPr>
        <p:spPr/>
        <p:txBody>
          <a:bodyPr/>
          <a:lstStyle>
            <a:lvl1pPr>
              <a:defRPr>
                <a:solidFill>
                  <a:schemeClr val="tx2"/>
                </a:solidFill>
              </a:defRPr>
            </a:lvl1pPr>
          </a:lstStyle>
          <a:p>
            <a:fld id="{6B54B0F7-55DD-40D6-B7F4-70B586885C0B}" type="slidenum">
              <a:rPr lang="fr-FR" smtClean="0"/>
              <a:pPr/>
              <a:t>‹N°›</a:t>
            </a:fld>
            <a:endParaRPr lang="fr-FR"/>
          </a:p>
        </p:txBody>
      </p:sp>
      <p:sp>
        <p:nvSpPr>
          <p:cNvPr id="16" name="Titre 8">
            <a:extLst>
              <a:ext uri="{FF2B5EF4-FFF2-40B4-BE49-F238E27FC236}">
                <a16:creationId xmlns:a16="http://schemas.microsoft.com/office/drawing/2014/main" id="{EC6C1856-89A9-40CF-B4C0-D16A188E2C62}"/>
              </a:ext>
            </a:extLst>
          </p:cNvPr>
          <p:cNvSpPr>
            <a:spLocks noGrp="1"/>
          </p:cNvSpPr>
          <p:nvPr>
            <p:ph type="title" hasCustomPrompt="1"/>
          </p:nvPr>
        </p:nvSpPr>
        <p:spPr>
          <a:xfrm>
            <a:off x="493391" y="488357"/>
            <a:ext cx="11175540" cy="891911"/>
          </a:xfrm>
        </p:spPr>
        <p:txBody>
          <a:bodyPr/>
          <a:lstStyle>
            <a:lvl1pPr>
              <a:lnSpc>
                <a:spcPct val="84000"/>
              </a:lnSpc>
              <a:defRPr sz="3450"/>
            </a:lvl1pPr>
          </a:lstStyle>
          <a:p>
            <a:r>
              <a:rPr lang="fr-FR"/>
              <a:t>Lorem ipsum </a:t>
            </a:r>
            <a:r>
              <a:rPr lang="fr-FR" err="1"/>
              <a:t>dolor</a:t>
            </a:r>
            <a:r>
              <a:rPr lang="fr-FR"/>
              <a:t> </a:t>
            </a:r>
            <a:r>
              <a:rPr lang="fr-FR" err="1"/>
              <a:t>sit</a:t>
            </a:r>
            <a:r>
              <a:rPr lang="fr-FR"/>
              <a:t> </a:t>
            </a:r>
            <a:r>
              <a:rPr lang="fr-FR" err="1"/>
              <a:t>amet</a:t>
            </a:r>
            <a:r>
              <a:rPr lang="fr-FR"/>
              <a:t>, </a:t>
            </a:r>
            <a:r>
              <a:rPr lang="fr-FR" err="1"/>
              <a:t>consectetuer</a:t>
            </a:r>
            <a:r>
              <a:rPr lang="fr-FR"/>
              <a:t/>
            </a:r>
            <a:br>
              <a:rPr lang="fr-FR"/>
            </a:br>
            <a:r>
              <a:rPr lang="fr-FR" err="1"/>
              <a:t>adipiscing</a:t>
            </a:r>
            <a:r>
              <a:rPr lang="fr-FR"/>
              <a:t> </a:t>
            </a:r>
            <a:r>
              <a:rPr lang="fr-FR" err="1"/>
              <a:t>elit</a:t>
            </a:r>
            <a:r>
              <a:rPr lang="fr-FR"/>
              <a:t>, </a:t>
            </a:r>
            <a:r>
              <a:rPr lang="fr-FR" err="1"/>
              <a:t>sed</a:t>
            </a:r>
            <a:r>
              <a:rPr lang="fr-FR"/>
              <a:t> diam </a:t>
            </a:r>
            <a:r>
              <a:rPr lang="fr-FR" err="1"/>
              <a:t>nonummy</a:t>
            </a:r>
            <a:r>
              <a:rPr lang="fr-FR"/>
              <a:t> </a:t>
            </a:r>
            <a:r>
              <a:rPr lang="fr-FR" err="1"/>
              <a:t>nibh</a:t>
            </a:r>
            <a:r>
              <a:rPr lang="fr-FR"/>
              <a:t> </a:t>
            </a:r>
            <a:r>
              <a:rPr lang="fr-FR" err="1"/>
              <a:t>euismod</a:t>
            </a:r>
            <a:endParaRPr lang="fr-FR"/>
          </a:p>
        </p:txBody>
      </p:sp>
      <p:sp>
        <p:nvSpPr>
          <p:cNvPr id="23" name="Espace réservé du texte 12">
            <a:extLst>
              <a:ext uri="{FF2B5EF4-FFF2-40B4-BE49-F238E27FC236}">
                <a16:creationId xmlns:a16="http://schemas.microsoft.com/office/drawing/2014/main" id="{159B7C29-C90B-4392-BEAD-DADA66C2E7C4}"/>
              </a:ext>
            </a:extLst>
          </p:cNvPr>
          <p:cNvSpPr>
            <a:spLocks noGrp="1"/>
          </p:cNvSpPr>
          <p:nvPr>
            <p:ph type="body" sz="quarter" idx="18" hasCustomPrompt="1"/>
          </p:nvPr>
        </p:nvSpPr>
        <p:spPr>
          <a:xfrm>
            <a:off x="987781" y="3933116"/>
            <a:ext cx="1084809" cy="220060"/>
          </a:xfrm>
        </p:spPr>
        <p:txBody>
          <a:bodyPr/>
          <a:lstStyle>
            <a:lvl1pPr algn="ctr">
              <a:defRPr lang="fr-FR" sz="1500" b="1" kern="1200" dirty="0">
                <a:solidFill>
                  <a:schemeClr val="tx2"/>
                </a:solidFill>
                <a:latin typeface="+mj-lt"/>
                <a:ea typeface="+mn-ea"/>
                <a:cs typeface="+mn-cs"/>
              </a:defRPr>
            </a:lvl1pPr>
            <a:lvl2pPr algn="ctr">
              <a:buNone/>
              <a:defRPr lang="fr-FR" sz="1500" kern="1200" dirty="0">
                <a:solidFill>
                  <a:schemeClr val="tx2"/>
                </a:solidFill>
                <a:latin typeface="+mj-lt"/>
                <a:ea typeface="+mn-ea"/>
                <a:cs typeface="+mn-cs"/>
              </a:defRPr>
            </a:lvl2pPr>
            <a:lvl5pPr>
              <a:defRPr/>
            </a:lvl5pPr>
          </a:lstStyle>
          <a:p>
            <a:pPr lvl="0"/>
            <a:r>
              <a:rPr lang="fr-FR" dirty="0"/>
              <a:t>2010</a:t>
            </a:r>
          </a:p>
        </p:txBody>
      </p:sp>
      <p:sp>
        <p:nvSpPr>
          <p:cNvPr id="32" name="Espace réservé du texte 12">
            <a:extLst>
              <a:ext uri="{FF2B5EF4-FFF2-40B4-BE49-F238E27FC236}">
                <a16:creationId xmlns:a16="http://schemas.microsoft.com/office/drawing/2014/main" id="{F49A95ED-C2F7-43DE-BFFA-60E2BE66C049}"/>
              </a:ext>
            </a:extLst>
          </p:cNvPr>
          <p:cNvSpPr>
            <a:spLocks noGrp="1"/>
          </p:cNvSpPr>
          <p:nvPr>
            <p:ph type="body" sz="quarter" idx="30" hasCustomPrompt="1"/>
          </p:nvPr>
        </p:nvSpPr>
        <p:spPr>
          <a:xfrm>
            <a:off x="656637" y="4783037"/>
            <a:ext cx="1747096" cy="401648"/>
          </a:xfrm>
        </p:spPr>
        <p:txBody>
          <a:bodyPr/>
          <a:lstStyle>
            <a:lvl1pPr algn="ctr">
              <a:defRPr/>
            </a:lvl1pPr>
            <a:lvl2pPr algn="ctr">
              <a:buNone/>
              <a:defRPr lang="fr-FR" sz="1700" kern="1200" dirty="0">
                <a:solidFill>
                  <a:schemeClr val="tx2"/>
                </a:solidFill>
                <a:latin typeface="+mj-lt"/>
                <a:ea typeface="+mn-ea"/>
                <a:cs typeface="+mn-cs"/>
              </a:defRPr>
            </a:lvl2pPr>
            <a:lvl5pPr>
              <a:defRPr/>
            </a:lvl5pPr>
          </a:lstStyle>
          <a:p>
            <a:pPr lvl="0"/>
            <a:r>
              <a:rPr lang="fr-FR"/>
              <a:t>Lorem ipsum</a:t>
            </a:r>
          </a:p>
          <a:p>
            <a:pPr lvl="1"/>
            <a:r>
              <a:rPr lang="fr-FR"/>
              <a:t>Lorem ipsum</a:t>
            </a:r>
          </a:p>
        </p:txBody>
      </p:sp>
      <p:sp>
        <p:nvSpPr>
          <p:cNvPr id="7" name="Espace réservé du graphique SmartArt 6">
            <a:extLst>
              <a:ext uri="{FF2B5EF4-FFF2-40B4-BE49-F238E27FC236}">
                <a16:creationId xmlns:a16="http://schemas.microsoft.com/office/drawing/2014/main" id="{8B8A9226-5474-4D40-937D-ECC2E8543A85}"/>
              </a:ext>
            </a:extLst>
          </p:cNvPr>
          <p:cNvSpPr>
            <a:spLocks noGrp="1"/>
          </p:cNvSpPr>
          <p:nvPr>
            <p:ph type="dgm" sz="quarter" idx="32"/>
          </p:nvPr>
        </p:nvSpPr>
        <p:spPr>
          <a:xfrm>
            <a:off x="522287" y="4447524"/>
            <a:ext cx="11147426" cy="32881"/>
          </a:xfrm>
          <a:blipFill>
            <a:blip r:embed="rId2">
              <a:extLst>
                <a:ext uri="{28A0092B-C50C-407E-A947-70E740481C1C}">
                  <a14:useLocalDpi xmlns:a14="http://schemas.microsoft.com/office/drawing/2010/main"/>
                </a:ext>
              </a:extLst>
            </a:blip>
            <a:stretch>
              <a:fillRect/>
            </a:stretch>
          </a:blipFill>
        </p:spPr>
        <p:txBody>
          <a:bodyPr>
            <a:noAutofit/>
          </a:bodyPr>
          <a:lstStyle>
            <a:lvl1pPr>
              <a:defRPr sz="100">
                <a:noFill/>
              </a:defRPr>
            </a:lvl1pPr>
          </a:lstStyle>
          <a:p>
            <a:endParaRPr lang="fr-FR"/>
          </a:p>
        </p:txBody>
      </p:sp>
      <p:sp>
        <p:nvSpPr>
          <p:cNvPr id="20" name="Espace réservé du texte 12">
            <a:extLst>
              <a:ext uri="{FF2B5EF4-FFF2-40B4-BE49-F238E27FC236}">
                <a16:creationId xmlns:a16="http://schemas.microsoft.com/office/drawing/2014/main" id="{404DED29-E90A-4D3B-89F3-36397AFA9BAE}"/>
              </a:ext>
            </a:extLst>
          </p:cNvPr>
          <p:cNvSpPr>
            <a:spLocks noGrp="1"/>
          </p:cNvSpPr>
          <p:nvPr>
            <p:ph type="body" sz="quarter" idx="33"/>
          </p:nvPr>
        </p:nvSpPr>
        <p:spPr>
          <a:xfrm>
            <a:off x="515616" y="1629520"/>
            <a:ext cx="7538723" cy="872547"/>
          </a:xfrm>
        </p:spPr>
        <p:txBody>
          <a:bodyPr/>
          <a:lstStyle>
            <a:lvl1pPr>
              <a:defRPr/>
            </a:lvl1pPr>
            <a:lvl5pPr>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9" name="Espace réservé du graphique SmartArt 8">
            <a:extLst>
              <a:ext uri="{FF2B5EF4-FFF2-40B4-BE49-F238E27FC236}">
                <a16:creationId xmlns:a16="http://schemas.microsoft.com/office/drawing/2014/main" id="{E7884008-475F-4740-BBB1-EF3D8DE77E5C}"/>
              </a:ext>
            </a:extLst>
          </p:cNvPr>
          <p:cNvSpPr>
            <a:spLocks noGrp="1" noChangeAspect="1"/>
          </p:cNvSpPr>
          <p:nvPr>
            <p:ph type="dgm" sz="quarter" idx="34"/>
          </p:nvPr>
        </p:nvSpPr>
        <p:spPr>
          <a:xfrm>
            <a:off x="1418420" y="4349587"/>
            <a:ext cx="223532" cy="223532"/>
          </a:xfrm>
          <a:prstGeom prst="ellipse">
            <a:avLst/>
          </a:prstGeom>
          <a:solidFill>
            <a:schemeClr val="tx2"/>
          </a:solidFill>
        </p:spPr>
        <p:txBody>
          <a:bodyPr>
            <a:noAutofit/>
          </a:bodyPr>
          <a:lstStyle>
            <a:lvl1pPr>
              <a:defRPr sz="100">
                <a:noFill/>
              </a:defRPr>
            </a:lvl1pPr>
          </a:lstStyle>
          <a:p>
            <a:endParaRPr lang="fr-FR"/>
          </a:p>
        </p:txBody>
      </p:sp>
      <p:sp>
        <p:nvSpPr>
          <p:cNvPr id="24" name="Espace réservé du graphique SmartArt 8">
            <a:extLst>
              <a:ext uri="{FF2B5EF4-FFF2-40B4-BE49-F238E27FC236}">
                <a16:creationId xmlns:a16="http://schemas.microsoft.com/office/drawing/2014/main" id="{390A66A7-C7BB-486A-9C84-37A285B79381}"/>
              </a:ext>
            </a:extLst>
          </p:cNvPr>
          <p:cNvSpPr>
            <a:spLocks noGrp="1" noChangeAspect="1"/>
          </p:cNvSpPr>
          <p:nvPr>
            <p:ph type="dgm" sz="quarter" idx="35"/>
          </p:nvPr>
        </p:nvSpPr>
        <p:spPr>
          <a:xfrm>
            <a:off x="3623840" y="4349587"/>
            <a:ext cx="223532" cy="223532"/>
          </a:xfrm>
          <a:prstGeom prst="ellipse">
            <a:avLst/>
          </a:prstGeom>
          <a:solidFill>
            <a:schemeClr val="tx2"/>
          </a:solidFill>
        </p:spPr>
        <p:txBody>
          <a:bodyPr>
            <a:noAutofit/>
          </a:bodyPr>
          <a:lstStyle>
            <a:lvl1pPr>
              <a:defRPr sz="100">
                <a:noFill/>
              </a:defRPr>
            </a:lvl1pPr>
          </a:lstStyle>
          <a:p>
            <a:endParaRPr lang="fr-FR"/>
          </a:p>
        </p:txBody>
      </p:sp>
      <p:sp>
        <p:nvSpPr>
          <p:cNvPr id="25" name="Espace réservé du graphique SmartArt 8">
            <a:extLst>
              <a:ext uri="{FF2B5EF4-FFF2-40B4-BE49-F238E27FC236}">
                <a16:creationId xmlns:a16="http://schemas.microsoft.com/office/drawing/2014/main" id="{99C0753E-FBE4-4641-8FAF-570F30FD950F}"/>
              </a:ext>
            </a:extLst>
          </p:cNvPr>
          <p:cNvSpPr>
            <a:spLocks noGrp="1" noChangeAspect="1"/>
          </p:cNvSpPr>
          <p:nvPr>
            <p:ph type="dgm" sz="quarter" idx="36"/>
          </p:nvPr>
        </p:nvSpPr>
        <p:spPr>
          <a:xfrm>
            <a:off x="5829260" y="4349587"/>
            <a:ext cx="223532" cy="223532"/>
          </a:xfrm>
          <a:prstGeom prst="ellipse">
            <a:avLst/>
          </a:prstGeom>
          <a:solidFill>
            <a:schemeClr val="tx2"/>
          </a:solidFill>
        </p:spPr>
        <p:txBody>
          <a:bodyPr>
            <a:noAutofit/>
          </a:bodyPr>
          <a:lstStyle>
            <a:lvl1pPr>
              <a:defRPr sz="100">
                <a:noFill/>
              </a:defRPr>
            </a:lvl1pPr>
          </a:lstStyle>
          <a:p>
            <a:endParaRPr lang="fr-FR"/>
          </a:p>
        </p:txBody>
      </p:sp>
      <p:sp>
        <p:nvSpPr>
          <p:cNvPr id="26" name="Espace réservé du graphique SmartArt 8">
            <a:extLst>
              <a:ext uri="{FF2B5EF4-FFF2-40B4-BE49-F238E27FC236}">
                <a16:creationId xmlns:a16="http://schemas.microsoft.com/office/drawing/2014/main" id="{36A8206A-8CE6-4996-B140-02C64A02D8CD}"/>
              </a:ext>
            </a:extLst>
          </p:cNvPr>
          <p:cNvSpPr>
            <a:spLocks noGrp="1" noChangeAspect="1"/>
          </p:cNvSpPr>
          <p:nvPr>
            <p:ph type="dgm" sz="quarter" idx="37"/>
          </p:nvPr>
        </p:nvSpPr>
        <p:spPr>
          <a:xfrm>
            <a:off x="8034680" y="4349587"/>
            <a:ext cx="223532" cy="223532"/>
          </a:xfrm>
          <a:prstGeom prst="ellipse">
            <a:avLst/>
          </a:prstGeom>
          <a:solidFill>
            <a:schemeClr val="tx2"/>
          </a:solidFill>
        </p:spPr>
        <p:txBody>
          <a:bodyPr>
            <a:noAutofit/>
          </a:bodyPr>
          <a:lstStyle>
            <a:lvl1pPr>
              <a:defRPr sz="100">
                <a:noFill/>
              </a:defRPr>
            </a:lvl1pPr>
          </a:lstStyle>
          <a:p>
            <a:endParaRPr lang="fr-FR"/>
          </a:p>
        </p:txBody>
      </p:sp>
      <p:sp>
        <p:nvSpPr>
          <p:cNvPr id="34" name="Espace réservé du graphique SmartArt 8">
            <a:extLst>
              <a:ext uri="{FF2B5EF4-FFF2-40B4-BE49-F238E27FC236}">
                <a16:creationId xmlns:a16="http://schemas.microsoft.com/office/drawing/2014/main" id="{D6162C6C-4E3D-4ADC-93F6-DFB56C7A06BA}"/>
              </a:ext>
            </a:extLst>
          </p:cNvPr>
          <p:cNvSpPr>
            <a:spLocks noGrp="1" noChangeAspect="1"/>
          </p:cNvSpPr>
          <p:nvPr>
            <p:ph type="dgm" sz="quarter" idx="38"/>
          </p:nvPr>
        </p:nvSpPr>
        <p:spPr>
          <a:xfrm>
            <a:off x="10240098" y="4349587"/>
            <a:ext cx="223532" cy="223532"/>
          </a:xfrm>
          <a:prstGeom prst="ellipse">
            <a:avLst/>
          </a:prstGeom>
          <a:solidFill>
            <a:schemeClr val="tx2"/>
          </a:solidFill>
        </p:spPr>
        <p:txBody>
          <a:bodyPr>
            <a:noAutofit/>
          </a:bodyPr>
          <a:lstStyle>
            <a:lvl1pPr>
              <a:defRPr sz="100">
                <a:noFill/>
              </a:defRPr>
            </a:lvl1pPr>
          </a:lstStyle>
          <a:p>
            <a:endParaRPr lang="fr-FR"/>
          </a:p>
        </p:txBody>
      </p:sp>
      <p:sp>
        <p:nvSpPr>
          <p:cNvPr id="35" name="Espace réservé du texte 12">
            <a:extLst>
              <a:ext uri="{FF2B5EF4-FFF2-40B4-BE49-F238E27FC236}">
                <a16:creationId xmlns:a16="http://schemas.microsoft.com/office/drawing/2014/main" id="{96D9F143-BF9D-46CC-AF91-5DCAACB457A1}"/>
              </a:ext>
            </a:extLst>
          </p:cNvPr>
          <p:cNvSpPr>
            <a:spLocks noGrp="1"/>
          </p:cNvSpPr>
          <p:nvPr>
            <p:ph type="body" sz="quarter" idx="39" hasCustomPrompt="1"/>
          </p:nvPr>
        </p:nvSpPr>
        <p:spPr>
          <a:xfrm>
            <a:off x="3206353" y="3933116"/>
            <a:ext cx="1084809" cy="220060"/>
          </a:xfrm>
        </p:spPr>
        <p:txBody>
          <a:bodyPr/>
          <a:lstStyle>
            <a:lvl1pPr algn="ctr">
              <a:defRPr lang="fr-FR" sz="1500" b="1" kern="1200" dirty="0">
                <a:solidFill>
                  <a:schemeClr val="tx2"/>
                </a:solidFill>
                <a:latin typeface="+mj-lt"/>
                <a:ea typeface="+mn-ea"/>
                <a:cs typeface="+mn-cs"/>
              </a:defRPr>
            </a:lvl1pPr>
            <a:lvl2pPr algn="ctr">
              <a:buNone/>
              <a:defRPr lang="fr-FR" sz="1500" kern="1200" dirty="0">
                <a:solidFill>
                  <a:schemeClr val="tx2"/>
                </a:solidFill>
                <a:latin typeface="+mj-lt"/>
                <a:ea typeface="+mn-ea"/>
                <a:cs typeface="+mn-cs"/>
              </a:defRPr>
            </a:lvl2pPr>
            <a:lvl5pPr>
              <a:defRPr/>
            </a:lvl5pPr>
          </a:lstStyle>
          <a:p>
            <a:pPr lvl="0"/>
            <a:r>
              <a:rPr lang="fr-FR" dirty="0"/>
              <a:t>2010</a:t>
            </a:r>
          </a:p>
        </p:txBody>
      </p:sp>
      <p:sp>
        <p:nvSpPr>
          <p:cNvPr id="36" name="Espace réservé du texte 12">
            <a:extLst>
              <a:ext uri="{FF2B5EF4-FFF2-40B4-BE49-F238E27FC236}">
                <a16:creationId xmlns:a16="http://schemas.microsoft.com/office/drawing/2014/main" id="{F4F038BC-E7EF-481C-A6C0-AD4B97CBC0B8}"/>
              </a:ext>
            </a:extLst>
          </p:cNvPr>
          <p:cNvSpPr>
            <a:spLocks noGrp="1"/>
          </p:cNvSpPr>
          <p:nvPr>
            <p:ph type="body" sz="quarter" idx="40" hasCustomPrompt="1"/>
          </p:nvPr>
        </p:nvSpPr>
        <p:spPr>
          <a:xfrm>
            <a:off x="2875209" y="4783037"/>
            <a:ext cx="1747096" cy="401648"/>
          </a:xfrm>
        </p:spPr>
        <p:txBody>
          <a:bodyPr/>
          <a:lstStyle>
            <a:lvl1pPr algn="ctr">
              <a:defRPr/>
            </a:lvl1pPr>
            <a:lvl2pPr algn="ctr">
              <a:buNone/>
              <a:defRPr lang="fr-FR" sz="1700" kern="1200" dirty="0">
                <a:solidFill>
                  <a:schemeClr val="tx2"/>
                </a:solidFill>
                <a:latin typeface="+mj-lt"/>
                <a:ea typeface="+mn-ea"/>
                <a:cs typeface="+mn-cs"/>
              </a:defRPr>
            </a:lvl2pPr>
            <a:lvl5pPr>
              <a:defRPr/>
            </a:lvl5pPr>
          </a:lstStyle>
          <a:p>
            <a:pPr lvl="0"/>
            <a:r>
              <a:rPr lang="fr-FR"/>
              <a:t>Lorem ipsum</a:t>
            </a:r>
          </a:p>
          <a:p>
            <a:pPr lvl="1"/>
            <a:r>
              <a:rPr lang="fr-FR"/>
              <a:t>Lorem ipsum</a:t>
            </a:r>
          </a:p>
        </p:txBody>
      </p:sp>
      <p:sp>
        <p:nvSpPr>
          <p:cNvPr id="37" name="Espace réservé du texte 12">
            <a:extLst>
              <a:ext uri="{FF2B5EF4-FFF2-40B4-BE49-F238E27FC236}">
                <a16:creationId xmlns:a16="http://schemas.microsoft.com/office/drawing/2014/main" id="{7A2A836A-3F71-4868-81AE-A35C86521F33}"/>
              </a:ext>
            </a:extLst>
          </p:cNvPr>
          <p:cNvSpPr>
            <a:spLocks noGrp="1"/>
          </p:cNvSpPr>
          <p:nvPr>
            <p:ph type="body" sz="quarter" idx="41" hasCustomPrompt="1"/>
          </p:nvPr>
        </p:nvSpPr>
        <p:spPr>
          <a:xfrm>
            <a:off x="5412800" y="3933116"/>
            <a:ext cx="1084809" cy="220060"/>
          </a:xfrm>
        </p:spPr>
        <p:txBody>
          <a:bodyPr/>
          <a:lstStyle>
            <a:lvl1pPr algn="ctr">
              <a:defRPr lang="fr-FR" sz="1500" b="1" kern="1200" dirty="0">
                <a:solidFill>
                  <a:schemeClr val="tx2"/>
                </a:solidFill>
                <a:latin typeface="+mj-lt"/>
                <a:ea typeface="+mn-ea"/>
                <a:cs typeface="+mn-cs"/>
              </a:defRPr>
            </a:lvl1pPr>
            <a:lvl2pPr algn="ctr">
              <a:buNone/>
              <a:defRPr lang="fr-FR" sz="1500" kern="1200" dirty="0">
                <a:solidFill>
                  <a:schemeClr val="tx2"/>
                </a:solidFill>
                <a:latin typeface="+mj-lt"/>
                <a:ea typeface="+mn-ea"/>
                <a:cs typeface="+mn-cs"/>
              </a:defRPr>
            </a:lvl2pPr>
            <a:lvl5pPr>
              <a:defRPr/>
            </a:lvl5pPr>
          </a:lstStyle>
          <a:p>
            <a:pPr lvl="0"/>
            <a:r>
              <a:rPr lang="fr-FR" dirty="0"/>
              <a:t>2010</a:t>
            </a:r>
          </a:p>
        </p:txBody>
      </p:sp>
      <p:sp>
        <p:nvSpPr>
          <p:cNvPr id="38" name="Espace réservé du texte 12">
            <a:extLst>
              <a:ext uri="{FF2B5EF4-FFF2-40B4-BE49-F238E27FC236}">
                <a16:creationId xmlns:a16="http://schemas.microsoft.com/office/drawing/2014/main" id="{14F6C40C-55CE-4F53-9169-105D19847CC3}"/>
              </a:ext>
            </a:extLst>
          </p:cNvPr>
          <p:cNvSpPr>
            <a:spLocks noGrp="1"/>
          </p:cNvSpPr>
          <p:nvPr>
            <p:ph type="body" sz="quarter" idx="42" hasCustomPrompt="1"/>
          </p:nvPr>
        </p:nvSpPr>
        <p:spPr>
          <a:xfrm>
            <a:off x="5081656" y="4783037"/>
            <a:ext cx="1747096" cy="401648"/>
          </a:xfrm>
        </p:spPr>
        <p:txBody>
          <a:bodyPr/>
          <a:lstStyle>
            <a:lvl1pPr algn="ctr">
              <a:defRPr/>
            </a:lvl1pPr>
            <a:lvl2pPr algn="ctr">
              <a:buNone/>
              <a:defRPr lang="fr-FR" sz="1700" kern="1200" dirty="0">
                <a:solidFill>
                  <a:schemeClr val="tx2"/>
                </a:solidFill>
                <a:latin typeface="+mj-lt"/>
                <a:ea typeface="+mn-ea"/>
                <a:cs typeface="+mn-cs"/>
              </a:defRPr>
            </a:lvl2pPr>
            <a:lvl5pPr>
              <a:defRPr/>
            </a:lvl5pPr>
          </a:lstStyle>
          <a:p>
            <a:pPr lvl="0"/>
            <a:r>
              <a:rPr lang="fr-FR"/>
              <a:t>Lorem ipsum</a:t>
            </a:r>
          </a:p>
          <a:p>
            <a:pPr lvl="1"/>
            <a:r>
              <a:rPr lang="fr-FR"/>
              <a:t>Lorem ipsum</a:t>
            </a:r>
          </a:p>
        </p:txBody>
      </p:sp>
      <p:sp>
        <p:nvSpPr>
          <p:cNvPr id="39" name="Espace réservé du texte 12">
            <a:extLst>
              <a:ext uri="{FF2B5EF4-FFF2-40B4-BE49-F238E27FC236}">
                <a16:creationId xmlns:a16="http://schemas.microsoft.com/office/drawing/2014/main" id="{79CBE28D-83DE-49BC-AA1F-52ABBC701C8C}"/>
              </a:ext>
            </a:extLst>
          </p:cNvPr>
          <p:cNvSpPr>
            <a:spLocks noGrp="1"/>
          </p:cNvSpPr>
          <p:nvPr>
            <p:ph type="body" sz="quarter" idx="43" hasCustomPrompt="1"/>
          </p:nvPr>
        </p:nvSpPr>
        <p:spPr>
          <a:xfrm>
            <a:off x="7608512" y="3933116"/>
            <a:ext cx="1084809" cy="220060"/>
          </a:xfrm>
        </p:spPr>
        <p:txBody>
          <a:bodyPr/>
          <a:lstStyle>
            <a:lvl1pPr algn="ctr">
              <a:defRPr lang="fr-FR" sz="1500" b="1" kern="1200" dirty="0">
                <a:solidFill>
                  <a:schemeClr val="tx2"/>
                </a:solidFill>
                <a:latin typeface="+mj-lt"/>
                <a:ea typeface="+mn-ea"/>
                <a:cs typeface="+mn-cs"/>
              </a:defRPr>
            </a:lvl1pPr>
            <a:lvl2pPr algn="ctr">
              <a:buNone/>
              <a:defRPr lang="fr-FR" sz="1500" kern="1200" dirty="0">
                <a:solidFill>
                  <a:schemeClr val="tx2"/>
                </a:solidFill>
                <a:latin typeface="+mj-lt"/>
                <a:ea typeface="+mn-ea"/>
                <a:cs typeface="+mn-cs"/>
              </a:defRPr>
            </a:lvl2pPr>
            <a:lvl5pPr>
              <a:defRPr/>
            </a:lvl5pPr>
          </a:lstStyle>
          <a:p>
            <a:pPr lvl="0"/>
            <a:r>
              <a:rPr lang="fr-FR" dirty="0"/>
              <a:t>2010</a:t>
            </a:r>
          </a:p>
        </p:txBody>
      </p:sp>
      <p:sp>
        <p:nvSpPr>
          <p:cNvPr id="40" name="Espace réservé du texte 12">
            <a:extLst>
              <a:ext uri="{FF2B5EF4-FFF2-40B4-BE49-F238E27FC236}">
                <a16:creationId xmlns:a16="http://schemas.microsoft.com/office/drawing/2014/main" id="{CA62E8A6-9511-484D-AA87-40D8CD41246B}"/>
              </a:ext>
            </a:extLst>
          </p:cNvPr>
          <p:cNvSpPr>
            <a:spLocks noGrp="1"/>
          </p:cNvSpPr>
          <p:nvPr>
            <p:ph type="body" sz="quarter" idx="44" hasCustomPrompt="1"/>
          </p:nvPr>
        </p:nvSpPr>
        <p:spPr>
          <a:xfrm>
            <a:off x="7277368" y="4783037"/>
            <a:ext cx="1747096" cy="401648"/>
          </a:xfrm>
        </p:spPr>
        <p:txBody>
          <a:bodyPr/>
          <a:lstStyle>
            <a:lvl1pPr algn="ctr">
              <a:defRPr/>
            </a:lvl1pPr>
            <a:lvl2pPr algn="ctr">
              <a:buNone/>
              <a:defRPr lang="fr-FR" sz="1700" kern="1200" dirty="0">
                <a:solidFill>
                  <a:schemeClr val="tx2"/>
                </a:solidFill>
                <a:latin typeface="+mj-lt"/>
                <a:ea typeface="+mn-ea"/>
                <a:cs typeface="+mn-cs"/>
              </a:defRPr>
            </a:lvl2pPr>
            <a:lvl5pPr>
              <a:defRPr/>
            </a:lvl5pPr>
          </a:lstStyle>
          <a:p>
            <a:pPr lvl="0"/>
            <a:r>
              <a:rPr lang="fr-FR"/>
              <a:t>Lorem ipsum</a:t>
            </a:r>
          </a:p>
          <a:p>
            <a:pPr lvl="1"/>
            <a:r>
              <a:rPr lang="fr-FR"/>
              <a:t>Lorem ipsum</a:t>
            </a:r>
          </a:p>
        </p:txBody>
      </p:sp>
      <p:sp>
        <p:nvSpPr>
          <p:cNvPr id="41" name="Espace réservé du texte 12">
            <a:extLst>
              <a:ext uri="{FF2B5EF4-FFF2-40B4-BE49-F238E27FC236}">
                <a16:creationId xmlns:a16="http://schemas.microsoft.com/office/drawing/2014/main" id="{23DA2B46-D907-4F62-B45B-74BEA859F695}"/>
              </a:ext>
            </a:extLst>
          </p:cNvPr>
          <p:cNvSpPr>
            <a:spLocks noGrp="1"/>
          </p:cNvSpPr>
          <p:nvPr>
            <p:ph type="body" sz="quarter" idx="45" hasCustomPrompt="1"/>
          </p:nvPr>
        </p:nvSpPr>
        <p:spPr>
          <a:xfrm>
            <a:off x="9804224" y="3933116"/>
            <a:ext cx="1084809" cy="220060"/>
          </a:xfrm>
        </p:spPr>
        <p:txBody>
          <a:bodyPr/>
          <a:lstStyle>
            <a:lvl1pPr algn="ctr">
              <a:defRPr lang="fr-FR" sz="1500" b="1" kern="1200" dirty="0">
                <a:solidFill>
                  <a:schemeClr val="tx2"/>
                </a:solidFill>
                <a:latin typeface="+mj-lt"/>
                <a:ea typeface="+mn-ea"/>
                <a:cs typeface="+mn-cs"/>
              </a:defRPr>
            </a:lvl1pPr>
            <a:lvl2pPr algn="ctr">
              <a:buNone/>
              <a:defRPr lang="fr-FR" sz="1500" kern="1200" dirty="0">
                <a:solidFill>
                  <a:schemeClr val="tx2"/>
                </a:solidFill>
                <a:latin typeface="+mj-lt"/>
                <a:ea typeface="+mn-ea"/>
                <a:cs typeface="+mn-cs"/>
              </a:defRPr>
            </a:lvl2pPr>
            <a:lvl5pPr>
              <a:defRPr/>
            </a:lvl5pPr>
          </a:lstStyle>
          <a:p>
            <a:pPr lvl="0"/>
            <a:r>
              <a:rPr lang="fr-FR" dirty="0"/>
              <a:t>2010</a:t>
            </a:r>
          </a:p>
        </p:txBody>
      </p:sp>
      <p:sp>
        <p:nvSpPr>
          <p:cNvPr id="42" name="Espace réservé du texte 12">
            <a:extLst>
              <a:ext uri="{FF2B5EF4-FFF2-40B4-BE49-F238E27FC236}">
                <a16:creationId xmlns:a16="http://schemas.microsoft.com/office/drawing/2014/main" id="{9BB4DBD8-CDDB-4443-99A3-71074FFA6E8F}"/>
              </a:ext>
            </a:extLst>
          </p:cNvPr>
          <p:cNvSpPr>
            <a:spLocks noGrp="1"/>
          </p:cNvSpPr>
          <p:nvPr>
            <p:ph type="body" sz="quarter" idx="46" hasCustomPrompt="1"/>
          </p:nvPr>
        </p:nvSpPr>
        <p:spPr>
          <a:xfrm>
            <a:off x="9473080" y="4783037"/>
            <a:ext cx="1747096" cy="401648"/>
          </a:xfrm>
        </p:spPr>
        <p:txBody>
          <a:bodyPr/>
          <a:lstStyle>
            <a:lvl1pPr algn="ctr">
              <a:defRPr/>
            </a:lvl1pPr>
            <a:lvl2pPr algn="ctr">
              <a:buNone/>
              <a:defRPr lang="fr-FR" sz="1700" kern="1200" dirty="0">
                <a:solidFill>
                  <a:schemeClr val="tx2"/>
                </a:solidFill>
                <a:latin typeface="+mj-lt"/>
                <a:ea typeface="+mn-ea"/>
                <a:cs typeface="+mn-cs"/>
              </a:defRPr>
            </a:lvl2pPr>
            <a:lvl5pPr>
              <a:defRPr/>
            </a:lvl5pPr>
          </a:lstStyle>
          <a:p>
            <a:pPr lvl="0"/>
            <a:r>
              <a:rPr lang="fr-FR"/>
              <a:t>Lorem ipsum</a:t>
            </a:r>
          </a:p>
          <a:p>
            <a:pPr lvl="1"/>
            <a:r>
              <a:rPr lang="fr-FR"/>
              <a:t>Lorem ipsum</a:t>
            </a:r>
          </a:p>
        </p:txBody>
      </p:sp>
    </p:spTree>
    <p:extLst>
      <p:ext uri="{BB962C8B-B14F-4D97-AF65-F5344CB8AC3E}">
        <p14:creationId xmlns:p14="http://schemas.microsoft.com/office/powerpoint/2010/main" val="1811589635"/>
      </p:ext>
    </p:extLst>
  </p:cSld>
  <p:clrMapOvr>
    <a:masterClrMapping/>
  </p:clrMapOvr>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fographie C">
    <p:spTree>
      <p:nvGrpSpPr>
        <p:cNvPr id="1" name=""/>
        <p:cNvGrpSpPr/>
        <p:nvPr/>
      </p:nvGrpSpPr>
      <p:grpSpPr>
        <a:xfrm>
          <a:off x="0" y="0"/>
          <a:ext cx="0" cy="0"/>
          <a:chOff x="0" y="0"/>
          <a:chExt cx="0" cy="0"/>
        </a:xfrm>
      </p:grpSpPr>
      <p:sp>
        <p:nvSpPr>
          <p:cNvPr id="10" name="Espace réservé de la date 9">
            <a:extLst>
              <a:ext uri="{FF2B5EF4-FFF2-40B4-BE49-F238E27FC236}">
                <a16:creationId xmlns:a16="http://schemas.microsoft.com/office/drawing/2014/main" id="{506D7A77-3261-4789-90AF-4391ECC68EB7}"/>
              </a:ext>
            </a:extLst>
          </p:cNvPr>
          <p:cNvSpPr>
            <a:spLocks noGrp="1"/>
          </p:cNvSpPr>
          <p:nvPr>
            <p:ph type="dt" sz="half" idx="19"/>
          </p:nvPr>
        </p:nvSpPr>
        <p:spPr/>
        <p:txBody>
          <a:bodyPr/>
          <a:lstStyle>
            <a:lvl1pPr>
              <a:defRPr>
                <a:solidFill>
                  <a:schemeClr val="tx2"/>
                </a:solidFill>
              </a:defRPr>
            </a:lvl1pPr>
          </a:lstStyle>
          <a:p>
            <a:r>
              <a:rPr lang="fr-FR" smtClean="0"/>
              <a:t>25 mai 2022</a:t>
            </a:r>
            <a:endParaRPr lang="fr-FR"/>
          </a:p>
        </p:txBody>
      </p:sp>
      <p:sp>
        <p:nvSpPr>
          <p:cNvPr id="11" name="Espace réservé du pied de page 10">
            <a:extLst>
              <a:ext uri="{FF2B5EF4-FFF2-40B4-BE49-F238E27FC236}">
                <a16:creationId xmlns:a16="http://schemas.microsoft.com/office/drawing/2014/main" id="{05070C08-0C4F-480C-A4AD-38AC3DBE4AC8}"/>
              </a:ext>
            </a:extLst>
          </p:cNvPr>
          <p:cNvSpPr>
            <a:spLocks noGrp="1"/>
          </p:cNvSpPr>
          <p:nvPr>
            <p:ph type="ftr" sz="quarter" idx="20"/>
          </p:nvPr>
        </p:nvSpPr>
        <p:spPr>
          <a:xfrm>
            <a:off x="1626384" y="6469013"/>
            <a:ext cx="4812515" cy="226714"/>
          </a:xfrm>
          <a:prstGeom prst="rect">
            <a:avLst/>
          </a:prstGeom>
        </p:spPr>
        <p:txBody>
          <a:bodyPr/>
          <a:lstStyle/>
          <a:p>
            <a:r>
              <a:rPr lang="fr-FR" smtClean="0"/>
              <a:t>Stratégie Mobilité Electrique Enedis</a:t>
            </a:r>
            <a:endParaRPr lang="fr-FR"/>
          </a:p>
        </p:txBody>
      </p:sp>
      <p:sp>
        <p:nvSpPr>
          <p:cNvPr id="12" name="Espace réservé du numéro de diapositive 11">
            <a:extLst>
              <a:ext uri="{FF2B5EF4-FFF2-40B4-BE49-F238E27FC236}">
                <a16:creationId xmlns:a16="http://schemas.microsoft.com/office/drawing/2014/main" id="{A20B3F73-B7A3-4D47-82E4-C5AA9E80D66F}"/>
              </a:ext>
            </a:extLst>
          </p:cNvPr>
          <p:cNvSpPr>
            <a:spLocks noGrp="1"/>
          </p:cNvSpPr>
          <p:nvPr>
            <p:ph type="sldNum" sz="quarter" idx="21"/>
          </p:nvPr>
        </p:nvSpPr>
        <p:spPr/>
        <p:txBody>
          <a:bodyPr/>
          <a:lstStyle>
            <a:lvl1pPr>
              <a:defRPr>
                <a:solidFill>
                  <a:schemeClr val="tx2"/>
                </a:solidFill>
              </a:defRPr>
            </a:lvl1pPr>
          </a:lstStyle>
          <a:p>
            <a:fld id="{6B54B0F7-55DD-40D6-B7F4-70B586885C0B}" type="slidenum">
              <a:rPr lang="fr-FR" smtClean="0"/>
              <a:pPr/>
              <a:t>‹N°›</a:t>
            </a:fld>
            <a:endParaRPr lang="fr-FR"/>
          </a:p>
        </p:txBody>
      </p:sp>
      <p:sp>
        <p:nvSpPr>
          <p:cNvPr id="16" name="Titre 8">
            <a:extLst>
              <a:ext uri="{FF2B5EF4-FFF2-40B4-BE49-F238E27FC236}">
                <a16:creationId xmlns:a16="http://schemas.microsoft.com/office/drawing/2014/main" id="{EC6C1856-89A9-40CF-B4C0-D16A188E2C62}"/>
              </a:ext>
            </a:extLst>
          </p:cNvPr>
          <p:cNvSpPr>
            <a:spLocks noGrp="1"/>
          </p:cNvSpPr>
          <p:nvPr>
            <p:ph type="title" hasCustomPrompt="1"/>
          </p:nvPr>
        </p:nvSpPr>
        <p:spPr>
          <a:xfrm>
            <a:off x="493391" y="488357"/>
            <a:ext cx="11175540" cy="891911"/>
          </a:xfrm>
        </p:spPr>
        <p:txBody>
          <a:bodyPr/>
          <a:lstStyle>
            <a:lvl1pPr>
              <a:lnSpc>
                <a:spcPct val="84000"/>
              </a:lnSpc>
              <a:defRPr sz="3450"/>
            </a:lvl1pPr>
          </a:lstStyle>
          <a:p>
            <a:r>
              <a:rPr lang="fr-FR"/>
              <a:t>Lorem ipsum </a:t>
            </a:r>
            <a:r>
              <a:rPr lang="fr-FR" err="1"/>
              <a:t>dolor</a:t>
            </a:r>
            <a:r>
              <a:rPr lang="fr-FR"/>
              <a:t> </a:t>
            </a:r>
            <a:r>
              <a:rPr lang="fr-FR" err="1"/>
              <a:t>sit</a:t>
            </a:r>
            <a:r>
              <a:rPr lang="fr-FR"/>
              <a:t> </a:t>
            </a:r>
            <a:r>
              <a:rPr lang="fr-FR" err="1"/>
              <a:t>amet</a:t>
            </a:r>
            <a:r>
              <a:rPr lang="fr-FR"/>
              <a:t>, </a:t>
            </a:r>
            <a:r>
              <a:rPr lang="fr-FR" err="1"/>
              <a:t>consectetuer</a:t>
            </a:r>
            <a:r>
              <a:rPr lang="fr-FR"/>
              <a:t/>
            </a:r>
            <a:br>
              <a:rPr lang="fr-FR"/>
            </a:br>
            <a:r>
              <a:rPr lang="fr-FR" err="1"/>
              <a:t>adipiscing</a:t>
            </a:r>
            <a:r>
              <a:rPr lang="fr-FR"/>
              <a:t> </a:t>
            </a:r>
            <a:r>
              <a:rPr lang="fr-FR" err="1"/>
              <a:t>elit</a:t>
            </a:r>
            <a:r>
              <a:rPr lang="fr-FR"/>
              <a:t>, </a:t>
            </a:r>
            <a:r>
              <a:rPr lang="fr-FR" err="1"/>
              <a:t>sed</a:t>
            </a:r>
            <a:r>
              <a:rPr lang="fr-FR"/>
              <a:t> diam </a:t>
            </a:r>
            <a:r>
              <a:rPr lang="fr-FR" err="1"/>
              <a:t>nonummy</a:t>
            </a:r>
            <a:r>
              <a:rPr lang="fr-FR"/>
              <a:t> </a:t>
            </a:r>
            <a:r>
              <a:rPr lang="fr-FR" err="1"/>
              <a:t>nibh</a:t>
            </a:r>
            <a:r>
              <a:rPr lang="fr-FR"/>
              <a:t> </a:t>
            </a:r>
            <a:r>
              <a:rPr lang="fr-FR" err="1"/>
              <a:t>euismod</a:t>
            </a:r>
            <a:endParaRPr lang="fr-FR"/>
          </a:p>
        </p:txBody>
      </p:sp>
      <p:sp>
        <p:nvSpPr>
          <p:cNvPr id="20" name="Espace réservé du texte 12">
            <a:extLst>
              <a:ext uri="{FF2B5EF4-FFF2-40B4-BE49-F238E27FC236}">
                <a16:creationId xmlns:a16="http://schemas.microsoft.com/office/drawing/2014/main" id="{404DED29-E90A-4D3B-89F3-36397AFA9BAE}"/>
              </a:ext>
            </a:extLst>
          </p:cNvPr>
          <p:cNvSpPr>
            <a:spLocks noGrp="1"/>
          </p:cNvSpPr>
          <p:nvPr>
            <p:ph type="body" sz="quarter" idx="33" hasCustomPrompt="1"/>
          </p:nvPr>
        </p:nvSpPr>
        <p:spPr>
          <a:xfrm>
            <a:off x="1370643" y="2107698"/>
            <a:ext cx="4303825" cy="623248"/>
          </a:xfrm>
        </p:spPr>
        <p:txBody>
          <a:bodyPr/>
          <a:lstStyle>
            <a:lvl1pPr>
              <a:defRPr sz="1500">
                <a:latin typeface="+mj-lt"/>
              </a:defRPr>
            </a:lvl1pPr>
            <a:lvl5pPr>
              <a:defRPr/>
            </a:lvl5pPr>
          </a:lstStyle>
          <a:p>
            <a:pPr lvl="0"/>
            <a:r>
              <a:rPr lang="fr-FR" err="1"/>
              <a:t>Tation</a:t>
            </a:r>
            <a:r>
              <a:rPr lang="fr-FR"/>
              <a:t> </a:t>
            </a:r>
            <a:r>
              <a:rPr lang="fr-FR" err="1"/>
              <a:t>ullamcorper</a:t>
            </a:r>
            <a:r>
              <a:rPr lang="fr-FR"/>
              <a:t> </a:t>
            </a:r>
            <a:r>
              <a:rPr lang="fr-FR" err="1"/>
              <a:t>suscipit</a:t>
            </a:r>
            <a:r>
              <a:rPr lang="fr-FR"/>
              <a:t> </a:t>
            </a:r>
            <a:r>
              <a:rPr lang="fr-FR" err="1"/>
              <a:t>lobortis</a:t>
            </a:r>
            <a:r>
              <a:rPr lang="fr-FR"/>
              <a:t> </a:t>
            </a:r>
            <a:r>
              <a:rPr lang="fr-FR" err="1"/>
              <a:t>nisl</a:t>
            </a:r>
            <a:r>
              <a:rPr lang="fr-FR"/>
              <a:t> ut</a:t>
            </a:r>
          </a:p>
          <a:p>
            <a:pPr lvl="0"/>
            <a:r>
              <a:rPr lang="fr-FR" err="1"/>
              <a:t>aliquip</a:t>
            </a:r>
            <a:r>
              <a:rPr lang="fr-FR"/>
              <a:t> ex </a:t>
            </a:r>
            <a:r>
              <a:rPr lang="fr-FR" err="1"/>
              <a:t>dolor</a:t>
            </a:r>
            <a:r>
              <a:rPr lang="fr-FR"/>
              <a:t> in </a:t>
            </a:r>
            <a:r>
              <a:rPr lang="fr-FR" err="1"/>
              <a:t>hendrerit</a:t>
            </a:r>
            <a:r>
              <a:rPr lang="fr-FR"/>
              <a:t> in </a:t>
            </a:r>
            <a:r>
              <a:rPr lang="fr-FR" err="1"/>
              <a:t>vulputate</a:t>
            </a:r>
            <a:r>
              <a:rPr lang="fr-FR"/>
              <a:t> </a:t>
            </a:r>
            <a:r>
              <a:rPr lang="fr-FR" err="1"/>
              <a:t>velit</a:t>
            </a:r>
            <a:endParaRPr lang="fr-FR"/>
          </a:p>
          <a:p>
            <a:pPr lvl="0"/>
            <a:r>
              <a:rPr lang="fr-FR"/>
              <a:t>esse </a:t>
            </a:r>
            <a:r>
              <a:rPr lang="fr-FR" err="1"/>
              <a:t>molestie</a:t>
            </a:r>
            <a:r>
              <a:rPr lang="fr-FR"/>
              <a:t> </a:t>
            </a:r>
            <a:r>
              <a:rPr lang="fr-FR" err="1"/>
              <a:t>consequat</a:t>
            </a:r>
            <a:r>
              <a:rPr lang="fr-FR"/>
              <a:t>, </a:t>
            </a:r>
            <a:r>
              <a:rPr lang="fr-FR" err="1"/>
              <a:t>vel</a:t>
            </a:r>
            <a:r>
              <a:rPr lang="fr-FR"/>
              <a:t> </a:t>
            </a:r>
            <a:r>
              <a:rPr lang="fr-FR" err="1"/>
              <a:t>illum</a:t>
            </a:r>
            <a:r>
              <a:rPr lang="fr-FR"/>
              <a:t> </a:t>
            </a:r>
            <a:r>
              <a:rPr lang="fr-FR" err="1"/>
              <a:t>dolore</a:t>
            </a:r>
            <a:r>
              <a:rPr lang="fr-FR"/>
              <a:t> eu</a:t>
            </a:r>
          </a:p>
        </p:txBody>
      </p:sp>
      <p:sp>
        <p:nvSpPr>
          <p:cNvPr id="27" name="Espace réservé du texte 12">
            <a:extLst>
              <a:ext uri="{FF2B5EF4-FFF2-40B4-BE49-F238E27FC236}">
                <a16:creationId xmlns:a16="http://schemas.microsoft.com/office/drawing/2014/main" id="{FB0C6FFF-B7EC-48F5-9C7A-B951B936E9D3}"/>
              </a:ext>
            </a:extLst>
          </p:cNvPr>
          <p:cNvSpPr>
            <a:spLocks noGrp="1"/>
          </p:cNvSpPr>
          <p:nvPr>
            <p:ph type="body" sz="quarter" idx="34" hasCustomPrompt="1"/>
          </p:nvPr>
        </p:nvSpPr>
        <p:spPr>
          <a:xfrm>
            <a:off x="1370643" y="3525865"/>
            <a:ext cx="4303825" cy="623248"/>
          </a:xfrm>
        </p:spPr>
        <p:txBody>
          <a:bodyPr/>
          <a:lstStyle>
            <a:lvl1pPr>
              <a:defRPr sz="1500">
                <a:latin typeface="+mj-lt"/>
              </a:defRPr>
            </a:lvl1pPr>
            <a:lvl5pPr>
              <a:defRPr/>
            </a:lvl5pPr>
          </a:lstStyle>
          <a:p>
            <a:pPr lvl="0"/>
            <a:r>
              <a:rPr lang="fr-FR" err="1"/>
              <a:t>Tation</a:t>
            </a:r>
            <a:r>
              <a:rPr lang="fr-FR"/>
              <a:t> </a:t>
            </a:r>
            <a:r>
              <a:rPr lang="fr-FR" err="1"/>
              <a:t>ullamcorper</a:t>
            </a:r>
            <a:r>
              <a:rPr lang="fr-FR"/>
              <a:t> </a:t>
            </a:r>
            <a:r>
              <a:rPr lang="fr-FR" err="1"/>
              <a:t>suscipit</a:t>
            </a:r>
            <a:r>
              <a:rPr lang="fr-FR"/>
              <a:t> </a:t>
            </a:r>
            <a:r>
              <a:rPr lang="fr-FR" err="1"/>
              <a:t>lobortis</a:t>
            </a:r>
            <a:r>
              <a:rPr lang="fr-FR"/>
              <a:t> </a:t>
            </a:r>
            <a:r>
              <a:rPr lang="fr-FR" err="1"/>
              <a:t>nisl</a:t>
            </a:r>
            <a:r>
              <a:rPr lang="fr-FR"/>
              <a:t> ut</a:t>
            </a:r>
          </a:p>
          <a:p>
            <a:pPr lvl="0"/>
            <a:r>
              <a:rPr lang="fr-FR" err="1"/>
              <a:t>aliquip</a:t>
            </a:r>
            <a:r>
              <a:rPr lang="fr-FR"/>
              <a:t> ex </a:t>
            </a:r>
            <a:r>
              <a:rPr lang="fr-FR" err="1"/>
              <a:t>dolor</a:t>
            </a:r>
            <a:r>
              <a:rPr lang="fr-FR"/>
              <a:t> in </a:t>
            </a:r>
            <a:r>
              <a:rPr lang="fr-FR" err="1"/>
              <a:t>hendrerit</a:t>
            </a:r>
            <a:r>
              <a:rPr lang="fr-FR"/>
              <a:t> in </a:t>
            </a:r>
            <a:r>
              <a:rPr lang="fr-FR" err="1"/>
              <a:t>vulputate</a:t>
            </a:r>
            <a:r>
              <a:rPr lang="fr-FR"/>
              <a:t> </a:t>
            </a:r>
            <a:r>
              <a:rPr lang="fr-FR" err="1"/>
              <a:t>velit</a:t>
            </a:r>
            <a:endParaRPr lang="fr-FR"/>
          </a:p>
          <a:p>
            <a:pPr lvl="0"/>
            <a:r>
              <a:rPr lang="fr-FR"/>
              <a:t>esse </a:t>
            </a:r>
            <a:r>
              <a:rPr lang="fr-FR" err="1"/>
              <a:t>molestie</a:t>
            </a:r>
            <a:r>
              <a:rPr lang="fr-FR"/>
              <a:t> </a:t>
            </a:r>
            <a:r>
              <a:rPr lang="fr-FR" err="1"/>
              <a:t>consequat</a:t>
            </a:r>
            <a:r>
              <a:rPr lang="fr-FR"/>
              <a:t>, </a:t>
            </a:r>
            <a:r>
              <a:rPr lang="fr-FR" err="1"/>
              <a:t>vel</a:t>
            </a:r>
            <a:r>
              <a:rPr lang="fr-FR"/>
              <a:t> </a:t>
            </a:r>
            <a:r>
              <a:rPr lang="fr-FR" err="1"/>
              <a:t>illum</a:t>
            </a:r>
            <a:r>
              <a:rPr lang="fr-FR"/>
              <a:t> </a:t>
            </a:r>
            <a:r>
              <a:rPr lang="fr-FR" err="1"/>
              <a:t>dolore</a:t>
            </a:r>
            <a:r>
              <a:rPr lang="fr-FR"/>
              <a:t> eu</a:t>
            </a:r>
          </a:p>
        </p:txBody>
      </p:sp>
      <p:sp>
        <p:nvSpPr>
          <p:cNvPr id="28" name="Espace réservé du texte 12">
            <a:extLst>
              <a:ext uri="{FF2B5EF4-FFF2-40B4-BE49-F238E27FC236}">
                <a16:creationId xmlns:a16="http://schemas.microsoft.com/office/drawing/2014/main" id="{73AB8421-8982-49CD-94AB-1D5160F8E586}"/>
              </a:ext>
            </a:extLst>
          </p:cNvPr>
          <p:cNvSpPr>
            <a:spLocks noGrp="1"/>
          </p:cNvSpPr>
          <p:nvPr>
            <p:ph type="body" sz="quarter" idx="35" hasCustomPrompt="1"/>
          </p:nvPr>
        </p:nvSpPr>
        <p:spPr>
          <a:xfrm>
            <a:off x="1370643" y="4944032"/>
            <a:ext cx="4303825" cy="623248"/>
          </a:xfrm>
        </p:spPr>
        <p:txBody>
          <a:bodyPr/>
          <a:lstStyle>
            <a:lvl1pPr>
              <a:defRPr sz="1500">
                <a:latin typeface="+mj-lt"/>
              </a:defRPr>
            </a:lvl1pPr>
            <a:lvl5pPr>
              <a:defRPr/>
            </a:lvl5pPr>
          </a:lstStyle>
          <a:p>
            <a:pPr lvl="0"/>
            <a:r>
              <a:rPr lang="fr-FR" err="1"/>
              <a:t>Tation</a:t>
            </a:r>
            <a:r>
              <a:rPr lang="fr-FR"/>
              <a:t> </a:t>
            </a:r>
            <a:r>
              <a:rPr lang="fr-FR" err="1"/>
              <a:t>ullamcorper</a:t>
            </a:r>
            <a:r>
              <a:rPr lang="fr-FR"/>
              <a:t> </a:t>
            </a:r>
            <a:r>
              <a:rPr lang="fr-FR" err="1"/>
              <a:t>suscipit</a:t>
            </a:r>
            <a:r>
              <a:rPr lang="fr-FR"/>
              <a:t> </a:t>
            </a:r>
            <a:r>
              <a:rPr lang="fr-FR" err="1"/>
              <a:t>lobortis</a:t>
            </a:r>
            <a:r>
              <a:rPr lang="fr-FR"/>
              <a:t> </a:t>
            </a:r>
            <a:r>
              <a:rPr lang="fr-FR" err="1"/>
              <a:t>nisl</a:t>
            </a:r>
            <a:r>
              <a:rPr lang="fr-FR"/>
              <a:t> ut</a:t>
            </a:r>
          </a:p>
          <a:p>
            <a:pPr lvl="0"/>
            <a:r>
              <a:rPr lang="fr-FR" err="1"/>
              <a:t>aliquip</a:t>
            </a:r>
            <a:r>
              <a:rPr lang="fr-FR"/>
              <a:t> ex </a:t>
            </a:r>
            <a:r>
              <a:rPr lang="fr-FR" err="1"/>
              <a:t>dolor</a:t>
            </a:r>
            <a:r>
              <a:rPr lang="fr-FR"/>
              <a:t> in </a:t>
            </a:r>
            <a:r>
              <a:rPr lang="fr-FR" err="1"/>
              <a:t>hendrerit</a:t>
            </a:r>
            <a:r>
              <a:rPr lang="fr-FR"/>
              <a:t> in </a:t>
            </a:r>
            <a:r>
              <a:rPr lang="fr-FR" err="1"/>
              <a:t>vulputate</a:t>
            </a:r>
            <a:r>
              <a:rPr lang="fr-FR"/>
              <a:t> </a:t>
            </a:r>
            <a:r>
              <a:rPr lang="fr-FR" err="1"/>
              <a:t>velit</a:t>
            </a:r>
            <a:endParaRPr lang="fr-FR"/>
          </a:p>
          <a:p>
            <a:pPr lvl="0"/>
            <a:r>
              <a:rPr lang="fr-FR"/>
              <a:t>esse </a:t>
            </a:r>
            <a:r>
              <a:rPr lang="fr-FR" err="1"/>
              <a:t>molestie</a:t>
            </a:r>
            <a:r>
              <a:rPr lang="fr-FR"/>
              <a:t> </a:t>
            </a:r>
            <a:r>
              <a:rPr lang="fr-FR" err="1"/>
              <a:t>consequat</a:t>
            </a:r>
            <a:r>
              <a:rPr lang="fr-FR"/>
              <a:t>, </a:t>
            </a:r>
            <a:r>
              <a:rPr lang="fr-FR" err="1"/>
              <a:t>vel</a:t>
            </a:r>
            <a:r>
              <a:rPr lang="fr-FR"/>
              <a:t> </a:t>
            </a:r>
            <a:r>
              <a:rPr lang="fr-FR" err="1"/>
              <a:t>illum</a:t>
            </a:r>
            <a:r>
              <a:rPr lang="fr-FR"/>
              <a:t> </a:t>
            </a:r>
            <a:r>
              <a:rPr lang="fr-FR" err="1"/>
              <a:t>dolore</a:t>
            </a:r>
            <a:r>
              <a:rPr lang="fr-FR"/>
              <a:t> eu</a:t>
            </a:r>
          </a:p>
        </p:txBody>
      </p:sp>
      <p:sp>
        <p:nvSpPr>
          <p:cNvPr id="5" name="Espace réservé pour une image  4">
            <a:extLst>
              <a:ext uri="{FF2B5EF4-FFF2-40B4-BE49-F238E27FC236}">
                <a16:creationId xmlns:a16="http://schemas.microsoft.com/office/drawing/2014/main" id="{1AE3734E-DFDD-46CE-AF8E-01B7083391D4}"/>
              </a:ext>
            </a:extLst>
          </p:cNvPr>
          <p:cNvSpPr>
            <a:spLocks noGrp="1"/>
          </p:cNvSpPr>
          <p:nvPr>
            <p:ph type="pic" sz="quarter" idx="36"/>
          </p:nvPr>
        </p:nvSpPr>
        <p:spPr>
          <a:xfrm>
            <a:off x="493391" y="2106304"/>
            <a:ext cx="641350" cy="621854"/>
          </a:xfrm>
        </p:spPr>
        <p:txBody>
          <a:bodyPr>
            <a:noAutofit/>
          </a:bodyPr>
          <a:lstStyle>
            <a:lvl1pPr>
              <a:defRPr>
                <a:noFill/>
              </a:defRPr>
            </a:lvl1pPr>
          </a:lstStyle>
          <a:p>
            <a:endParaRPr lang="fr-FR"/>
          </a:p>
        </p:txBody>
      </p:sp>
      <p:sp>
        <p:nvSpPr>
          <p:cNvPr id="29" name="Espace réservé pour une image  4">
            <a:extLst>
              <a:ext uri="{FF2B5EF4-FFF2-40B4-BE49-F238E27FC236}">
                <a16:creationId xmlns:a16="http://schemas.microsoft.com/office/drawing/2014/main" id="{26D07B1D-CDDE-491E-A8B1-B4569ED09C80}"/>
              </a:ext>
            </a:extLst>
          </p:cNvPr>
          <p:cNvSpPr>
            <a:spLocks noGrp="1"/>
          </p:cNvSpPr>
          <p:nvPr>
            <p:ph type="pic" sz="quarter" idx="37"/>
          </p:nvPr>
        </p:nvSpPr>
        <p:spPr>
          <a:xfrm>
            <a:off x="493391" y="3525865"/>
            <a:ext cx="641350" cy="621854"/>
          </a:xfrm>
        </p:spPr>
        <p:txBody>
          <a:bodyPr>
            <a:noAutofit/>
          </a:bodyPr>
          <a:lstStyle>
            <a:lvl1pPr>
              <a:defRPr>
                <a:noFill/>
              </a:defRPr>
            </a:lvl1pPr>
          </a:lstStyle>
          <a:p>
            <a:endParaRPr lang="fr-FR"/>
          </a:p>
        </p:txBody>
      </p:sp>
      <p:sp>
        <p:nvSpPr>
          <p:cNvPr id="30" name="Espace réservé pour une image  4">
            <a:extLst>
              <a:ext uri="{FF2B5EF4-FFF2-40B4-BE49-F238E27FC236}">
                <a16:creationId xmlns:a16="http://schemas.microsoft.com/office/drawing/2014/main" id="{B1E7C0BA-F10A-45C2-8FE9-650713D714DF}"/>
              </a:ext>
            </a:extLst>
          </p:cNvPr>
          <p:cNvSpPr>
            <a:spLocks noGrp="1"/>
          </p:cNvSpPr>
          <p:nvPr>
            <p:ph type="pic" sz="quarter" idx="38"/>
          </p:nvPr>
        </p:nvSpPr>
        <p:spPr>
          <a:xfrm>
            <a:off x="493391" y="4945426"/>
            <a:ext cx="641350" cy="621854"/>
          </a:xfrm>
        </p:spPr>
        <p:txBody>
          <a:bodyPr>
            <a:noAutofit/>
          </a:bodyPr>
          <a:lstStyle>
            <a:lvl1pPr>
              <a:defRPr>
                <a:noFill/>
              </a:defRPr>
            </a:lvl1pPr>
          </a:lstStyle>
          <a:p>
            <a:endParaRPr lang="fr-FR"/>
          </a:p>
        </p:txBody>
      </p:sp>
      <p:sp>
        <p:nvSpPr>
          <p:cNvPr id="33" name="Espace réservé du graphique SmartArt 8">
            <a:extLst>
              <a:ext uri="{FF2B5EF4-FFF2-40B4-BE49-F238E27FC236}">
                <a16:creationId xmlns:a16="http://schemas.microsoft.com/office/drawing/2014/main" id="{FB38743D-B914-465A-AB05-740E71C33392}"/>
              </a:ext>
            </a:extLst>
          </p:cNvPr>
          <p:cNvSpPr>
            <a:spLocks noGrp="1" noChangeAspect="1"/>
          </p:cNvSpPr>
          <p:nvPr>
            <p:ph type="dgm" sz="quarter" idx="40"/>
          </p:nvPr>
        </p:nvSpPr>
        <p:spPr>
          <a:xfrm>
            <a:off x="9781863" y="2824643"/>
            <a:ext cx="203211" cy="203211"/>
          </a:xfrm>
          <a:prstGeom prst="ellipse">
            <a:avLst/>
          </a:prstGeom>
          <a:solidFill>
            <a:schemeClr val="tx2"/>
          </a:solidFill>
        </p:spPr>
        <p:txBody>
          <a:bodyPr>
            <a:noAutofit/>
          </a:bodyPr>
          <a:lstStyle>
            <a:lvl1pPr>
              <a:defRPr sz="100">
                <a:noFill/>
              </a:defRPr>
            </a:lvl1pPr>
          </a:lstStyle>
          <a:p>
            <a:endParaRPr lang="fr-FR"/>
          </a:p>
        </p:txBody>
      </p:sp>
      <p:sp>
        <p:nvSpPr>
          <p:cNvPr id="43" name="Espace réservé du graphique SmartArt 8">
            <a:extLst>
              <a:ext uri="{FF2B5EF4-FFF2-40B4-BE49-F238E27FC236}">
                <a16:creationId xmlns:a16="http://schemas.microsoft.com/office/drawing/2014/main" id="{5FF13226-2B73-4F38-A266-946FB8AC5FE9}"/>
              </a:ext>
            </a:extLst>
          </p:cNvPr>
          <p:cNvSpPr>
            <a:spLocks noGrp="1" noChangeAspect="1"/>
          </p:cNvSpPr>
          <p:nvPr>
            <p:ph type="dgm" sz="quarter" idx="41"/>
          </p:nvPr>
        </p:nvSpPr>
        <p:spPr>
          <a:xfrm>
            <a:off x="9781863" y="3178386"/>
            <a:ext cx="203211" cy="203211"/>
          </a:xfrm>
          <a:prstGeom prst="ellipse">
            <a:avLst/>
          </a:prstGeom>
          <a:solidFill>
            <a:srgbClr val="1D80D1"/>
          </a:solidFill>
        </p:spPr>
        <p:txBody>
          <a:bodyPr>
            <a:noAutofit/>
          </a:bodyPr>
          <a:lstStyle>
            <a:lvl1pPr>
              <a:defRPr sz="100">
                <a:noFill/>
              </a:defRPr>
            </a:lvl1pPr>
          </a:lstStyle>
          <a:p>
            <a:endParaRPr lang="fr-FR"/>
          </a:p>
        </p:txBody>
      </p:sp>
      <p:sp>
        <p:nvSpPr>
          <p:cNvPr id="44" name="Espace réservé du graphique SmartArt 8">
            <a:extLst>
              <a:ext uri="{FF2B5EF4-FFF2-40B4-BE49-F238E27FC236}">
                <a16:creationId xmlns:a16="http://schemas.microsoft.com/office/drawing/2014/main" id="{C5EFD2AE-A491-4383-AC38-B141766E7BC1}"/>
              </a:ext>
            </a:extLst>
          </p:cNvPr>
          <p:cNvSpPr>
            <a:spLocks noGrp="1" noChangeAspect="1"/>
          </p:cNvSpPr>
          <p:nvPr>
            <p:ph type="dgm" sz="quarter" idx="42"/>
          </p:nvPr>
        </p:nvSpPr>
        <p:spPr>
          <a:xfrm>
            <a:off x="9781863" y="3532129"/>
            <a:ext cx="203211" cy="203211"/>
          </a:xfrm>
          <a:prstGeom prst="ellipse">
            <a:avLst/>
          </a:prstGeom>
          <a:solidFill>
            <a:schemeClr val="accent2"/>
          </a:solidFill>
        </p:spPr>
        <p:txBody>
          <a:bodyPr>
            <a:noAutofit/>
          </a:bodyPr>
          <a:lstStyle>
            <a:lvl1pPr>
              <a:defRPr sz="100">
                <a:noFill/>
              </a:defRPr>
            </a:lvl1pPr>
          </a:lstStyle>
          <a:p>
            <a:endParaRPr lang="fr-FR"/>
          </a:p>
        </p:txBody>
      </p:sp>
      <p:sp>
        <p:nvSpPr>
          <p:cNvPr id="45" name="Espace réservé du graphique SmartArt 8">
            <a:extLst>
              <a:ext uri="{FF2B5EF4-FFF2-40B4-BE49-F238E27FC236}">
                <a16:creationId xmlns:a16="http://schemas.microsoft.com/office/drawing/2014/main" id="{20F095A0-F3DA-4512-82C9-4D45D0B9B113}"/>
              </a:ext>
            </a:extLst>
          </p:cNvPr>
          <p:cNvSpPr>
            <a:spLocks noGrp="1" noChangeAspect="1"/>
          </p:cNvSpPr>
          <p:nvPr>
            <p:ph type="dgm" sz="quarter" idx="43"/>
          </p:nvPr>
        </p:nvSpPr>
        <p:spPr>
          <a:xfrm>
            <a:off x="9781863" y="3885872"/>
            <a:ext cx="203211" cy="203211"/>
          </a:xfrm>
          <a:prstGeom prst="ellipse">
            <a:avLst/>
          </a:prstGeom>
          <a:solidFill>
            <a:schemeClr val="accent4"/>
          </a:solidFill>
        </p:spPr>
        <p:txBody>
          <a:bodyPr>
            <a:noAutofit/>
          </a:bodyPr>
          <a:lstStyle>
            <a:lvl1pPr>
              <a:defRPr sz="100">
                <a:noFill/>
              </a:defRPr>
            </a:lvl1pPr>
          </a:lstStyle>
          <a:p>
            <a:endParaRPr lang="fr-FR"/>
          </a:p>
        </p:txBody>
      </p:sp>
      <p:sp>
        <p:nvSpPr>
          <p:cNvPr id="46" name="Espace réservé du graphique SmartArt 8">
            <a:extLst>
              <a:ext uri="{FF2B5EF4-FFF2-40B4-BE49-F238E27FC236}">
                <a16:creationId xmlns:a16="http://schemas.microsoft.com/office/drawing/2014/main" id="{57FB62B4-ACED-4400-BF4F-2271A25AA150}"/>
              </a:ext>
            </a:extLst>
          </p:cNvPr>
          <p:cNvSpPr>
            <a:spLocks noGrp="1" noChangeAspect="1"/>
          </p:cNvSpPr>
          <p:nvPr>
            <p:ph type="dgm" sz="quarter" idx="44"/>
          </p:nvPr>
        </p:nvSpPr>
        <p:spPr>
          <a:xfrm>
            <a:off x="9781863" y="4239615"/>
            <a:ext cx="203211" cy="203211"/>
          </a:xfrm>
          <a:prstGeom prst="ellipse">
            <a:avLst/>
          </a:prstGeom>
          <a:solidFill>
            <a:schemeClr val="accent3"/>
          </a:solidFill>
        </p:spPr>
        <p:txBody>
          <a:bodyPr>
            <a:noAutofit/>
          </a:bodyPr>
          <a:lstStyle>
            <a:lvl1pPr>
              <a:defRPr sz="100">
                <a:noFill/>
              </a:defRPr>
            </a:lvl1pPr>
          </a:lstStyle>
          <a:p>
            <a:endParaRPr lang="fr-FR"/>
          </a:p>
        </p:txBody>
      </p:sp>
      <p:sp>
        <p:nvSpPr>
          <p:cNvPr id="47" name="Espace réservé du graphique SmartArt 8">
            <a:extLst>
              <a:ext uri="{FF2B5EF4-FFF2-40B4-BE49-F238E27FC236}">
                <a16:creationId xmlns:a16="http://schemas.microsoft.com/office/drawing/2014/main" id="{2CF3F770-1C89-4350-B365-9AEAD60C9418}"/>
              </a:ext>
            </a:extLst>
          </p:cNvPr>
          <p:cNvSpPr>
            <a:spLocks noGrp="1" noChangeAspect="1"/>
          </p:cNvSpPr>
          <p:nvPr>
            <p:ph type="dgm" sz="quarter" idx="45"/>
          </p:nvPr>
        </p:nvSpPr>
        <p:spPr>
          <a:xfrm>
            <a:off x="9781863" y="4593356"/>
            <a:ext cx="203211" cy="203211"/>
          </a:xfrm>
          <a:prstGeom prst="ellipse">
            <a:avLst/>
          </a:prstGeom>
          <a:solidFill>
            <a:schemeClr val="accent5"/>
          </a:solidFill>
        </p:spPr>
        <p:txBody>
          <a:bodyPr>
            <a:noAutofit/>
          </a:bodyPr>
          <a:lstStyle>
            <a:lvl1pPr>
              <a:defRPr sz="100">
                <a:noFill/>
              </a:defRPr>
            </a:lvl1pPr>
          </a:lstStyle>
          <a:p>
            <a:endParaRPr lang="fr-FR"/>
          </a:p>
        </p:txBody>
      </p:sp>
      <p:sp>
        <p:nvSpPr>
          <p:cNvPr id="48" name="Espace réservé du texte 12">
            <a:extLst>
              <a:ext uri="{FF2B5EF4-FFF2-40B4-BE49-F238E27FC236}">
                <a16:creationId xmlns:a16="http://schemas.microsoft.com/office/drawing/2014/main" id="{EC712F8A-CB2E-4C1C-ABA7-9B42D25384A7}"/>
              </a:ext>
            </a:extLst>
          </p:cNvPr>
          <p:cNvSpPr>
            <a:spLocks noGrp="1"/>
          </p:cNvSpPr>
          <p:nvPr>
            <p:ph type="body" sz="quarter" idx="46" hasCustomPrompt="1"/>
          </p:nvPr>
        </p:nvSpPr>
        <p:spPr>
          <a:xfrm>
            <a:off x="10184636" y="2856893"/>
            <a:ext cx="1612078" cy="138499"/>
          </a:xfrm>
        </p:spPr>
        <p:txBody>
          <a:bodyPr/>
          <a:lstStyle>
            <a:lvl1pPr>
              <a:defRPr sz="1000">
                <a:latin typeface="+mj-lt"/>
              </a:defRPr>
            </a:lvl1pPr>
            <a:lvl5pPr>
              <a:defRPr/>
            </a:lvl5pPr>
          </a:lstStyle>
          <a:p>
            <a:pPr lvl="0"/>
            <a:r>
              <a:rPr lang="fr-FR" err="1"/>
              <a:t>Tation</a:t>
            </a:r>
            <a:r>
              <a:rPr lang="fr-FR"/>
              <a:t> </a:t>
            </a:r>
            <a:r>
              <a:rPr lang="fr-FR" err="1"/>
              <a:t>ullamcorper</a:t>
            </a:r>
            <a:r>
              <a:rPr lang="fr-FR"/>
              <a:t> </a:t>
            </a:r>
          </a:p>
        </p:txBody>
      </p:sp>
      <p:sp>
        <p:nvSpPr>
          <p:cNvPr id="49" name="Espace réservé du texte 12">
            <a:extLst>
              <a:ext uri="{FF2B5EF4-FFF2-40B4-BE49-F238E27FC236}">
                <a16:creationId xmlns:a16="http://schemas.microsoft.com/office/drawing/2014/main" id="{D89A4B58-BC17-4953-A3AA-EC21159DE2FC}"/>
              </a:ext>
            </a:extLst>
          </p:cNvPr>
          <p:cNvSpPr>
            <a:spLocks noGrp="1"/>
          </p:cNvSpPr>
          <p:nvPr>
            <p:ph type="body" sz="quarter" idx="47" hasCustomPrompt="1"/>
          </p:nvPr>
        </p:nvSpPr>
        <p:spPr>
          <a:xfrm>
            <a:off x="10184636" y="3210537"/>
            <a:ext cx="1612078" cy="138499"/>
          </a:xfrm>
        </p:spPr>
        <p:txBody>
          <a:bodyPr/>
          <a:lstStyle>
            <a:lvl1pPr>
              <a:defRPr sz="1000">
                <a:latin typeface="+mj-lt"/>
              </a:defRPr>
            </a:lvl1pPr>
            <a:lvl5pPr>
              <a:defRPr/>
            </a:lvl5pPr>
          </a:lstStyle>
          <a:p>
            <a:pPr lvl="0"/>
            <a:r>
              <a:rPr lang="fr-FR" err="1"/>
              <a:t>Tation</a:t>
            </a:r>
            <a:r>
              <a:rPr lang="fr-FR"/>
              <a:t> </a:t>
            </a:r>
            <a:r>
              <a:rPr lang="fr-FR" err="1"/>
              <a:t>ullamcorper</a:t>
            </a:r>
            <a:r>
              <a:rPr lang="fr-FR"/>
              <a:t> </a:t>
            </a:r>
          </a:p>
        </p:txBody>
      </p:sp>
      <p:sp>
        <p:nvSpPr>
          <p:cNvPr id="50" name="Espace réservé du texte 12">
            <a:extLst>
              <a:ext uri="{FF2B5EF4-FFF2-40B4-BE49-F238E27FC236}">
                <a16:creationId xmlns:a16="http://schemas.microsoft.com/office/drawing/2014/main" id="{A9C5CB5B-24F6-434D-8EB5-5B50CD87E314}"/>
              </a:ext>
            </a:extLst>
          </p:cNvPr>
          <p:cNvSpPr>
            <a:spLocks noGrp="1"/>
          </p:cNvSpPr>
          <p:nvPr>
            <p:ph type="body" sz="quarter" idx="48" hasCustomPrompt="1"/>
          </p:nvPr>
        </p:nvSpPr>
        <p:spPr>
          <a:xfrm>
            <a:off x="10184636" y="3564181"/>
            <a:ext cx="1612078" cy="138499"/>
          </a:xfrm>
        </p:spPr>
        <p:txBody>
          <a:bodyPr/>
          <a:lstStyle>
            <a:lvl1pPr>
              <a:defRPr sz="1000">
                <a:latin typeface="+mj-lt"/>
              </a:defRPr>
            </a:lvl1pPr>
            <a:lvl5pPr>
              <a:defRPr/>
            </a:lvl5pPr>
          </a:lstStyle>
          <a:p>
            <a:pPr lvl="0"/>
            <a:r>
              <a:rPr lang="fr-FR" err="1"/>
              <a:t>Tation</a:t>
            </a:r>
            <a:r>
              <a:rPr lang="fr-FR"/>
              <a:t> </a:t>
            </a:r>
            <a:r>
              <a:rPr lang="fr-FR" err="1"/>
              <a:t>ullamcorper</a:t>
            </a:r>
            <a:r>
              <a:rPr lang="fr-FR"/>
              <a:t> </a:t>
            </a:r>
          </a:p>
        </p:txBody>
      </p:sp>
      <p:sp>
        <p:nvSpPr>
          <p:cNvPr id="51" name="Espace réservé du texte 12">
            <a:extLst>
              <a:ext uri="{FF2B5EF4-FFF2-40B4-BE49-F238E27FC236}">
                <a16:creationId xmlns:a16="http://schemas.microsoft.com/office/drawing/2014/main" id="{05305D3E-22A4-4513-98B7-9DF08295FDC9}"/>
              </a:ext>
            </a:extLst>
          </p:cNvPr>
          <p:cNvSpPr>
            <a:spLocks noGrp="1"/>
          </p:cNvSpPr>
          <p:nvPr>
            <p:ph type="body" sz="quarter" idx="49" hasCustomPrompt="1"/>
          </p:nvPr>
        </p:nvSpPr>
        <p:spPr>
          <a:xfrm>
            <a:off x="10184636" y="3917825"/>
            <a:ext cx="1612078" cy="138499"/>
          </a:xfrm>
        </p:spPr>
        <p:txBody>
          <a:bodyPr/>
          <a:lstStyle>
            <a:lvl1pPr>
              <a:defRPr sz="1000">
                <a:latin typeface="+mj-lt"/>
              </a:defRPr>
            </a:lvl1pPr>
            <a:lvl5pPr>
              <a:defRPr/>
            </a:lvl5pPr>
          </a:lstStyle>
          <a:p>
            <a:pPr lvl="0"/>
            <a:r>
              <a:rPr lang="fr-FR" err="1"/>
              <a:t>Tation</a:t>
            </a:r>
            <a:r>
              <a:rPr lang="fr-FR"/>
              <a:t> </a:t>
            </a:r>
            <a:r>
              <a:rPr lang="fr-FR" err="1"/>
              <a:t>ullamcorper</a:t>
            </a:r>
            <a:r>
              <a:rPr lang="fr-FR"/>
              <a:t> </a:t>
            </a:r>
          </a:p>
        </p:txBody>
      </p:sp>
      <p:sp>
        <p:nvSpPr>
          <p:cNvPr id="52" name="Espace réservé du texte 12">
            <a:extLst>
              <a:ext uri="{FF2B5EF4-FFF2-40B4-BE49-F238E27FC236}">
                <a16:creationId xmlns:a16="http://schemas.microsoft.com/office/drawing/2014/main" id="{884A6EAE-8E2C-4CA6-9717-3A8B2ADD210E}"/>
              </a:ext>
            </a:extLst>
          </p:cNvPr>
          <p:cNvSpPr>
            <a:spLocks noGrp="1"/>
          </p:cNvSpPr>
          <p:nvPr>
            <p:ph type="body" sz="quarter" idx="50" hasCustomPrompt="1"/>
          </p:nvPr>
        </p:nvSpPr>
        <p:spPr>
          <a:xfrm>
            <a:off x="10184636" y="4271469"/>
            <a:ext cx="1612078" cy="138499"/>
          </a:xfrm>
        </p:spPr>
        <p:txBody>
          <a:bodyPr/>
          <a:lstStyle>
            <a:lvl1pPr>
              <a:defRPr sz="1000">
                <a:latin typeface="+mj-lt"/>
              </a:defRPr>
            </a:lvl1pPr>
            <a:lvl5pPr>
              <a:defRPr/>
            </a:lvl5pPr>
          </a:lstStyle>
          <a:p>
            <a:pPr lvl="0"/>
            <a:r>
              <a:rPr lang="fr-FR" err="1"/>
              <a:t>Tation</a:t>
            </a:r>
            <a:r>
              <a:rPr lang="fr-FR"/>
              <a:t> </a:t>
            </a:r>
            <a:r>
              <a:rPr lang="fr-FR" err="1"/>
              <a:t>ullamcorper</a:t>
            </a:r>
            <a:r>
              <a:rPr lang="fr-FR"/>
              <a:t> </a:t>
            </a:r>
          </a:p>
        </p:txBody>
      </p:sp>
      <p:sp>
        <p:nvSpPr>
          <p:cNvPr id="53" name="Espace réservé du texte 12">
            <a:extLst>
              <a:ext uri="{FF2B5EF4-FFF2-40B4-BE49-F238E27FC236}">
                <a16:creationId xmlns:a16="http://schemas.microsoft.com/office/drawing/2014/main" id="{512B698A-0523-485F-8381-E4EB026572E3}"/>
              </a:ext>
            </a:extLst>
          </p:cNvPr>
          <p:cNvSpPr>
            <a:spLocks noGrp="1"/>
          </p:cNvSpPr>
          <p:nvPr>
            <p:ph type="body" sz="quarter" idx="51" hasCustomPrompt="1"/>
          </p:nvPr>
        </p:nvSpPr>
        <p:spPr>
          <a:xfrm>
            <a:off x="10184636" y="4625111"/>
            <a:ext cx="1612078" cy="138499"/>
          </a:xfrm>
        </p:spPr>
        <p:txBody>
          <a:bodyPr/>
          <a:lstStyle>
            <a:lvl1pPr>
              <a:defRPr sz="1000">
                <a:latin typeface="+mj-lt"/>
              </a:defRPr>
            </a:lvl1pPr>
            <a:lvl5pPr>
              <a:defRPr/>
            </a:lvl5pPr>
          </a:lstStyle>
          <a:p>
            <a:pPr lvl="0"/>
            <a:r>
              <a:rPr lang="fr-FR" err="1"/>
              <a:t>Tation</a:t>
            </a:r>
            <a:r>
              <a:rPr lang="fr-FR"/>
              <a:t> </a:t>
            </a:r>
            <a:r>
              <a:rPr lang="fr-FR" err="1"/>
              <a:t>ullamcorper</a:t>
            </a:r>
            <a:r>
              <a:rPr lang="fr-FR"/>
              <a:t> </a:t>
            </a:r>
          </a:p>
        </p:txBody>
      </p:sp>
      <p:sp>
        <p:nvSpPr>
          <p:cNvPr id="8" name="Espace réservé du graphique 7">
            <a:extLst>
              <a:ext uri="{FF2B5EF4-FFF2-40B4-BE49-F238E27FC236}">
                <a16:creationId xmlns:a16="http://schemas.microsoft.com/office/drawing/2014/main" id="{42E17F2E-9FF4-4C52-B7B6-22A14E399D5A}"/>
              </a:ext>
            </a:extLst>
          </p:cNvPr>
          <p:cNvSpPr>
            <a:spLocks noGrp="1"/>
          </p:cNvSpPr>
          <p:nvPr>
            <p:ph type="chart" sz="quarter" idx="52"/>
          </p:nvPr>
        </p:nvSpPr>
        <p:spPr>
          <a:xfrm>
            <a:off x="6187440" y="2106613"/>
            <a:ext cx="3394710" cy="3460667"/>
          </a:xfrm>
        </p:spPr>
        <p:txBody>
          <a:bodyPr>
            <a:noAutofit/>
          </a:bodyPr>
          <a:lstStyle>
            <a:lvl1pPr>
              <a:defRPr>
                <a:noFill/>
              </a:defRPr>
            </a:lvl1pPr>
          </a:lstStyle>
          <a:p>
            <a:endParaRPr lang="fr-FR"/>
          </a:p>
        </p:txBody>
      </p:sp>
    </p:spTree>
    <p:extLst>
      <p:ext uri="{BB962C8B-B14F-4D97-AF65-F5344CB8AC3E}">
        <p14:creationId xmlns:p14="http://schemas.microsoft.com/office/powerpoint/2010/main" val="483287252"/>
      </p:ext>
    </p:extLst>
  </p:cSld>
  <p:clrMapOvr>
    <a:masterClrMapping/>
  </p:clrMapOvr>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fographie E">
    <p:spTree>
      <p:nvGrpSpPr>
        <p:cNvPr id="1" name=""/>
        <p:cNvGrpSpPr/>
        <p:nvPr/>
      </p:nvGrpSpPr>
      <p:grpSpPr>
        <a:xfrm>
          <a:off x="0" y="0"/>
          <a:ext cx="0" cy="0"/>
          <a:chOff x="0" y="0"/>
          <a:chExt cx="0" cy="0"/>
        </a:xfrm>
      </p:grpSpPr>
      <p:sp>
        <p:nvSpPr>
          <p:cNvPr id="10" name="Espace réservé de la date 9">
            <a:extLst>
              <a:ext uri="{FF2B5EF4-FFF2-40B4-BE49-F238E27FC236}">
                <a16:creationId xmlns:a16="http://schemas.microsoft.com/office/drawing/2014/main" id="{506D7A77-3261-4789-90AF-4391ECC68EB7}"/>
              </a:ext>
            </a:extLst>
          </p:cNvPr>
          <p:cNvSpPr>
            <a:spLocks noGrp="1"/>
          </p:cNvSpPr>
          <p:nvPr>
            <p:ph type="dt" sz="half" idx="19"/>
          </p:nvPr>
        </p:nvSpPr>
        <p:spPr/>
        <p:txBody>
          <a:bodyPr/>
          <a:lstStyle>
            <a:lvl1pPr>
              <a:defRPr>
                <a:solidFill>
                  <a:schemeClr val="tx2"/>
                </a:solidFill>
              </a:defRPr>
            </a:lvl1pPr>
          </a:lstStyle>
          <a:p>
            <a:r>
              <a:rPr lang="fr-FR" smtClean="0"/>
              <a:t>25 mai 2022</a:t>
            </a:r>
            <a:endParaRPr lang="fr-FR"/>
          </a:p>
        </p:txBody>
      </p:sp>
      <p:sp>
        <p:nvSpPr>
          <p:cNvPr id="11" name="Espace réservé du pied de page 10">
            <a:extLst>
              <a:ext uri="{FF2B5EF4-FFF2-40B4-BE49-F238E27FC236}">
                <a16:creationId xmlns:a16="http://schemas.microsoft.com/office/drawing/2014/main" id="{05070C08-0C4F-480C-A4AD-38AC3DBE4AC8}"/>
              </a:ext>
            </a:extLst>
          </p:cNvPr>
          <p:cNvSpPr>
            <a:spLocks noGrp="1"/>
          </p:cNvSpPr>
          <p:nvPr>
            <p:ph type="ftr" sz="quarter" idx="20"/>
          </p:nvPr>
        </p:nvSpPr>
        <p:spPr>
          <a:xfrm>
            <a:off x="1626384" y="6469013"/>
            <a:ext cx="4812515" cy="226714"/>
          </a:xfrm>
          <a:prstGeom prst="rect">
            <a:avLst/>
          </a:prstGeom>
        </p:spPr>
        <p:txBody>
          <a:bodyPr/>
          <a:lstStyle/>
          <a:p>
            <a:r>
              <a:rPr lang="fr-FR" smtClean="0"/>
              <a:t>Stratégie Mobilité Electrique Enedis</a:t>
            </a:r>
            <a:endParaRPr lang="fr-FR"/>
          </a:p>
        </p:txBody>
      </p:sp>
      <p:sp>
        <p:nvSpPr>
          <p:cNvPr id="12" name="Espace réservé du numéro de diapositive 11">
            <a:extLst>
              <a:ext uri="{FF2B5EF4-FFF2-40B4-BE49-F238E27FC236}">
                <a16:creationId xmlns:a16="http://schemas.microsoft.com/office/drawing/2014/main" id="{A20B3F73-B7A3-4D47-82E4-C5AA9E80D66F}"/>
              </a:ext>
            </a:extLst>
          </p:cNvPr>
          <p:cNvSpPr>
            <a:spLocks noGrp="1"/>
          </p:cNvSpPr>
          <p:nvPr>
            <p:ph type="sldNum" sz="quarter" idx="21"/>
          </p:nvPr>
        </p:nvSpPr>
        <p:spPr/>
        <p:txBody>
          <a:bodyPr/>
          <a:lstStyle>
            <a:lvl1pPr>
              <a:defRPr>
                <a:solidFill>
                  <a:schemeClr val="tx2"/>
                </a:solidFill>
              </a:defRPr>
            </a:lvl1pPr>
          </a:lstStyle>
          <a:p>
            <a:fld id="{6B54B0F7-55DD-40D6-B7F4-70B586885C0B}" type="slidenum">
              <a:rPr lang="fr-FR" smtClean="0"/>
              <a:pPr/>
              <a:t>‹N°›</a:t>
            </a:fld>
            <a:endParaRPr lang="fr-FR"/>
          </a:p>
        </p:txBody>
      </p:sp>
      <p:sp>
        <p:nvSpPr>
          <p:cNvPr id="16" name="Titre 8">
            <a:extLst>
              <a:ext uri="{FF2B5EF4-FFF2-40B4-BE49-F238E27FC236}">
                <a16:creationId xmlns:a16="http://schemas.microsoft.com/office/drawing/2014/main" id="{EC6C1856-89A9-40CF-B4C0-D16A188E2C62}"/>
              </a:ext>
            </a:extLst>
          </p:cNvPr>
          <p:cNvSpPr>
            <a:spLocks noGrp="1"/>
          </p:cNvSpPr>
          <p:nvPr>
            <p:ph type="title" hasCustomPrompt="1"/>
          </p:nvPr>
        </p:nvSpPr>
        <p:spPr>
          <a:xfrm>
            <a:off x="493391" y="488357"/>
            <a:ext cx="11175540" cy="891911"/>
          </a:xfrm>
        </p:spPr>
        <p:txBody>
          <a:bodyPr/>
          <a:lstStyle>
            <a:lvl1pPr>
              <a:lnSpc>
                <a:spcPct val="84000"/>
              </a:lnSpc>
              <a:defRPr sz="3450"/>
            </a:lvl1pPr>
          </a:lstStyle>
          <a:p>
            <a:r>
              <a:rPr lang="fr-FR"/>
              <a:t>Lorem ipsum </a:t>
            </a:r>
            <a:r>
              <a:rPr lang="fr-FR" err="1"/>
              <a:t>dolor</a:t>
            </a:r>
            <a:r>
              <a:rPr lang="fr-FR"/>
              <a:t> </a:t>
            </a:r>
            <a:r>
              <a:rPr lang="fr-FR" err="1"/>
              <a:t>sit</a:t>
            </a:r>
            <a:r>
              <a:rPr lang="fr-FR"/>
              <a:t> </a:t>
            </a:r>
            <a:r>
              <a:rPr lang="fr-FR" err="1"/>
              <a:t>amet</a:t>
            </a:r>
            <a:r>
              <a:rPr lang="fr-FR"/>
              <a:t>, </a:t>
            </a:r>
            <a:r>
              <a:rPr lang="fr-FR" err="1"/>
              <a:t>consectetuer</a:t>
            </a:r>
            <a:r>
              <a:rPr lang="fr-FR"/>
              <a:t/>
            </a:r>
            <a:br>
              <a:rPr lang="fr-FR"/>
            </a:br>
            <a:r>
              <a:rPr lang="fr-FR" err="1"/>
              <a:t>adipiscing</a:t>
            </a:r>
            <a:r>
              <a:rPr lang="fr-FR"/>
              <a:t> </a:t>
            </a:r>
            <a:r>
              <a:rPr lang="fr-FR" err="1"/>
              <a:t>elit</a:t>
            </a:r>
            <a:r>
              <a:rPr lang="fr-FR"/>
              <a:t>, </a:t>
            </a:r>
            <a:r>
              <a:rPr lang="fr-FR" err="1"/>
              <a:t>sed</a:t>
            </a:r>
            <a:r>
              <a:rPr lang="fr-FR"/>
              <a:t> diam </a:t>
            </a:r>
            <a:r>
              <a:rPr lang="fr-FR" err="1"/>
              <a:t>nonummy</a:t>
            </a:r>
            <a:r>
              <a:rPr lang="fr-FR"/>
              <a:t> </a:t>
            </a:r>
            <a:r>
              <a:rPr lang="fr-FR" err="1"/>
              <a:t>nibh</a:t>
            </a:r>
            <a:r>
              <a:rPr lang="fr-FR"/>
              <a:t> </a:t>
            </a:r>
            <a:r>
              <a:rPr lang="fr-FR" err="1"/>
              <a:t>euismod</a:t>
            </a:r>
            <a:endParaRPr lang="fr-FR"/>
          </a:p>
        </p:txBody>
      </p:sp>
      <p:sp>
        <p:nvSpPr>
          <p:cNvPr id="19" name="Espace réservé du texte 12">
            <a:extLst>
              <a:ext uri="{FF2B5EF4-FFF2-40B4-BE49-F238E27FC236}">
                <a16:creationId xmlns:a16="http://schemas.microsoft.com/office/drawing/2014/main" id="{F0C630BF-41CF-4CB9-8F07-2DB7ACDA1891}"/>
              </a:ext>
            </a:extLst>
          </p:cNvPr>
          <p:cNvSpPr>
            <a:spLocks noGrp="1"/>
          </p:cNvSpPr>
          <p:nvPr>
            <p:ph type="body" sz="quarter" idx="18"/>
          </p:nvPr>
        </p:nvSpPr>
        <p:spPr>
          <a:xfrm>
            <a:off x="512439" y="1623034"/>
            <a:ext cx="5717764" cy="872547"/>
          </a:xfrm>
        </p:spPr>
        <p:txBody>
          <a:bodyPr/>
          <a:lstStyle>
            <a:lvl1pPr>
              <a:defRPr/>
            </a:lvl1pPr>
            <a:lvl5pPr>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95897261"/>
      </p:ext>
    </p:extLst>
  </p:cSld>
  <p:clrMapOvr>
    <a:masterClrMapping/>
  </p:clrMapOvr>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1_Bibliothèque de formes">
    <p:bg>
      <p:bgPr>
        <a:solidFill>
          <a:schemeClr val="tx1"/>
        </a:solidFill>
        <a:effectLst/>
      </p:bgPr>
    </p:bg>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C6797FC5-6C3D-4138-A22B-25A93A47052F}"/>
              </a:ext>
            </a:extLst>
          </p:cNvPr>
          <p:cNvSpPr txBox="1"/>
          <p:nvPr userDrawn="1"/>
        </p:nvSpPr>
        <p:spPr>
          <a:xfrm>
            <a:off x="389572" y="732751"/>
            <a:ext cx="8191500" cy="1938992"/>
          </a:xfrm>
          <a:prstGeom prst="rect">
            <a:avLst/>
          </a:prstGeom>
          <a:noFill/>
        </p:spPr>
        <p:txBody>
          <a:bodyPr wrap="square" rtlCol="0" anchor="b">
            <a:spAutoFit/>
          </a:bodyPr>
          <a:lstStyle/>
          <a:p>
            <a:r>
              <a:rPr lang="fr-FR" sz="6000" b="1" err="1">
                <a:solidFill>
                  <a:schemeClr val="bg1"/>
                </a:solidFill>
                <a:latin typeface="+mj-lt"/>
              </a:rPr>
              <a:t>Manifesto</a:t>
            </a:r>
            <a:endParaRPr lang="fr-FR" sz="6000" b="1">
              <a:solidFill>
                <a:schemeClr val="bg1"/>
              </a:solidFill>
              <a:latin typeface="+mj-lt"/>
            </a:endParaRPr>
          </a:p>
          <a:p>
            <a:r>
              <a:rPr lang="fr-FR" sz="6000" b="1">
                <a:solidFill>
                  <a:schemeClr val="bg1"/>
                </a:solidFill>
                <a:latin typeface="+mj-lt"/>
              </a:rPr>
              <a:t>et données</a:t>
            </a:r>
          </a:p>
        </p:txBody>
      </p:sp>
      <p:sp>
        <p:nvSpPr>
          <p:cNvPr id="7" name="Rectangle 6">
            <a:extLst>
              <a:ext uri="{FF2B5EF4-FFF2-40B4-BE49-F238E27FC236}">
                <a16:creationId xmlns:a16="http://schemas.microsoft.com/office/drawing/2014/main" id="{1192475B-7CF7-49DA-A68D-80D222243F11}"/>
              </a:ext>
            </a:extLst>
          </p:cNvPr>
          <p:cNvSpPr/>
          <p:nvPr userDrawn="1"/>
        </p:nvSpPr>
        <p:spPr>
          <a:xfrm>
            <a:off x="521495" y="2962275"/>
            <a:ext cx="357187" cy="500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Graphique 7">
            <a:extLst>
              <a:ext uri="{FF2B5EF4-FFF2-40B4-BE49-F238E27FC236}">
                <a16:creationId xmlns:a16="http://schemas.microsoft.com/office/drawing/2014/main" id="{C82C95D8-4AA6-4827-9B60-6B7D03DA469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518307" y="6473187"/>
            <a:ext cx="765479" cy="154800"/>
          </a:xfrm>
          <a:prstGeom prst="rect">
            <a:avLst/>
          </a:prstGeom>
        </p:spPr>
      </p:pic>
    </p:spTree>
    <p:extLst>
      <p:ext uri="{BB962C8B-B14F-4D97-AF65-F5344CB8AC3E}">
        <p14:creationId xmlns:p14="http://schemas.microsoft.com/office/powerpoint/2010/main" val="186615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4" Type="http://schemas.openxmlformats.org/officeDocument/2006/relationships/slideLayout" Target="../slideLayouts/slideLayout24.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theme" Target="../theme/theme4.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006C05-B65F-CEDB-E7D6-AA5D87C5233F}"/>
              </a:ext>
            </a:extLst>
          </p:cNvPr>
          <p:cNvGraphicFramePr>
            <a:graphicFrameLocks noChangeAspect="1"/>
          </p:cNvGraphicFramePr>
          <p:nvPr userDrawn="1">
            <p:custDataLst>
              <p:tags r:id="rId23"/>
            </p:custDataLst>
            <p:extLst>
              <p:ext uri="{D42A27DB-BD31-4B8C-83A1-F6EECF244321}">
                <p14:modId xmlns:p14="http://schemas.microsoft.com/office/powerpoint/2010/main" val="615538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4" name="Diapositive think-cell" r:id="rId24" imgW="346" imgH="346" progId="TCLayout.ActiveDocument.1">
                  <p:embed/>
                </p:oleObj>
              </mc:Choice>
              <mc:Fallback>
                <p:oleObj name="Diapositive think-cell" r:id="rId24" imgW="346" imgH="346"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95447" y="453112"/>
            <a:ext cx="6778865" cy="484748"/>
          </a:xfrm>
          <a:prstGeom prst="rect">
            <a:avLst/>
          </a:prstGeom>
        </p:spPr>
        <p:txBody>
          <a:bodyPr vert="horz" wrap="square" lIns="0" tIns="0" rIns="0" bIns="0" rtlCol="0" anchor="t">
            <a:spAutoFit/>
          </a:bodyPr>
          <a:lstStyle/>
          <a:p>
            <a:r>
              <a:rPr lang="fr-FR"/>
              <a:t>Modifiez le style du titre</a:t>
            </a:r>
            <a:endParaRPr lang="en-US"/>
          </a:p>
        </p:txBody>
      </p:sp>
      <p:sp>
        <p:nvSpPr>
          <p:cNvPr id="3" name="Text Placeholder 2"/>
          <p:cNvSpPr>
            <a:spLocks noGrp="1"/>
          </p:cNvSpPr>
          <p:nvPr>
            <p:ph type="body" idx="1"/>
          </p:nvPr>
        </p:nvSpPr>
        <p:spPr>
          <a:xfrm>
            <a:off x="518848" y="2094966"/>
            <a:ext cx="10515600" cy="1066831"/>
          </a:xfrm>
          <a:prstGeom prst="rect">
            <a:avLst/>
          </a:prstGeom>
        </p:spPr>
        <p:txBody>
          <a:bodyPr vert="horz" lIns="0" tIns="0" rIns="0" bIns="0" rtlCol="0">
            <a:spAutoFit/>
          </a:bodyPr>
          <a:lstStyle/>
          <a:p>
            <a:pPr lvl="0"/>
            <a:r>
              <a:rPr lang="fr-FR" dirty="0"/>
              <a:t>Lorem</a:t>
            </a:r>
          </a:p>
          <a:p>
            <a:pPr lvl="1"/>
            <a:r>
              <a:rPr lang="fr-FR" dirty="0"/>
              <a:t>Lorem niveau</a:t>
            </a:r>
          </a:p>
          <a:p>
            <a:pPr lvl="2"/>
            <a:r>
              <a:rPr lang="fr-FR" dirty="0"/>
              <a:t>Lorem niveau</a:t>
            </a:r>
          </a:p>
          <a:p>
            <a:pPr lvl="3"/>
            <a:r>
              <a:rPr lang="fr-FR" dirty="0"/>
              <a:t>Lorem me niveau</a:t>
            </a:r>
          </a:p>
          <a:p>
            <a:pPr lvl="4"/>
            <a:r>
              <a:rPr lang="fr-FR" dirty="0" err="1"/>
              <a:t>Tation</a:t>
            </a:r>
            <a:r>
              <a:rPr lang="fr-FR" dirty="0"/>
              <a:t> </a:t>
            </a:r>
            <a:r>
              <a:rPr lang="fr-FR" dirty="0" err="1"/>
              <a:t>ullamcorper</a:t>
            </a:r>
            <a:endParaRPr lang="en-US" dirty="0"/>
          </a:p>
          <a:p>
            <a:pPr lvl="5"/>
            <a:r>
              <a:rPr lang="en-US" dirty="0"/>
              <a:t>Lorem</a:t>
            </a:r>
            <a:endParaRPr lang="fr-FR" dirty="0"/>
          </a:p>
        </p:txBody>
      </p:sp>
      <p:sp>
        <p:nvSpPr>
          <p:cNvPr id="4" name="Date Placeholder 3"/>
          <p:cNvSpPr>
            <a:spLocks noGrp="1"/>
          </p:cNvSpPr>
          <p:nvPr>
            <p:ph type="dt" sz="half" idx="2"/>
          </p:nvPr>
        </p:nvSpPr>
        <p:spPr>
          <a:xfrm>
            <a:off x="8112125" y="6514469"/>
            <a:ext cx="3067051" cy="154849"/>
          </a:xfrm>
          <a:prstGeom prst="rect">
            <a:avLst/>
          </a:prstGeom>
        </p:spPr>
        <p:txBody>
          <a:bodyPr vert="horz" lIns="0" tIns="0" rIns="0" bIns="0" rtlCol="0" anchor="ctr"/>
          <a:lstStyle>
            <a:lvl1pPr algn="r">
              <a:defRPr sz="750">
                <a:solidFill>
                  <a:schemeClr val="tx2"/>
                </a:solidFill>
                <a:latin typeface="Enedis Light" pitchFamily="50" charset="0"/>
              </a:defRPr>
            </a:lvl1pPr>
          </a:lstStyle>
          <a:p>
            <a:r>
              <a:rPr lang="fr-FR" smtClean="0"/>
              <a:t>25 mai 2022</a:t>
            </a:r>
            <a:endParaRPr lang="fr-FR"/>
          </a:p>
        </p:txBody>
      </p:sp>
      <p:sp>
        <p:nvSpPr>
          <p:cNvPr id="6" name="Slide Number Placeholder 5"/>
          <p:cNvSpPr>
            <a:spLocks noGrp="1"/>
          </p:cNvSpPr>
          <p:nvPr>
            <p:ph type="sldNum" sz="quarter" idx="4"/>
          </p:nvPr>
        </p:nvSpPr>
        <p:spPr>
          <a:xfrm>
            <a:off x="11203781" y="6514718"/>
            <a:ext cx="465150" cy="154849"/>
          </a:xfrm>
          <a:prstGeom prst="rect">
            <a:avLst/>
          </a:prstGeom>
        </p:spPr>
        <p:txBody>
          <a:bodyPr vert="horz" lIns="0" tIns="0" rIns="0" bIns="0" rtlCol="0" anchor="ctr"/>
          <a:lstStyle>
            <a:lvl1pPr algn="r">
              <a:defRPr sz="750" b="1">
                <a:solidFill>
                  <a:schemeClr val="tx2"/>
                </a:solidFill>
                <a:latin typeface="+mj-lt"/>
              </a:defRPr>
            </a:lvl1pPr>
          </a:lstStyle>
          <a:p>
            <a:fld id="{6B54B0F7-55DD-40D6-B7F4-70B586885C0B}" type="slidenum">
              <a:rPr lang="fr-FR" smtClean="0"/>
              <a:pPr/>
              <a:t>‹N°›</a:t>
            </a:fld>
            <a:endParaRPr lang="fr-FR"/>
          </a:p>
        </p:txBody>
      </p:sp>
      <p:grpSp>
        <p:nvGrpSpPr>
          <p:cNvPr id="14" name="Groupe 13">
            <a:extLst>
              <a:ext uri="{FF2B5EF4-FFF2-40B4-BE49-F238E27FC236}">
                <a16:creationId xmlns:a16="http://schemas.microsoft.com/office/drawing/2014/main" id="{2A02097C-C2C2-4DA2-899D-77F82F856EDF}"/>
              </a:ext>
            </a:extLst>
          </p:cNvPr>
          <p:cNvGrpSpPr>
            <a:grpSpLocks noChangeAspect="1"/>
          </p:cNvGrpSpPr>
          <p:nvPr userDrawn="1"/>
        </p:nvGrpSpPr>
        <p:grpSpPr>
          <a:xfrm>
            <a:off x="518307" y="6473033"/>
            <a:ext cx="767567" cy="155112"/>
            <a:chOff x="3231832" y="7185063"/>
            <a:chExt cx="5132298" cy="1037158"/>
          </a:xfrm>
        </p:grpSpPr>
        <p:sp>
          <p:nvSpPr>
            <p:cNvPr id="12" name="Forme libre : forme 11">
              <a:extLst>
                <a:ext uri="{FF2B5EF4-FFF2-40B4-BE49-F238E27FC236}">
                  <a16:creationId xmlns:a16="http://schemas.microsoft.com/office/drawing/2014/main" id="{0BDC45AC-D827-4EC3-9595-8445187F9807}"/>
                </a:ext>
              </a:extLst>
            </p:cNvPr>
            <p:cNvSpPr/>
            <p:nvPr/>
          </p:nvSpPr>
          <p:spPr>
            <a:xfrm>
              <a:off x="5071966" y="7185101"/>
              <a:ext cx="1117644" cy="1037120"/>
            </a:xfrm>
            <a:custGeom>
              <a:avLst/>
              <a:gdLst>
                <a:gd name="connsiteX0" fmla="*/ 519115 w 1117644"/>
                <a:gd name="connsiteY0" fmla="*/ 848219 h 1037120"/>
                <a:gd name="connsiteX1" fmla="*/ 324919 w 1117644"/>
                <a:gd name="connsiteY1" fmla="*/ 668711 h 1037120"/>
                <a:gd name="connsiteX2" fmla="*/ 325338 w 1117644"/>
                <a:gd name="connsiteY2" fmla="*/ 636136 h 1037120"/>
                <a:gd name="connsiteX3" fmla="*/ 739428 w 1117644"/>
                <a:gd name="connsiteY3" fmla="*/ 636136 h 1037120"/>
                <a:gd name="connsiteX4" fmla="*/ 999289 w 1117644"/>
                <a:gd name="connsiteY4" fmla="*/ 394601 h 1037120"/>
                <a:gd name="connsiteX5" fmla="*/ 999289 w 1117644"/>
                <a:gd name="connsiteY5" fmla="*/ 241572 h 1037120"/>
                <a:gd name="connsiteX6" fmla="*/ 739428 w 1117644"/>
                <a:gd name="connsiteY6" fmla="*/ 37 h 1037120"/>
                <a:gd name="connsiteX7" fmla="*/ 378107 w 1117644"/>
                <a:gd name="connsiteY7" fmla="*/ 37 h 1037120"/>
                <a:gd name="connsiteX8" fmla="*/ 317775 w 1117644"/>
                <a:gd name="connsiteY8" fmla="*/ 4647 h 1037120"/>
                <a:gd name="connsiteX9" fmla="*/ 118684 w 1117644"/>
                <a:gd name="connsiteY9" fmla="*/ 241572 h 1037120"/>
                <a:gd name="connsiteX10" fmla="*/ 118684 w 1117644"/>
                <a:gd name="connsiteY10" fmla="*/ 330402 h 1037120"/>
                <a:gd name="connsiteX11" fmla="*/ 151850 w 1117644"/>
                <a:gd name="connsiteY11" fmla="*/ 367302 h 1037120"/>
                <a:gd name="connsiteX12" fmla="*/ 292096 w 1117644"/>
                <a:gd name="connsiteY12" fmla="*/ 367302 h 1037120"/>
                <a:gd name="connsiteX13" fmla="*/ 325300 w 1117644"/>
                <a:gd name="connsiteY13" fmla="*/ 330402 h 1037120"/>
                <a:gd name="connsiteX14" fmla="*/ 325300 w 1117644"/>
                <a:gd name="connsiteY14" fmla="*/ 273062 h 1037120"/>
                <a:gd name="connsiteX15" fmla="*/ 417369 w 1117644"/>
                <a:gd name="connsiteY15" fmla="*/ 188994 h 1037120"/>
                <a:gd name="connsiteX16" fmla="*/ 700680 w 1117644"/>
                <a:gd name="connsiteY16" fmla="*/ 188994 h 1037120"/>
                <a:gd name="connsiteX17" fmla="*/ 792768 w 1117644"/>
                <a:gd name="connsiteY17" fmla="*/ 273062 h 1037120"/>
                <a:gd name="connsiteX18" fmla="*/ 792768 w 1117644"/>
                <a:gd name="connsiteY18" fmla="*/ 363892 h 1037120"/>
                <a:gd name="connsiteX19" fmla="*/ 700680 w 1117644"/>
                <a:gd name="connsiteY19" fmla="*/ 447884 h 1037120"/>
                <a:gd name="connsiteX20" fmla="*/ 250 w 1117644"/>
                <a:gd name="connsiteY20" fmla="*/ 447884 h 1037120"/>
                <a:gd name="connsiteX21" fmla="*/ 250 w 1117644"/>
                <a:gd name="connsiteY21" fmla="*/ 636136 h 1037120"/>
                <a:gd name="connsiteX22" fmla="*/ 118188 w 1117644"/>
                <a:gd name="connsiteY22" fmla="*/ 636136 h 1037120"/>
                <a:gd name="connsiteX23" fmla="*/ 118188 w 1117644"/>
                <a:gd name="connsiteY23" fmla="*/ 668673 h 1037120"/>
                <a:gd name="connsiteX24" fmla="*/ 519800 w 1117644"/>
                <a:gd name="connsiteY24" fmla="*/ 1037157 h 1037120"/>
                <a:gd name="connsiteX25" fmla="*/ 1117894 w 1117644"/>
                <a:gd name="connsiteY25" fmla="*/ 1037157 h 1037120"/>
                <a:gd name="connsiteX26" fmla="*/ 1117894 w 1117644"/>
                <a:gd name="connsiteY26" fmla="*/ 848200 h 1037120"/>
                <a:gd name="connsiteX27" fmla="*/ 519115 w 1117644"/>
                <a:gd name="connsiteY27" fmla="*/ 848219 h 103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17644" h="1037120">
                  <a:moveTo>
                    <a:pt x="519115" y="848219"/>
                  </a:moveTo>
                  <a:cubicBezTo>
                    <a:pt x="412035" y="848219"/>
                    <a:pt x="324919" y="768248"/>
                    <a:pt x="324919" y="668711"/>
                  </a:cubicBezTo>
                  <a:lnTo>
                    <a:pt x="325338" y="636136"/>
                  </a:lnTo>
                  <a:lnTo>
                    <a:pt x="739428" y="636136"/>
                  </a:lnTo>
                  <a:cubicBezTo>
                    <a:pt x="882741" y="636136"/>
                    <a:pt x="999289" y="527798"/>
                    <a:pt x="999289" y="394601"/>
                  </a:cubicBezTo>
                  <a:lnTo>
                    <a:pt x="999289" y="241572"/>
                  </a:lnTo>
                  <a:cubicBezTo>
                    <a:pt x="999289" y="108375"/>
                    <a:pt x="882741" y="37"/>
                    <a:pt x="739428" y="37"/>
                  </a:cubicBezTo>
                  <a:lnTo>
                    <a:pt x="378107" y="37"/>
                  </a:lnTo>
                  <a:cubicBezTo>
                    <a:pt x="358028" y="37"/>
                    <a:pt x="337740" y="228"/>
                    <a:pt x="317775" y="4647"/>
                  </a:cubicBezTo>
                  <a:cubicBezTo>
                    <a:pt x="200294" y="30727"/>
                    <a:pt x="118684" y="129349"/>
                    <a:pt x="118684" y="241572"/>
                  </a:cubicBezTo>
                  <a:lnTo>
                    <a:pt x="118684" y="330402"/>
                  </a:lnTo>
                  <a:cubicBezTo>
                    <a:pt x="118684" y="350729"/>
                    <a:pt x="133543" y="367302"/>
                    <a:pt x="151850" y="367302"/>
                  </a:cubicBezTo>
                  <a:lnTo>
                    <a:pt x="292096" y="367302"/>
                  </a:lnTo>
                  <a:cubicBezTo>
                    <a:pt x="310422" y="367302"/>
                    <a:pt x="325300" y="350729"/>
                    <a:pt x="325300" y="330402"/>
                  </a:cubicBezTo>
                  <a:lnTo>
                    <a:pt x="325300" y="273062"/>
                  </a:lnTo>
                  <a:cubicBezTo>
                    <a:pt x="325300" y="226713"/>
                    <a:pt x="366600" y="188994"/>
                    <a:pt x="417369" y="188994"/>
                  </a:cubicBezTo>
                  <a:lnTo>
                    <a:pt x="700680" y="188994"/>
                  </a:lnTo>
                  <a:cubicBezTo>
                    <a:pt x="751467" y="188994"/>
                    <a:pt x="792768" y="226713"/>
                    <a:pt x="792768" y="273062"/>
                  </a:cubicBezTo>
                  <a:lnTo>
                    <a:pt x="792768" y="363892"/>
                  </a:lnTo>
                  <a:cubicBezTo>
                    <a:pt x="792768" y="410203"/>
                    <a:pt x="751467" y="447884"/>
                    <a:pt x="700680" y="447884"/>
                  </a:cubicBezTo>
                  <a:lnTo>
                    <a:pt x="250" y="447884"/>
                  </a:lnTo>
                  <a:lnTo>
                    <a:pt x="250" y="636136"/>
                  </a:lnTo>
                  <a:lnTo>
                    <a:pt x="118188" y="636136"/>
                  </a:lnTo>
                  <a:lnTo>
                    <a:pt x="118188" y="668673"/>
                  </a:lnTo>
                  <a:cubicBezTo>
                    <a:pt x="118188" y="872527"/>
                    <a:pt x="298859" y="1037157"/>
                    <a:pt x="519800" y="1037157"/>
                  </a:cubicBezTo>
                  <a:lnTo>
                    <a:pt x="1117894" y="1037157"/>
                  </a:lnTo>
                  <a:lnTo>
                    <a:pt x="1117894" y="848200"/>
                  </a:lnTo>
                  <a:lnTo>
                    <a:pt x="519115" y="848219"/>
                  </a:lnTo>
                  <a:close/>
                </a:path>
              </a:pathLst>
            </a:custGeom>
            <a:solidFill>
              <a:srgbClr val="96CD32"/>
            </a:solidFill>
            <a:ln w="19050" cap="flat">
              <a:noFill/>
              <a:prstDash val="solid"/>
              <a:round/>
            </a:ln>
          </p:spPr>
          <p:txBody>
            <a:bodyPr rtlCol="0" anchor="ctr"/>
            <a:lstStyle/>
            <a:p>
              <a:endParaRPr lang="fr-FR"/>
            </a:p>
          </p:txBody>
        </p:sp>
        <p:sp>
          <p:nvSpPr>
            <p:cNvPr id="13" name="Forme libre : forme 12">
              <a:extLst>
                <a:ext uri="{FF2B5EF4-FFF2-40B4-BE49-F238E27FC236}">
                  <a16:creationId xmlns:a16="http://schemas.microsoft.com/office/drawing/2014/main" id="{D7E896CC-AAEE-4D27-B259-9BDDE17707D4}"/>
                </a:ext>
              </a:extLst>
            </p:cNvPr>
            <p:cNvSpPr/>
            <p:nvPr/>
          </p:nvSpPr>
          <p:spPr>
            <a:xfrm>
              <a:off x="3231832" y="7185063"/>
              <a:ext cx="5132298" cy="1037139"/>
            </a:xfrm>
            <a:custGeom>
              <a:avLst/>
              <a:gdLst>
                <a:gd name="connsiteX0" fmla="*/ 4143956 w 5132298"/>
                <a:gd name="connsiteY0" fmla="*/ 78849 h 1037139"/>
                <a:gd name="connsiteX1" fmla="*/ 4143651 w 5132298"/>
                <a:gd name="connsiteY1" fmla="*/ 36939 h 1037139"/>
                <a:gd name="connsiteX2" fmla="*/ 4110447 w 5132298"/>
                <a:gd name="connsiteY2" fmla="*/ 78 h 1037139"/>
                <a:gd name="connsiteX3" fmla="*/ 3970639 w 5132298"/>
                <a:gd name="connsiteY3" fmla="*/ 78 h 1037139"/>
                <a:gd name="connsiteX4" fmla="*/ 3937435 w 5132298"/>
                <a:gd name="connsiteY4" fmla="*/ 36939 h 1037139"/>
                <a:gd name="connsiteX5" fmla="*/ 3937435 w 5132298"/>
                <a:gd name="connsiteY5" fmla="*/ 78849 h 1037139"/>
                <a:gd name="connsiteX6" fmla="*/ 3937454 w 5132298"/>
                <a:gd name="connsiteY6" fmla="*/ 78849 h 1037139"/>
                <a:gd name="connsiteX7" fmla="*/ 3937759 w 5132298"/>
                <a:gd name="connsiteY7" fmla="*/ 152249 h 1037139"/>
                <a:gd name="connsiteX8" fmla="*/ 3970963 w 5132298"/>
                <a:gd name="connsiteY8" fmla="*/ 189111 h 1037139"/>
                <a:gd name="connsiteX9" fmla="*/ 4110771 w 5132298"/>
                <a:gd name="connsiteY9" fmla="*/ 189111 h 1037139"/>
                <a:gd name="connsiteX10" fmla="*/ 4143975 w 5132298"/>
                <a:gd name="connsiteY10" fmla="*/ 152249 h 1037139"/>
                <a:gd name="connsiteX11" fmla="*/ 4143975 w 5132298"/>
                <a:gd name="connsiteY11" fmla="*/ 78849 h 1037139"/>
                <a:gd name="connsiteX12" fmla="*/ 4143956 w 5132298"/>
                <a:gd name="connsiteY12" fmla="*/ 78849 h 1037139"/>
                <a:gd name="connsiteX13" fmla="*/ 4143956 w 5132298"/>
                <a:gd name="connsiteY13" fmla="*/ 653397 h 1037139"/>
                <a:gd name="connsiteX14" fmla="*/ 4143651 w 5132298"/>
                <a:gd name="connsiteY14" fmla="*/ 306706 h 1037139"/>
                <a:gd name="connsiteX15" fmla="*/ 4110447 w 5132298"/>
                <a:gd name="connsiteY15" fmla="*/ 269845 h 1037139"/>
                <a:gd name="connsiteX16" fmla="*/ 3970639 w 5132298"/>
                <a:gd name="connsiteY16" fmla="*/ 269845 h 1037139"/>
                <a:gd name="connsiteX17" fmla="*/ 3937435 w 5132298"/>
                <a:gd name="connsiteY17" fmla="*/ 306706 h 1037139"/>
                <a:gd name="connsiteX18" fmla="*/ 3937435 w 5132298"/>
                <a:gd name="connsiteY18" fmla="*/ 653397 h 1037139"/>
                <a:gd name="connsiteX19" fmla="*/ 3937454 w 5132298"/>
                <a:gd name="connsiteY19" fmla="*/ 653397 h 1037139"/>
                <a:gd name="connsiteX20" fmla="*/ 3937759 w 5132298"/>
                <a:gd name="connsiteY20" fmla="*/ 1000069 h 1037139"/>
                <a:gd name="connsiteX21" fmla="*/ 3970963 w 5132298"/>
                <a:gd name="connsiteY21" fmla="*/ 1036931 h 1037139"/>
                <a:gd name="connsiteX22" fmla="*/ 4110771 w 5132298"/>
                <a:gd name="connsiteY22" fmla="*/ 1036931 h 1037139"/>
                <a:gd name="connsiteX23" fmla="*/ 4143975 w 5132298"/>
                <a:gd name="connsiteY23" fmla="*/ 1000069 h 1037139"/>
                <a:gd name="connsiteX24" fmla="*/ 4143975 w 5132298"/>
                <a:gd name="connsiteY24" fmla="*/ 653397 h 1037139"/>
                <a:gd name="connsiteX25" fmla="*/ 4143956 w 5132298"/>
                <a:gd name="connsiteY25" fmla="*/ 653397 h 1037139"/>
                <a:gd name="connsiteX26" fmla="*/ 3441430 w 5132298"/>
                <a:gd name="connsiteY26" fmla="*/ 78 h 1037139"/>
                <a:gd name="connsiteX27" fmla="*/ 2991355 w 5132298"/>
                <a:gd name="connsiteY27" fmla="*/ 78 h 1037139"/>
                <a:gd name="connsiteX28" fmla="*/ 2958131 w 5132298"/>
                <a:gd name="connsiteY28" fmla="*/ 37035 h 1037139"/>
                <a:gd name="connsiteX29" fmla="*/ 2958131 w 5132298"/>
                <a:gd name="connsiteY29" fmla="*/ 646958 h 1037139"/>
                <a:gd name="connsiteX30" fmla="*/ 2991297 w 5132298"/>
                <a:gd name="connsiteY30" fmla="*/ 683858 h 1037139"/>
                <a:gd name="connsiteX31" fmla="*/ 3131391 w 5132298"/>
                <a:gd name="connsiteY31" fmla="*/ 683858 h 1037139"/>
                <a:gd name="connsiteX32" fmla="*/ 3164595 w 5132298"/>
                <a:gd name="connsiteY32" fmla="*/ 646958 h 1037139"/>
                <a:gd name="connsiteX33" fmla="*/ 3164786 w 5132298"/>
                <a:gd name="connsiteY33" fmla="*/ 189015 h 1037139"/>
                <a:gd name="connsiteX34" fmla="*/ 3418284 w 5132298"/>
                <a:gd name="connsiteY34" fmla="*/ 189111 h 1037139"/>
                <a:gd name="connsiteX35" fmla="*/ 3612499 w 5132298"/>
                <a:gd name="connsiteY35" fmla="*/ 369762 h 1037139"/>
                <a:gd name="connsiteX36" fmla="*/ 3612499 w 5132298"/>
                <a:gd name="connsiteY36" fmla="*/ 702794 h 1037139"/>
                <a:gd name="connsiteX37" fmla="*/ 3418284 w 5132298"/>
                <a:gd name="connsiteY37" fmla="*/ 847822 h 1037139"/>
                <a:gd name="connsiteX38" fmla="*/ 2958131 w 5132298"/>
                <a:gd name="connsiteY38" fmla="*/ 848298 h 1037139"/>
                <a:gd name="connsiteX39" fmla="*/ 2958131 w 5132298"/>
                <a:gd name="connsiteY39" fmla="*/ 1037217 h 1037139"/>
                <a:gd name="connsiteX40" fmla="*/ 3418284 w 5132298"/>
                <a:gd name="connsiteY40" fmla="*/ 1036931 h 1037139"/>
                <a:gd name="connsiteX41" fmla="*/ 3818982 w 5132298"/>
                <a:gd name="connsiteY41" fmla="*/ 702794 h 1037139"/>
                <a:gd name="connsiteX42" fmla="*/ 3818982 w 5132298"/>
                <a:gd name="connsiteY42" fmla="*/ 367590 h 1037139"/>
                <a:gd name="connsiteX43" fmla="*/ 3441430 w 5132298"/>
                <a:gd name="connsiteY43" fmla="*/ 78 h 1037139"/>
                <a:gd name="connsiteX44" fmla="*/ 5132651 w 5132298"/>
                <a:gd name="connsiteY44" fmla="*/ 679820 h 1037139"/>
                <a:gd name="connsiteX45" fmla="*/ 5131660 w 5132298"/>
                <a:gd name="connsiteY45" fmla="*/ 650425 h 1037139"/>
                <a:gd name="connsiteX46" fmla="*/ 4877591 w 5132298"/>
                <a:gd name="connsiteY46" fmla="*/ 447943 h 1037139"/>
                <a:gd name="connsiteX47" fmla="*/ 4567171 w 5132298"/>
                <a:gd name="connsiteY47" fmla="*/ 447943 h 1037139"/>
                <a:gd name="connsiteX48" fmla="*/ 4559208 w 5132298"/>
                <a:gd name="connsiteY48" fmla="*/ 447924 h 1037139"/>
                <a:gd name="connsiteX49" fmla="*/ 4469063 w 5132298"/>
                <a:gd name="connsiteY49" fmla="*/ 349759 h 1037139"/>
                <a:gd name="connsiteX50" fmla="*/ 4469368 w 5132298"/>
                <a:gd name="connsiteY50" fmla="*/ 279312 h 1037139"/>
                <a:gd name="connsiteX51" fmla="*/ 4567533 w 5132298"/>
                <a:gd name="connsiteY51" fmla="*/ 189187 h 1037139"/>
                <a:gd name="connsiteX52" fmla="*/ 4690043 w 5132298"/>
                <a:gd name="connsiteY52" fmla="*/ 189187 h 1037139"/>
                <a:gd name="connsiteX53" fmla="*/ 4691243 w 5132298"/>
                <a:gd name="connsiteY53" fmla="*/ 189225 h 1037139"/>
                <a:gd name="connsiteX54" fmla="*/ 5000825 w 5132298"/>
                <a:gd name="connsiteY54" fmla="*/ 189225 h 1037139"/>
                <a:gd name="connsiteX55" fmla="*/ 5035706 w 5132298"/>
                <a:gd name="connsiteY55" fmla="*/ 166270 h 1037139"/>
                <a:gd name="connsiteX56" fmla="*/ 5037687 w 5132298"/>
                <a:gd name="connsiteY56" fmla="*/ 156021 h 1037139"/>
                <a:gd name="connsiteX57" fmla="*/ 5037687 w 5132298"/>
                <a:gd name="connsiteY57" fmla="*/ 33282 h 1037139"/>
                <a:gd name="connsiteX58" fmla="*/ 5000825 w 5132298"/>
                <a:gd name="connsiteY58" fmla="*/ 116 h 1037139"/>
                <a:gd name="connsiteX59" fmla="*/ 4517869 w 5132298"/>
                <a:gd name="connsiteY59" fmla="*/ 173 h 1037139"/>
                <a:gd name="connsiteX60" fmla="*/ 4262409 w 5132298"/>
                <a:gd name="connsiteY60" fmla="*/ 235555 h 1037139"/>
                <a:gd name="connsiteX61" fmla="*/ 4262428 w 5132298"/>
                <a:gd name="connsiteY61" fmla="*/ 382392 h 1037139"/>
                <a:gd name="connsiteX62" fmla="*/ 4497886 w 5132298"/>
                <a:gd name="connsiteY62" fmla="*/ 636214 h 1037139"/>
                <a:gd name="connsiteX63" fmla="*/ 4836309 w 5132298"/>
                <a:gd name="connsiteY63" fmla="*/ 636214 h 1037139"/>
                <a:gd name="connsiteX64" fmla="*/ 4925977 w 5132298"/>
                <a:gd name="connsiteY64" fmla="*/ 734398 h 1037139"/>
                <a:gd name="connsiteX65" fmla="*/ 4925977 w 5132298"/>
                <a:gd name="connsiteY65" fmla="*/ 757944 h 1037139"/>
                <a:gd name="connsiteX66" fmla="*/ 4828289 w 5132298"/>
                <a:gd name="connsiteY66" fmla="*/ 848050 h 1037139"/>
                <a:gd name="connsiteX67" fmla="*/ 4299290 w 5132298"/>
                <a:gd name="connsiteY67" fmla="*/ 848050 h 1037139"/>
                <a:gd name="connsiteX68" fmla="*/ 4264447 w 5132298"/>
                <a:gd name="connsiteY68" fmla="*/ 870872 h 1037139"/>
                <a:gd name="connsiteX69" fmla="*/ 4262390 w 5132298"/>
                <a:gd name="connsiteY69" fmla="*/ 881216 h 1037139"/>
                <a:gd name="connsiteX70" fmla="*/ 4262390 w 5132298"/>
                <a:gd name="connsiteY70" fmla="*/ 1003955 h 1037139"/>
                <a:gd name="connsiteX71" fmla="*/ 4299290 w 5132298"/>
                <a:gd name="connsiteY71" fmla="*/ 1037160 h 1037139"/>
                <a:gd name="connsiteX72" fmla="*/ 4732296 w 5132298"/>
                <a:gd name="connsiteY72" fmla="*/ 1037160 h 1037139"/>
                <a:gd name="connsiteX73" fmla="*/ 4879172 w 5132298"/>
                <a:gd name="connsiteY73" fmla="*/ 1037083 h 1037139"/>
                <a:gd name="connsiteX74" fmla="*/ 5132651 w 5132298"/>
                <a:gd name="connsiteY74" fmla="*/ 801587 h 1037139"/>
                <a:gd name="connsiteX75" fmla="*/ 5132651 w 5132298"/>
                <a:gd name="connsiteY75" fmla="*/ 679820 h 1037139"/>
                <a:gd name="connsiteX76" fmla="*/ 280863 w 5132298"/>
                <a:gd name="connsiteY76" fmla="*/ 189111 h 1037139"/>
                <a:gd name="connsiteX77" fmla="*/ 825046 w 5132298"/>
                <a:gd name="connsiteY77" fmla="*/ 189111 h 1037139"/>
                <a:gd name="connsiteX78" fmla="*/ 861203 w 5132298"/>
                <a:gd name="connsiteY78" fmla="*/ 156573 h 1037139"/>
                <a:gd name="connsiteX79" fmla="*/ 861203 w 5132298"/>
                <a:gd name="connsiteY79" fmla="*/ 32729 h 1037139"/>
                <a:gd name="connsiteX80" fmla="*/ 825046 w 5132298"/>
                <a:gd name="connsiteY80" fmla="*/ 78 h 1037139"/>
                <a:gd name="connsiteX81" fmla="*/ 277073 w 5132298"/>
                <a:gd name="connsiteY81" fmla="*/ 78 h 1037139"/>
                <a:gd name="connsiteX82" fmla="*/ 352 w 5132298"/>
                <a:gd name="connsiteY82" fmla="*/ 255005 h 1037139"/>
                <a:gd name="connsiteX83" fmla="*/ 352 w 5132298"/>
                <a:gd name="connsiteY83" fmla="*/ 782309 h 1037139"/>
                <a:gd name="connsiteX84" fmla="*/ 277073 w 5132298"/>
                <a:gd name="connsiteY84" fmla="*/ 1037217 h 1037139"/>
                <a:gd name="connsiteX85" fmla="*/ 825046 w 5132298"/>
                <a:gd name="connsiteY85" fmla="*/ 1037217 h 1037139"/>
                <a:gd name="connsiteX86" fmla="*/ 861203 w 5132298"/>
                <a:gd name="connsiteY86" fmla="*/ 1004660 h 1037139"/>
                <a:gd name="connsiteX87" fmla="*/ 861203 w 5132298"/>
                <a:gd name="connsiteY87" fmla="*/ 880816 h 1037139"/>
                <a:gd name="connsiteX88" fmla="*/ 825046 w 5132298"/>
                <a:gd name="connsiteY88" fmla="*/ 848298 h 1037139"/>
                <a:gd name="connsiteX89" fmla="*/ 280863 w 5132298"/>
                <a:gd name="connsiteY89" fmla="*/ 848298 h 1037139"/>
                <a:gd name="connsiteX90" fmla="*/ 207006 w 5132298"/>
                <a:gd name="connsiteY90" fmla="*/ 779051 h 1037139"/>
                <a:gd name="connsiteX91" fmla="*/ 207006 w 5132298"/>
                <a:gd name="connsiteY91" fmla="*/ 634347 h 1037139"/>
                <a:gd name="connsiteX92" fmla="*/ 532457 w 5132298"/>
                <a:gd name="connsiteY92" fmla="*/ 634347 h 1037139"/>
                <a:gd name="connsiteX93" fmla="*/ 568595 w 5132298"/>
                <a:gd name="connsiteY93" fmla="*/ 601772 h 1037139"/>
                <a:gd name="connsiteX94" fmla="*/ 568595 w 5132298"/>
                <a:gd name="connsiteY94" fmla="*/ 480557 h 1037139"/>
                <a:gd name="connsiteX95" fmla="*/ 532457 w 5132298"/>
                <a:gd name="connsiteY95" fmla="*/ 447943 h 1037139"/>
                <a:gd name="connsiteX96" fmla="*/ 207006 w 5132298"/>
                <a:gd name="connsiteY96" fmla="*/ 447943 h 1037139"/>
                <a:gd name="connsiteX97" fmla="*/ 207006 w 5132298"/>
                <a:gd name="connsiteY97" fmla="*/ 258395 h 1037139"/>
                <a:gd name="connsiteX98" fmla="*/ 280863 w 5132298"/>
                <a:gd name="connsiteY98" fmla="*/ 189111 h 1037139"/>
                <a:gd name="connsiteX99" fmla="*/ 1186405 w 5132298"/>
                <a:gd name="connsiteY99" fmla="*/ 189130 h 1037139"/>
                <a:gd name="connsiteX100" fmla="*/ 1186405 w 5132298"/>
                <a:gd name="connsiteY100" fmla="*/ 1000336 h 1037139"/>
                <a:gd name="connsiteX101" fmla="*/ 1153144 w 5132298"/>
                <a:gd name="connsiteY101" fmla="*/ 1037198 h 1037139"/>
                <a:gd name="connsiteX102" fmla="*/ 1012879 w 5132298"/>
                <a:gd name="connsiteY102" fmla="*/ 1037198 h 1037139"/>
                <a:gd name="connsiteX103" fmla="*/ 979656 w 5132298"/>
                <a:gd name="connsiteY103" fmla="*/ 1000336 h 1037139"/>
                <a:gd name="connsiteX104" fmla="*/ 979656 w 5132298"/>
                <a:gd name="connsiteY104" fmla="*/ 37035 h 1037139"/>
                <a:gd name="connsiteX105" fmla="*/ 1012879 w 5132298"/>
                <a:gd name="connsiteY105" fmla="*/ 116 h 1037139"/>
                <a:gd name="connsiteX106" fmla="*/ 1439846 w 5132298"/>
                <a:gd name="connsiteY106" fmla="*/ 116 h 1037139"/>
                <a:gd name="connsiteX107" fmla="*/ 1840506 w 5132298"/>
                <a:gd name="connsiteY107" fmla="*/ 369838 h 1037139"/>
                <a:gd name="connsiteX108" fmla="*/ 1840506 w 5132298"/>
                <a:gd name="connsiteY108" fmla="*/ 1004032 h 1037139"/>
                <a:gd name="connsiteX109" fmla="*/ 1803625 w 5132298"/>
                <a:gd name="connsiteY109" fmla="*/ 1037198 h 1037139"/>
                <a:gd name="connsiteX110" fmla="*/ 1670885 w 5132298"/>
                <a:gd name="connsiteY110" fmla="*/ 1037198 h 1037139"/>
                <a:gd name="connsiteX111" fmla="*/ 1634023 w 5132298"/>
                <a:gd name="connsiteY111" fmla="*/ 1004032 h 1037139"/>
                <a:gd name="connsiteX112" fmla="*/ 1634023 w 5132298"/>
                <a:gd name="connsiteY112" fmla="*/ 369838 h 1037139"/>
                <a:gd name="connsiteX113" fmla="*/ 1439846 w 5132298"/>
                <a:gd name="connsiteY113" fmla="*/ 189225 h 1037139"/>
                <a:gd name="connsiteX114" fmla="*/ 1186405 w 5132298"/>
                <a:gd name="connsiteY114" fmla="*/ 189130 h 103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132298" h="1037139">
                  <a:moveTo>
                    <a:pt x="4143956" y="78849"/>
                  </a:moveTo>
                  <a:lnTo>
                    <a:pt x="4143651" y="36939"/>
                  </a:lnTo>
                  <a:cubicBezTo>
                    <a:pt x="4143651" y="16613"/>
                    <a:pt x="4128754" y="78"/>
                    <a:pt x="4110447" y="78"/>
                  </a:cubicBezTo>
                  <a:lnTo>
                    <a:pt x="3970639" y="78"/>
                  </a:lnTo>
                  <a:cubicBezTo>
                    <a:pt x="3952351" y="78"/>
                    <a:pt x="3937435" y="16613"/>
                    <a:pt x="3937435" y="36939"/>
                  </a:cubicBezTo>
                  <a:lnTo>
                    <a:pt x="3937435" y="78849"/>
                  </a:lnTo>
                  <a:lnTo>
                    <a:pt x="3937454" y="78849"/>
                  </a:lnTo>
                  <a:lnTo>
                    <a:pt x="3937759" y="152249"/>
                  </a:lnTo>
                  <a:cubicBezTo>
                    <a:pt x="3937759" y="172575"/>
                    <a:pt x="3952637" y="189111"/>
                    <a:pt x="3970963" y="189111"/>
                  </a:cubicBezTo>
                  <a:lnTo>
                    <a:pt x="4110771" y="189111"/>
                  </a:lnTo>
                  <a:cubicBezTo>
                    <a:pt x="4129059" y="189111"/>
                    <a:pt x="4143975" y="172575"/>
                    <a:pt x="4143975" y="152249"/>
                  </a:cubicBezTo>
                  <a:lnTo>
                    <a:pt x="4143975" y="78849"/>
                  </a:lnTo>
                  <a:lnTo>
                    <a:pt x="4143956" y="78849"/>
                  </a:lnTo>
                  <a:close/>
                  <a:moveTo>
                    <a:pt x="4143956" y="653397"/>
                  </a:moveTo>
                  <a:lnTo>
                    <a:pt x="4143651" y="306706"/>
                  </a:lnTo>
                  <a:cubicBezTo>
                    <a:pt x="4143651" y="286361"/>
                    <a:pt x="4128754" y="269845"/>
                    <a:pt x="4110447" y="269845"/>
                  </a:cubicBezTo>
                  <a:lnTo>
                    <a:pt x="3970639" y="269845"/>
                  </a:lnTo>
                  <a:cubicBezTo>
                    <a:pt x="3952351" y="269845"/>
                    <a:pt x="3937435" y="286361"/>
                    <a:pt x="3937435" y="306706"/>
                  </a:cubicBezTo>
                  <a:lnTo>
                    <a:pt x="3937435" y="653397"/>
                  </a:lnTo>
                  <a:lnTo>
                    <a:pt x="3937454" y="653397"/>
                  </a:lnTo>
                  <a:lnTo>
                    <a:pt x="3937759" y="1000069"/>
                  </a:lnTo>
                  <a:cubicBezTo>
                    <a:pt x="3937759" y="1020396"/>
                    <a:pt x="3952637" y="1036931"/>
                    <a:pt x="3970963" y="1036931"/>
                  </a:cubicBezTo>
                  <a:lnTo>
                    <a:pt x="4110771" y="1036931"/>
                  </a:lnTo>
                  <a:cubicBezTo>
                    <a:pt x="4129059" y="1036931"/>
                    <a:pt x="4143975" y="1020396"/>
                    <a:pt x="4143975" y="1000069"/>
                  </a:cubicBezTo>
                  <a:lnTo>
                    <a:pt x="4143975" y="653397"/>
                  </a:lnTo>
                  <a:lnTo>
                    <a:pt x="4143956" y="653397"/>
                  </a:lnTo>
                  <a:close/>
                  <a:moveTo>
                    <a:pt x="3441430" y="78"/>
                  </a:moveTo>
                  <a:lnTo>
                    <a:pt x="2991355" y="78"/>
                  </a:lnTo>
                  <a:cubicBezTo>
                    <a:pt x="2973029" y="78"/>
                    <a:pt x="2958131" y="16670"/>
                    <a:pt x="2958131" y="37035"/>
                  </a:cubicBezTo>
                  <a:lnTo>
                    <a:pt x="2958131" y="646958"/>
                  </a:lnTo>
                  <a:cubicBezTo>
                    <a:pt x="2958131" y="667323"/>
                    <a:pt x="2973009" y="683858"/>
                    <a:pt x="2991297" y="683858"/>
                  </a:cubicBezTo>
                  <a:lnTo>
                    <a:pt x="3131391" y="683858"/>
                  </a:lnTo>
                  <a:cubicBezTo>
                    <a:pt x="3149717" y="683858"/>
                    <a:pt x="3164595" y="667323"/>
                    <a:pt x="3164595" y="646958"/>
                  </a:cubicBezTo>
                  <a:lnTo>
                    <a:pt x="3164786" y="189015"/>
                  </a:lnTo>
                  <a:lnTo>
                    <a:pt x="3418284" y="189111"/>
                  </a:lnTo>
                  <a:cubicBezTo>
                    <a:pt x="3525383" y="189111"/>
                    <a:pt x="3612499" y="270149"/>
                    <a:pt x="3612499" y="369762"/>
                  </a:cubicBezTo>
                  <a:lnTo>
                    <a:pt x="3612499" y="702794"/>
                  </a:lnTo>
                  <a:cubicBezTo>
                    <a:pt x="3612499" y="802368"/>
                    <a:pt x="3525383" y="847822"/>
                    <a:pt x="3418284" y="847822"/>
                  </a:cubicBezTo>
                  <a:lnTo>
                    <a:pt x="2958131" y="848298"/>
                  </a:lnTo>
                  <a:lnTo>
                    <a:pt x="2958131" y="1037217"/>
                  </a:lnTo>
                  <a:lnTo>
                    <a:pt x="3418284" y="1036931"/>
                  </a:lnTo>
                  <a:cubicBezTo>
                    <a:pt x="3639226" y="1036931"/>
                    <a:pt x="3818982" y="906648"/>
                    <a:pt x="3818982" y="702794"/>
                  </a:cubicBezTo>
                  <a:lnTo>
                    <a:pt x="3818982" y="367590"/>
                  </a:lnTo>
                  <a:cubicBezTo>
                    <a:pt x="3818982" y="171985"/>
                    <a:pt x="3654866" y="78"/>
                    <a:pt x="3441430" y="78"/>
                  </a:cubicBezTo>
                  <a:moveTo>
                    <a:pt x="5132651" y="679820"/>
                  </a:moveTo>
                  <a:cubicBezTo>
                    <a:pt x="5132651" y="670447"/>
                    <a:pt x="5132575" y="660846"/>
                    <a:pt x="5131660" y="650425"/>
                  </a:cubicBezTo>
                  <a:cubicBezTo>
                    <a:pt x="5121469" y="535230"/>
                    <a:pt x="5002749" y="447943"/>
                    <a:pt x="4877591" y="447943"/>
                  </a:cubicBezTo>
                  <a:lnTo>
                    <a:pt x="4567171" y="447943"/>
                  </a:lnTo>
                  <a:lnTo>
                    <a:pt x="4559208" y="447924"/>
                  </a:lnTo>
                  <a:cubicBezTo>
                    <a:pt x="4509487" y="447924"/>
                    <a:pt x="4469063" y="403861"/>
                    <a:pt x="4469063" y="349759"/>
                  </a:cubicBezTo>
                  <a:lnTo>
                    <a:pt x="4469368" y="279312"/>
                  </a:lnTo>
                  <a:cubicBezTo>
                    <a:pt x="4469368" y="229630"/>
                    <a:pt x="4513412" y="189187"/>
                    <a:pt x="4567533" y="189187"/>
                  </a:cubicBezTo>
                  <a:lnTo>
                    <a:pt x="4690043" y="189187"/>
                  </a:lnTo>
                  <a:lnTo>
                    <a:pt x="4691243" y="189225"/>
                  </a:lnTo>
                  <a:lnTo>
                    <a:pt x="5000825" y="189225"/>
                  </a:lnTo>
                  <a:cubicBezTo>
                    <a:pt x="5016656" y="189225"/>
                    <a:pt x="5030676" y="180005"/>
                    <a:pt x="5035706" y="166270"/>
                  </a:cubicBezTo>
                  <a:cubicBezTo>
                    <a:pt x="5037039" y="162612"/>
                    <a:pt x="5037687" y="159259"/>
                    <a:pt x="5037687" y="156021"/>
                  </a:cubicBezTo>
                  <a:lnTo>
                    <a:pt x="5037687" y="33282"/>
                  </a:lnTo>
                  <a:cubicBezTo>
                    <a:pt x="5037687" y="14956"/>
                    <a:pt x="5021151" y="116"/>
                    <a:pt x="5000825" y="116"/>
                  </a:cubicBezTo>
                  <a:lnTo>
                    <a:pt x="4517869" y="173"/>
                  </a:lnTo>
                  <a:cubicBezTo>
                    <a:pt x="4377928" y="173"/>
                    <a:pt x="4262409" y="105805"/>
                    <a:pt x="4262409" y="235555"/>
                  </a:cubicBezTo>
                  <a:lnTo>
                    <a:pt x="4262428" y="382392"/>
                  </a:lnTo>
                  <a:cubicBezTo>
                    <a:pt x="4262428" y="522352"/>
                    <a:pt x="4368041" y="636214"/>
                    <a:pt x="4497886" y="636214"/>
                  </a:cubicBezTo>
                  <a:lnTo>
                    <a:pt x="4836309" y="636214"/>
                  </a:lnTo>
                  <a:cubicBezTo>
                    <a:pt x="4885992" y="636214"/>
                    <a:pt x="4925977" y="680258"/>
                    <a:pt x="4925977" y="734398"/>
                  </a:cubicBezTo>
                  <a:lnTo>
                    <a:pt x="4925977" y="757944"/>
                  </a:lnTo>
                  <a:cubicBezTo>
                    <a:pt x="4925977" y="807645"/>
                    <a:pt x="4882410" y="848050"/>
                    <a:pt x="4828289" y="848050"/>
                  </a:cubicBezTo>
                  <a:lnTo>
                    <a:pt x="4299290" y="848050"/>
                  </a:lnTo>
                  <a:cubicBezTo>
                    <a:pt x="4283440" y="848050"/>
                    <a:pt x="4269419" y="857213"/>
                    <a:pt x="4264447" y="870872"/>
                  </a:cubicBezTo>
                  <a:cubicBezTo>
                    <a:pt x="4263057" y="874606"/>
                    <a:pt x="4262390" y="877997"/>
                    <a:pt x="4262390" y="881216"/>
                  </a:cubicBezTo>
                  <a:lnTo>
                    <a:pt x="4262390" y="1003955"/>
                  </a:lnTo>
                  <a:cubicBezTo>
                    <a:pt x="4262390" y="1022262"/>
                    <a:pt x="4278944" y="1037160"/>
                    <a:pt x="4299290" y="1037160"/>
                  </a:cubicBezTo>
                  <a:lnTo>
                    <a:pt x="4732296" y="1037160"/>
                  </a:lnTo>
                  <a:lnTo>
                    <a:pt x="4879172" y="1037083"/>
                  </a:lnTo>
                  <a:cubicBezTo>
                    <a:pt x="5019075" y="1037083"/>
                    <a:pt x="5132651" y="931470"/>
                    <a:pt x="5132651" y="801587"/>
                  </a:cubicBezTo>
                  <a:lnTo>
                    <a:pt x="5132651" y="679820"/>
                  </a:lnTo>
                  <a:close/>
                  <a:moveTo>
                    <a:pt x="280863" y="189111"/>
                  </a:moveTo>
                  <a:lnTo>
                    <a:pt x="825046" y="189111"/>
                  </a:lnTo>
                  <a:cubicBezTo>
                    <a:pt x="844972" y="189111"/>
                    <a:pt x="861203" y="174518"/>
                    <a:pt x="861203" y="156573"/>
                  </a:cubicBezTo>
                  <a:lnTo>
                    <a:pt x="861203" y="32729"/>
                  </a:lnTo>
                  <a:cubicBezTo>
                    <a:pt x="861203" y="14746"/>
                    <a:pt x="845734" y="78"/>
                    <a:pt x="825046" y="78"/>
                  </a:cubicBezTo>
                  <a:lnTo>
                    <a:pt x="277073" y="78"/>
                  </a:lnTo>
                  <a:cubicBezTo>
                    <a:pt x="124501" y="78"/>
                    <a:pt x="352" y="114301"/>
                    <a:pt x="352" y="255005"/>
                  </a:cubicBezTo>
                  <a:lnTo>
                    <a:pt x="352" y="782309"/>
                  </a:lnTo>
                  <a:cubicBezTo>
                    <a:pt x="352" y="922955"/>
                    <a:pt x="124501" y="1037217"/>
                    <a:pt x="277073" y="1037217"/>
                  </a:cubicBezTo>
                  <a:lnTo>
                    <a:pt x="825046" y="1037217"/>
                  </a:lnTo>
                  <a:cubicBezTo>
                    <a:pt x="844972" y="1037217"/>
                    <a:pt x="861203" y="1022605"/>
                    <a:pt x="861203" y="1004660"/>
                  </a:cubicBezTo>
                  <a:lnTo>
                    <a:pt x="861203" y="880816"/>
                  </a:lnTo>
                  <a:cubicBezTo>
                    <a:pt x="861203" y="862871"/>
                    <a:pt x="844972" y="848298"/>
                    <a:pt x="825046" y="848298"/>
                  </a:cubicBezTo>
                  <a:lnTo>
                    <a:pt x="280863" y="848298"/>
                  </a:lnTo>
                  <a:cubicBezTo>
                    <a:pt x="240839" y="848298"/>
                    <a:pt x="207006" y="816580"/>
                    <a:pt x="207006" y="779051"/>
                  </a:cubicBezTo>
                  <a:lnTo>
                    <a:pt x="207006" y="634347"/>
                  </a:lnTo>
                  <a:lnTo>
                    <a:pt x="532457" y="634347"/>
                  </a:lnTo>
                  <a:cubicBezTo>
                    <a:pt x="552383" y="634347"/>
                    <a:pt x="568595" y="619717"/>
                    <a:pt x="568595" y="601772"/>
                  </a:cubicBezTo>
                  <a:lnTo>
                    <a:pt x="568595" y="480557"/>
                  </a:lnTo>
                  <a:cubicBezTo>
                    <a:pt x="568595" y="462573"/>
                    <a:pt x="552383" y="447943"/>
                    <a:pt x="532457" y="447943"/>
                  </a:cubicBezTo>
                  <a:lnTo>
                    <a:pt x="207006" y="447943"/>
                  </a:lnTo>
                  <a:lnTo>
                    <a:pt x="207006" y="258395"/>
                  </a:lnTo>
                  <a:cubicBezTo>
                    <a:pt x="207006" y="220829"/>
                    <a:pt x="240839" y="189111"/>
                    <a:pt x="280863" y="189111"/>
                  </a:cubicBezTo>
                  <a:moveTo>
                    <a:pt x="1186405" y="189130"/>
                  </a:moveTo>
                  <a:lnTo>
                    <a:pt x="1186405" y="1000336"/>
                  </a:lnTo>
                  <a:cubicBezTo>
                    <a:pt x="1186405" y="1020662"/>
                    <a:pt x="1171470" y="1037198"/>
                    <a:pt x="1153144" y="1037198"/>
                  </a:cubicBezTo>
                  <a:lnTo>
                    <a:pt x="1012879" y="1037198"/>
                  </a:lnTo>
                  <a:cubicBezTo>
                    <a:pt x="994553" y="1037198"/>
                    <a:pt x="979656" y="1020662"/>
                    <a:pt x="979656" y="1000336"/>
                  </a:cubicBezTo>
                  <a:lnTo>
                    <a:pt x="979656" y="37035"/>
                  </a:lnTo>
                  <a:cubicBezTo>
                    <a:pt x="979656" y="16670"/>
                    <a:pt x="994553" y="116"/>
                    <a:pt x="1012879" y="116"/>
                  </a:cubicBezTo>
                  <a:lnTo>
                    <a:pt x="1439846" y="116"/>
                  </a:lnTo>
                  <a:cubicBezTo>
                    <a:pt x="1660769" y="116"/>
                    <a:pt x="1840506" y="165946"/>
                    <a:pt x="1840506" y="369838"/>
                  </a:cubicBezTo>
                  <a:lnTo>
                    <a:pt x="1840506" y="1004032"/>
                  </a:lnTo>
                  <a:cubicBezTo>
                    <a:pt x="1840506" y="1022339"/>
                    <a:pt x="1823971" y="1037198"/>
                    <a:pt x="1803625" y="1037198"/>
                  </a:cubicBezTo>
                  <a:lnTo>
                    <a:pt x="1670885" y="1037198"/>
                  </a:lnTo>
                  <a:cubicBezTo>
                    <a:pt x="1650559" y="1037198"/>
                    <a:pt x="1634023" y="1022339"/>
                    <a:pt x="1634023" y="1004032"/>
                  </a:cubicBezTo>
                  <a:lnTo>
                    <a:pt x="1634023" y="369838"/>
                  </a:lnTo>
                  <a:cubicBezTo>
                    <a:pt x="1634023" y="270264"/>
                    <a:pt x="1546926" y="189225"/>
                    <a:pt x="1439846" y="189225"/>
                  </a:cubicBezTo>
                  <a:lnTo>
                    <a:pt x="1186405" y="189130"/>
                  </a:lnTo>
                  <a:close/>
                </a:path>
              </a:pathLst>
            </a:custGeom>
            <a:solidFill>
              <a:schemeClr val="tx2"/>
            </a:solidFill>
            <a:ln w="19050" cap="flat">
              <a:noFill/>
              <a:prstDash val="solid"/>
              <a:round/>
            </a:ln>
          </p:spPr>
          <p:txBody>
            <a:bodyPr rtlCol="0" anchor="ctr"/>
            <a:lstStyle/>
            <a:p>
              <a:endParaRPr lang="fr-FR"/>
            </a:p>
          </p:txBody>
        </p:sp>
      </p:grpSp>
      <p:sp>
        <p:nvSpPr>
          <p:cNvPr id="17" name="Rectangle 16">
            <a:extLst>
              <a:ext uri="{FF2B5EF4-FFF2-40B4-BE49-F238E27FC236}">
                <a16:creationId xmlns:a16="http://schemas.microsoft.com/office/drawing/2014/main" id="{98821EFE-88B0-4E18-9A27-016423FF1972}"/>
              </a:ext>
            </a:extLst>
          </p:cNvPr>
          <p:cNvSpPr/>
          <p:nvPr userDrawn="1"/>
        </p:nvSpPr>
        <p:spPr>
          <a:xfrm>
            <a:off x="4809966" y="-251460"/>
            <a:ext cx="179705" cy="1797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Rectangle 17">
            <a:extLst>
              <a:ext uri="{FF2B5EF4-FFF2-40B4-BE49-F238E27FC236}">
                <a16:creationId xmlns:a16="http://schemas.microsoft.com/office/drawing/2014/main" id="{BFA7A67B-B3C3-4FA0-BD0E-026447A3CBA4}"/>
              </a:ext>
            </a:extLst>
          </p:cNvPr>
          <p:cNvSpPr/>
          <p:nvPr userDrawn="1"/>
        </p:nvSpPr>
        <p:spPr>
          <a:xfrm>
            <a:off x="5052218" y="-251460"/>
            <a:ext cx="179705" cy="1797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a:extLst>
              <a:ext uri="{FF2B5EF4-FFF2-40B4-BE49-F238E27FC236}">
                <a16:creationId xmlns:a16="http://schemas.microsoft.com/office/drawing/2014/main" id="{BDB40B1F-2606-4D95-8B73-9F1473B4EC17}"/>
              </a:ext>
            </a:extLst>
          </p:cNvPr>
          <p:cNvSpPr/>
          <p:nvPr userDrawn="1"/>
        </p:nvSpPr>
        <p:spPr>
          <a:xfrm>
            <a:off x="5500210" y="-251460"/>
            <a:ext cx="179705" cy="1797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Rectangle 19">
            <a:extLst>
              <a:ext uri="{FF2B5EF4-FFF2-40B4-BE49-F238E27FC236}">
                <a16:creationId xmlns:a16="http://schemas.microsoft.com/office/drawing/2014/main" id="{8A2E27E0-7B9F-448A-A05C-14382BAC5EE1}"/>
              </a:ext>
            </a:extLst>
          </p:cNvPr>
          <p:cNvSpPr/>
          <p:nvPr userDrawn="1"/>
        </p:nvSpPr>
        <p:spPr>
          <a:xfrm>
            <a:off x="5991070" y="-251460"/>
            <a:ext cx="179705" cy="179705"/>
          </a:xfrm>
          <a:prstGeom prst="rect">
            <a:avLst/>
          </a:prstGeom>
          <a:solidFill>
            <a:srgbClr val="1D80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Rectangle 20">
            <a:extLst>
              <a:ext uri="{FF2B5EF4-FFF2-40B4-BE49-F238E27FC236}">
                <a16:creationId xmlns:a16="http://schemas.microsoft.com/office/drawing/2014/main" id="{8DAEB5EA-BC67-454F-B72F-9C3D7307DC32}"/>
              </a:ext>
            </a:extLst>
          </p:cNvPr>
          <p:cNvSpPr/>
          <p:nvPr userDrawn="1"/>
        </p:nvSpPr>
        <p:spPr>
          <a:xfrm>
            <a:off x="6233322" y="-251460"/>
            <a:ext cx="179705" cy="17970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21">
            <a:extLst>
              <a:ext uri="{FF2B5EF4-FFF2-40B4-BE49-F238E27FC236}">
                <a16:creationId xmlns:a16="http://schemas.microsoft.com/office/drawing/2014/main" id="{B4D15E66-A588-4A8A-A903-0E9F8031CEA3}"/>
              </a:ext>
            </a:extLst>
          </p:cNvPr>
          <p:cNvSpPr/>
          <p:nvPr userDrawn="1"/>
        </p:nvSpPr>
        <p:spPr>
          <a:xfrm>
            <a:off x="6475574" y="-251460"/>
            <a:ext cx="179705" cy="1797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Rectangle 22">
            <a:extLst>
              <a:ext uri="{FF2B5EF4-FFF2-40B4-BE49-F238E27FC236}">
                <a16:creationId xmlns:a16="http://schemas.microsoft.com/office/drawing/2014/main" id="{0C9A9072-0ACF-4135-8463-BBF0A32BC16E}"/>
              </a:ext>
            </a:extLst>
          </p:cNvPr>
          <p:cNvSpPr/>
          <p:nvPr userDrawn="1"/>
        </p:nvSpPr>
        <p:spPr>
          <a:xfrm>
            <a:off x="6717826" y="-251460"/>
            <a:ext cx="179705" cy="179705"/>
          </a:xfrm>
          <a:prstGeom prst="rect">
            <a:avLst/>
          </a:prstGeom>
          <a:solidFill>
            <a:srgbClr val="C8AF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D06B1BAA-0F64-47E8-916D-4610AB9EA46C}"/>
              </a:ext>
            </a:extLst>
          </p:cNvPr>
          <p:cNvSpPr/>
          <p:nvPr userDrawn="1"/>
        </p:nvSpPr>
        <p:spPr>
          <a:xfrm>
            <a:off x="6960078" y="-251460"/>
            <a:ext cx="179705" cy="17970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9BC28B40-3CEF-4E68-B5B8-262D8FA8D7B3}"/>
              </a:ext>
            </a:extLst>
          </p:cNvPr>
          <p:cNvSpPr/>
          <p:nvPr userDrawn="1"/>
        </p:nvSpPr>
        <p:spPr>
          <a:xfrm>
            <a:off x="7202330" y="-251460"/>
            <a:ext cx="179705" cy="1797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3DD58350-5D15-4D25-9F1D-210DF8763903}"/>
              </a:ext>
            </a:extLst>
          </p:cNvPr>
          <p:cNvSpPr/>
          <p:nvPr userDrawn="1"/>
        </p:nvSpPr>
        <p:spPr>
          <a:xfrm>
            <a:off x="5745640" y="-251460"/>
            <a:ext cx="179705" cy="179705"/>
          </a:xfrm>
          <a:prstGeom prst="rect">
            <a:avLst/>
          </a:prstGeom>
          <a:solidFill>
            <a:srgbClr val="3EA4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332367059"/>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20" r:id="rId3"/>
    <p:sldLayoutId id="2147483725" r:id="rId4"/>
    <p:sldLayoutId id="2147483733" r:id="rId5"/>
    <p:sldLayoutId id="2147483731" r:id="rId6"/>
    <p:sldLayoutId id="2147483732" r:id="rId7"/>
    <p:sldLayoutId id="2147483735" r:id="rId8"/>
    <p:sldLayoutId id="2147483741" r:id="rId9"/>
    <p:sldLayoutId id="2147483773" r:id="rId10"/>
    <p:sldLayoutId id="2147483774" r:id="rId11"/>
    <p:sldLayoutId id="2147483775" r:id="rId12"/>
    <p:sldLayoutId id="2147483776" r:id="rId13"/>
    <p:sldLayoutId id="2147483777" r:id="rId14"/>
    <p:sldLayoutId id="2147483759" r:id="rId15"/>
    <p:sldLayoutId id="2147483778" r:id="rId16"/>
    <p:sldLayoutId id="2147483819" r:id="rId17"/>
    <p:sldLayoutId id="2147483821" r:id="rId18"/>
    <p:sldLayoutId id="2147483824" r:id="rId19"/>
    <p:sldLayoutId id="2147483844" r:id="rId20"/>
  </p:sldLayoutIdLst>
  <p:hf hdr="0"/>
  <p:txStyles>
    <p:titleStyle>
      <a:lvl1pPr algn="l" defTabSz="914377" rtl="0" eaLnBrk="1" latinLnBrk="0" hangingPunct="1">
        <a:lnSpc>
          <a:spcPct val="90000"/>
        </a:lnSpc>
        <a:spcBef>
          <a:spcPct val="0"/>
        </a:spcBef>
        <a:buNone/>
        <a:defRPr sz="3500" b="1" kern="1200">
          <a:solidFill>
            <a:schemeClr val="tx2"/>
          </a:solidFill>
          <a:latin typeface="+mj-lt"/>
          <a:ea typeface="+mj-ea"/>
          <a:cs typeface="+mj-cs"/>
        </a:defRPr>
      </a:lvl1pPr>
    </p:titleStyle>
    <p:body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tx1"/>
          </a:solidFill>
          <a:latin typeface="+mn-lt"/>
          <a:ea typeface="+mn-ea"/>
          <a:cs typeface="+mn-cs"/>
        </a:defRPr>
      </a:lvl1pPr>
      <a:lvl2pPr marL="216000" indent="-216000" algn="l" defTabSz="914377" rtl="0" eaLnBrk="1" latinLnBrk="0" hangingPunct="1">
        <a:lnSpc>
          <a:spcPct val="101000"/>
        </a:lnSpc>
        <a:spcBef>
          <a:spcPts val="0"/>
        </a:spcBef>
        <a:buClr>
          <a:schemeClr val="tx2"/>
        </a:buClr>
        <a:buSzPct val="120000"/>
        <a:buFont typeface="Public Sans" pitchFamily="2" charset="0"/>
        <a:buChar char="—"/>
        <a:defRPr sz="1200" b="1" kern="1200">
          <a:solidFill>
            <a:schemeClr val="tx2"/>
          </a:solidFill>
          <a:latin typeface="Public Sans" pitchFamily="2" charset="0"/>
          <a:ea typeface="+mn-ea"/>
          <a:cs typeface="+mn-cs"/>
        </a:defRPr>
      </a:lvl2pPr>
      <a:lvl3pPr marL="576000" indent="-108000" algn="l" defTabSz="914377" rtl="0" eaLnBrk="1" latinLnBrk="0" hangingPunct="1">
        <a:lnSpc>
          <a:spcPct val="101000"/>
        </a:lnSpc>
        <a:spcBef>
          <a:spcPts val="0"/>
        </a:spcBef>
        <a:buFont typeface="Arial" panose="020B0604020202020204" pitchFamily="34" charset="0"/>
        <a:buChar char="-"/>
        <a:defRPr sz="1200" kern="1200">
          <a:solidFill>
            <a:schemeClr val="tx1"/>
          </a:solidFill>
          <a:latin typeface="Public Sans" pitchFamily="2" charset="0"/>
          <a:ea typeface="+mn-ea"/>
          <a:cs typeface="+mn-cs"/>
        </a:defRPr>
      </a:lvl3pPr>
      <a:lvl4pPr marL="1152000" indent="-216000" algn="l" defTabSz="914377" rtl="0" eaLnBrk="1" latinLnBrk="0" hangingPunct="1">
        <a:lnSpc>
          <a:spcPct val="101000"/>
        </a:lnSpc>
        <a:spcBef>
          <a:spcPts val="0"/>
        </a:spcBef>
        <a:buFont typeface="Arial" panose="020B0604020202020204" pitchFamily="34" charset="0"/>
        <a:buChar char="•"/>
        <a:defRPr sz="1100" kern="1200">
          <a:solidFill>
            <a:schemeClr val="tx1"/>
          </a:solidFill>
          <a:latin typeface="+mn-lt"/>
          <a:ea typeface="+mn-ea"/>
          <a:cs typeface="+mn-cs"/>
        </a:defRPr>
      </a:lvl4pPr>
      <a:lvl5pPr marL="0" indent="0" algn="l" defTabSz="914377" rtl="0" eaLnBrk="1" latinLnBrk="0" hangingPunct="1">
        <a:lnSpc>
          <a:spcPct val="101000"/>
        </a:lnSpc>
        <a:spcBef>
          <a:spcPts val="0"/>
        </a:spcBef>
        <a:buFont typeface="Arial" panose="020B0604020202020204" pitchFamily="34" charset="0"/>
        <a:buNone/>
        <a:defRPr sz="1600" kern="1200">
          <a:solidFill>
            <a:schemeClr val="tx2"/>
          </a:solidFill>
          <a:latin typeface="+mj-lt"/>
          <a:ea typeface="+mn-ea"/>
          <a:cs typeface="+mn-cs"/>
        </a:defRPr>
      </a:lvl5pPr>
      <a:lvl6pPr marL="0" indent="0" algn="l" defTabSz="914377" rtl="0" eaLnBrk="1" latinLnBrk="0" hangingPunct="1">
        <a:lnSpc>
          <a:spcPct val="101000"/>
        </a:lnSpc>
        <a:spcBef>
          <a:spcPts val="0"/>
        </a:spcBef>
        <a:buFont typeface="Arial" panose="020B0604020202020204" pitchFamily="34" charset="0"/>
        <a:buNone/>
        <a:defRPr sz="600" i="1" kern="1200">
          <a:solidFill>
            <a:schemeClr val="tx1"/>
          </a:solidFill>
          <a:latin typeface="Public Sans" pitchFamily="2" charset="0"/>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447" y="453112"/>
            <a:ext cx="6778865" cy="484748"/>
          </a:xfrm>
          <a:prstGeom prst="rect">
            <a:avLst/>
          </a:prstGeom>
        </p:spPr>
        <p:txBody>
          <a:bodyPr vert="horz" wrap="square" lIns="0" tIns="0" rIns="0" bIns="0" rtlCol="0" anchor="t">
            <a:spAutoFit/>
          </a:bodyPr>
          <a:lstStyle/>
          <a:p>
            <a:r>
              <a:rPr lang="fr-FR"/>
              <a:t>Modifiez le style du titre</a:t>
            </a:r>
            <a:endParaRPr lang="en-US"/>
          </a:p>
        </p:txBody>
      </p:sp>
      <p:sp>
        <p:nvSpPr>
          <p:cNvPr id="3" name="Text Placeholder 2"/>
          <p:cNvSpPr>
            <a:spLocks noGrp="1"/>
          </p:cNvSpPr>
          <p:nvPr>
            <p:ph type="body" idx="1"/>
          </p:nvPr>
        </p:nvSpPr>
        <p:spPr>
          <a:xfrm>
            <a:off x="518848" y="2094966"/>
            <a:ext cx="10515600" cy="1066831"/>
          </a:xfrm>
          <a:prstGeom prst="rect">
            <a:avLst/>
          </a:prstGeom>
        </p:spPr>
        <p:txBody>
          <a:bodyPr vert="horz" lIns="0" tIns="0" rIns="0" bIns="0" rtlCol="0">
            <a:spAutoFit/>
          </a:bodyPr>
          <a:lstStyle/>
          <a:p>
            <a:pPr lvl="0"/>
            <a:r>
              <a:rPr lang="fr-FR"/>
              <a:t>Lorem</a:t>
            </a:r>
          </a:p>
          <a:p>
            <a:pPr lvl="1"/>
            <a:r>
              <a:rPr lang="fr-FR"/>
              <a:t>Lorem niveau</a:t>
            </a:r>
          </a:p>
          <a:p>
            <a:pPr lvl="2"/>
            <a:r>
              <a:rPr lang="fr-FR"/>
              <a:t>Lorem niveau</a:t>
            </a:r>
          </a:p>
          <a:p>
            <a:pPr lvl="3"/>
            <a:r>
              <a:rPr lang="fr-FR"/>
              <a:t>Lorem me niveau</a:t>
            </a:r>
          </a:p>
          <a:p>
            <a:pPr lvl="4"/>
            <a:r>
              <a:rPr lang="fr-FR" err="1"/>
              <a:t>Tation</a:t>
            </a:r>
            <a:r>
              <a:rPr lang="fr-FR"/>
              <a:t> </a:t>
            </a:r>
            <a:r>
              <a:rPr lang="fr-FR" err="1"/>
              <a:t>ullamcorper</a:t>
            </a:r>
            <a:endParaRPr lang="en-US"/>
          </a:p>
          <a:p>
            <a:pPr lvl="5"/>
            <a:r>
              <a:rPr lang="en-US"/>
              <a:t>Lorem</a:t>
            </a:r>
            <a:endParaRPr lang="fr-FR"/>
          </a:p>
        </p:txBody>
      </p:sp>
      <p:sp>
        <p:nvSpPr>
          <p:cNvPr id="4" name="Date Placeholder 3"/>
          <p:cNvSpPr>
            <a:spLocks noGrp="1"/>
          </p:cNvSpPr>
          <p:nvPr>
            <p:ph type="dt" sz="half" idx="2"/>
          </p:nvPr>
        </p:nvSpPr>
        <p:spPr>
          <a:xfrm>
            <a:off x="8112125" y="6514469"/>
            <a:ext cx="3067051" cy="154849"/>
          </a:xfrm>
          <a:prstGeom prst="rect">
            <a:avLst/>
          </a:prstGeom>
        </p:spPr>
        <p:txBody>
          <a:bodyPr vert="horz" lIns="0" tIns="0" rIns="0" bIns="0" rtlCol="0" anchor="ctr"/>
          <a:lstStyle>
            <a:lvl1pPr algn="r">
              <a:defRPr sz="750">
                <a:solidFill>
                  <a:schemeClr val="tx2"/>
                </a:solidFill>
                <a:latin typeface="Enedis Light" pitchFamily="50" charset="0"/>
              </a:defRPr>
            </a:lvl1pPr>
          </a:lstStyle>
          <a:p>
            <a:endParaRPr lang="fr-FR"/>
          </a:p>
        </p:txBody>
      </p:sp>
      <p:sp>
        <p:nvSpPr>
          <p:cNvPr id="5" name="Footer Placeholder 4"/>
          <p:cNvSpPr>
            <a:spLocks noGrp="1"/>
          </p:cNvSpPr>
          <p:nvPr>
            <p:ph type="ftr" sz="quarter" idx="3"/>
          </p:nvPr>
        </p:nvSpPr>
        <p:spPr>
          <a:xfrm>
            <a:off x="1626384" y="6469013"/>
            <a:ext cx="4812515" cy="226714"/>
          </a:xfrm>
          <a:prstGeom prst="rect">
            <a:avLst/>
          </a:prstGeom>
        </p:spPr>
        <p:txBody>
          <a:bodyPr vert="horz" lIns="0" tIns="0" rIns="0" bIns="0" rtlCol="0" anchor="ctr"/>
          <a:lstStyle>
            <a:lvl1pPr algn="l">
              <a:defRPr sz="1000" b="1">
                <a:solidFill>
                  <a:schemeClr val="tx2"/>
                </a:solidFill>
                <a:latin typeface="+mj-lt"/>
              </a:defRPr>
            </a:lvl1pPr>
          </a:lstStyle>
          <a:p>
            <a:r>
              <a:rPr lang="fr-FR" smtClean="0"/>
              <a:t>Comité Pilotage Stratégique #9 V1.2 - 08/06/23</a:t>
            </a:r>
            <a:endParaRPr lang="fr-FR"/>
          </a:p>
        </p:txBody>
      </p:sp>
      <p:sp>
        <p:nvSpPr>
          <p:cNvPr id="6" name="Slide Number Placeholder 5"/>
          <p:cNvSpPr>
            <a:spLocks noGrp="1"/>
          </p:cNvSpPr>
          <p:nvPr>
            <p:ph type="sldNum" sz="quarter" idx="4"/>
          </p:nvPr>
        </p:nvSpPr>
        <p:spPr>
          <a:xfrm>
            <a:off x="11203781" y="6514718"/>
            <a:ext cx="465150" cy="154849"/>
          </a:xfrm>
          <a:prstGeom prst="rect">
            <a:avLst/>
          </a:prstGeom>
        </p:spPr>
        <p:txBody>
          <a:bodyPr vert="horz" lIns="0" tIns="0" rIns="0" bIns="0" rtlCol="0" anchor="ctr"/>
          <a:lstStyle>
            <a:lvl1pPr algn="r">
              <a:defRPr sz="750" b="1">
                <a:solidFill>
                  <a:schemeClr val="tx2"/>
                </a:solidFill>
                <a:latin typeface="+mj-lt"/>
              </a:defRPr>
            </a:lvl1pPr>
          </a:lstStyle>
          <a:p>
            <a:fld id="{6B54B0F7-55DD-40D6-B7F4-70B586885C0B}" type="slidenum">
              <a:rPr lang="fr-FR" smtClean="0"/>
              <a:pPr/>
              <a:t>‹N°›</a:t>
            </a:fld>
            <a:endParaRPr lang="fr-FR"/>
          </a:p>
        </p:txBody>
      </p:sp>
      <p:grpSp>
        <p:nvGrpSpPr>
          <p:cNvPr id="14" name="Groupe 13">
            <a:extLst>
              <a:ext uri="{FF2B5EF4-FFF2-40B4-BE49-F238E27FC236}">
                <a16:creationId xmlns:a16="http://schemas.microsoft.com/office/drawing/2014/main" id="{2A02097C-C2C2-4DA2-899D-77F82F856EDF}"/>
              </a:ext>
            </a:extLst>
          </p:cNvPr>
          <p:cNvGrpSpPr>
            <a:grpSpLocks noChangeAspect="1"/>
          </p:cNvGrpSpPr>
          <p:nvPr userDrawn="1"/>
        </p:nvGrpSpPr>
        <p:grpSpPr>
          <a:xfrm>
            <a:off x="518307" y="6473033"/>
            <a:ext cx="767567" cy="155112"/>
            <a:chOff x="3231832" y="7185063"/>
            <a:chExt cx="5132298" cy="1037158"/>
          </a:xfrm>
        </p:grpSpPr>
        <p:sp>
          <p:nvSpPr>
            <p:cNvPr id="12" name="Forme libre : forme 11">
              <a:extLst>
                <a:ext uri="{FF2B5EF4-FFF2-40B4-BE49-F238E27FC236}">
                  <a16:creationId xmlns:a16="http://schemas.microsoft.com/office/drawing/2014/main" id="{0BDC45AC-D827-4EC3-9595-8445187F9807}"/>
                </a:ext>
              </a:extLst>
            </p:cNvPr>
            <p:cNvSpPr/>
            <p:nvPr/>
          </p:nvSpPr>
          <p:spPr>
            <a:xfrm>
              <a:off x="5071966" y="7185101"/>
              <a:ext cx="1117644" cy="1037120"/>
            </a:xfrm>
            <a:custGeom>
              <a:avLst/>
              <a:gdLst>
                <a:gd name="connsiteX0" fmla="*/ 519115 w 1117644"/>
                <a:gd name="connsiteY0" fmla="*/ 848219 h 1037120"/>
                <a:gd name="connsiteX1" fmla="*/ 324919 w 1117644"/>
                <a:gd name="connsiteY1" fmla="*/ 668711 h 1037120"/>
                <a:gd name="connsiteX2" fmla="*/ 325338 w 1117644"/>
                <a:gd name="connsiteY2" fmla="*/ 636136 h 1037120"/>
                <a:gd name="connsiteX3" fmla="*/ 739428 w 1117644"/>
                <a:gd name="connsiteY3" fmla="*/ 636136 h 1037120"/>
                <a:gd name="connsiteX4" fmla="*/ 999289 w 1117644"/>
                <a:gd name="connsiteY4" fmla="*/ 394601 h 1037120"/>
                <a:gd name="connsiteX5" fmla="*/ 999289 w 1117644"/>
                <a:gd name="connsiteY5" fmla="*/ 241572 h 1037120"/>
                <a:gd name="connsiteX6" fmla="*/ 739428 w 1117644"/>
                <a:gd name="connsiteY6" fmla="*/ 37 h 1037120"/>
                <a:gd name="connsiteX7" fmla="*/ 378107 w 1117644"/>
                <a:gd name="connsiteY7" fmla="*/ 37 h 1037120"/>
                <a:gd name="connsiteX8" fmla="*/ 317775 w 1117644"/>
                <a:gd name="connsiteY8" fmla="*/ 4647 h 1037120"/>
                <a:gd name="connsiteX9" fmla="*/ 118684 w 1117644"/>
                <a:gd name="connsiteY9" fmla="*/ 241572 h 1037120"/>
                <a:gd name="connsiteX10" fmla="*/ 118684 w 1117644"/>
                <a:gd name="connsiteY10" fmla="*/ 330402 h 1037120"/>
                <a:gd name="connsiteX11" fmla="*/ 151850 w 1117644"/>
                <a:gd name="connsiteY11" fmla="*/ 367302 h 1037120"/>
                <a:gd name="connsiteX12" fmla="*/ 292096 w 1117644"/>
                <a:gd name="connsiteY12" fmla="*/ 367302 h 1037120"/>
                <a:gd name="connsiteX13" fmla="*/ 325300 w 1117644"/>
                <a:gd name="connsiteY13" fmla="*/ 330402 h 1037120"/>
                <a:gd name="connsiteX14" fmla="*/ 325300 w 1117644"/>
                <a:gd name="connsiteY14" fmla="*/ 273062 h 1037120"/>
                <a:gd name="connsiteX15" fmla="*/ 417369 w 1117644"/>
                <a:gd name="connsiteY15" fmla="*/ 188994 h 1037120"/>
                <a:gd name="connsiteX16" fmla="*/ 700680 w 1117644"/>
                <a:gd name="connsiteY16" fmla="*/ 188994 h 1037120"/>
                <a:gd name="connsiteX17" fmla="*/ 792768 w 1117644"/>
                <a:gd name="connsiteY17" fmla="*/ 273062 h 1037120"/>
                <a:gd name="connsiteX18" fmla="*/ 792768 w 1117644"/>
                <a:gd name="connsiteY18" fmla="*/ 363892 h 1037120"/>
                <a:gd name="connsiteX19" fmla="*/ 700680 w 1117644"/>
                <a:gd name="connsiteY19" fmla="*/ 447884 h 1037120"/>
                <a:gd name="connsiteX20" fmla="*/ 250 w 1117644"/>
                <a:gd name="connsiteY20" fmla="*/ 447884 h 1037120"/>
                <a:gd name="connsiteX21" fmla="*/ 250 w 1117644"/>
                <a:gd name="connsiteY21" fmla="*/ 636136 h 1037120"/>
                <a:gd name="connsiteX22" fmla="*/ 118188 w 1117644"/>
                <a:gd name="connsiteY22" fmla="*/ 636136 h 1037120"/>
                <a:gd name="connsiteX23" fmla="*/ 118188 w 1117644"/>
                <a:gd name="connsiteY23" fmla="*/ 668673 h 1037120"/>
                <a:gd name="connsiteX24" fmla="*/ 519800 w 1117644"/>
                <a:gd name="connsiteY24" fmla="*/ 1037157 h 1037120"/>
                <a:gd name="connsiteX25" fmla="*/ 1117894 w 1117644"/>
                <a:gd name="connsiteY25" fmla="*/ 1037157 h 1037120"/>
                <a:gd name="connsiteX26" fmla="*/ 1117894 w 1117644"/>
                <a:gd name="connsiteY26" fmla="*/ 848200 h 1037120"/>
                <a:gd name="connsiteX27" fmla="*/ 519115 w 1117644"/>
                <a:gd name="connsiteY27" fmla="*/ 848219 h 103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17644" h="1037120">
                  <a:moveTo>
                    <a:pt x="519115" y="848219"/>
                  </a:moveTo>
                  <a:cubicBezTo>
                    <a:pt x="412035" y="848219"/>
                    <a:pt x="324919" y="768248"/>
                    <a:pt x="324919" y="668711"/>
                  </a:cubicBezTo>
                  <a:lnTo>
                    <a:pt x="325338" y="636136"/>
                  </a:lnTo>
                  <a:lnTo>
                    <a:pt x="739428" y="636136"/>
                  </a:lnTo>
                  <a:cubicBezTo>
                    <a:pt x="882741" y="636136"/>
                    <a:pt x="999289" y="527798"/>
                    <a:pt x="999289" y="394601"/>
                  </a:cubicBezTo>
                  <a:lnTo>
                    <a:pt x="999289" y="241572"/>
                  </a:lnTo>
                  <a:cubicBezTo>
                    <a:pt x="999289" y="108375"/>
                    <a:pt x="882741" y="37"/>
                    <a:pt x="739428" y="37"/>
                  </a:cubicBezTo>
                  <a:lnTo>
                    <a:pt x="378107" y="37"/>
                  </a:lnTo>
                  <a:cubicBezTo>
                    <a:pt x="358028" y="37"/>
                    <a:pt x="337740" y="228"/>
                    <a:pt x="317775" y="4647"/>
                  </a:cubicBezTo>
                  <a:cubicBezTo>
                    <a:pt x="200294" y="30727"/>
                    <a:pt x="118684" y="129349"/>
                    <a:pt x="118684" y="241572"/>
                  </a:cubicBezTo>
                  <a:lnTo>
                    <a:pt x="118684" y="330402"/>
                  </a:lnTo>
                  <a:cubicBezTo>
                    <a:pt x="118684" y="350729"/>
                    <a:pt x="133543" y="367302"/>
                    <a:pt x="151850" y="367302"/>
                  </a:cubicBezTo>
                  <a:lnTo>
                    <a:pt x="292096" y="367302"/>
                  </a:lnTo>
                  <a:cubicBezTo>
                    <a:pt x="310422" y="367302"/>
                    <a:pt x="325300" y="350729"/>
                    <a:pt x="325300" y="330402"/>
                  </a:cubicBezTo>
                  <a:lnTo>
                    <a:pt x="325300" y="273062"/>
                  </a:lnTo>
                  <a:cubicBezTo>
                    <a:pt x="325300" y="226713"/>
                    <a:pt x="366600" y="188994"/>
                    <a:pt x="417369" y="188994"/>
                  </a:cubicBezTo>
                  <a:lnTo>
                    <a:pt x="700680" y="188994"/>
                  </a:lnTo>
                  <a:cubicBezTo>
                    <a:pt x="751467" y="188994"/>
                    <a:pt x="792768" y="226713"/>
                    <a:pt x="792768" y="273062"/>
                  </a:cubicBezTo>
                  <a:lnTo>
                    <a:pt x="792768" y="363892"/>
                  </a:lnTo>
                  <a:cubicBezTo>
                    <a:pt x="792768" y="410203"/>
                    <a:pt x="751467" y="447884"/>
                    <a:pt x="700680" y="447884"/>
                  </a:cubicBezTo>
                  <a:lnTo>
                    <a:pt x="250" y="447884"/>
                  </a:lnTo>
                  <a:lnTo>
                    <a:pt x="250" y="636136"/>
                  </a:lnTo>
                  <a:lnTo>
                    <a:pt x="118188" y="636136"/>
                  </a:lnTo>
                  <a:lnTo>
                    <a:pt x="118188" y="668673"/>
                  </a:lnTo>
                  <a:cubicBezTo>
                    <a:pt x="118188" y="872527"/>
                    <a:pt x="298859" y="1037157"/>
                    <a:pt x="519800" y="1037157"/>
                  </a:cubicBezTo>
                  <a:lnTo>
                    <a:pt x="1117894" y="1037157"/>
                  </a:lnTo>
                  <a:lnTo>
                    <a:pt x="1117894" y="848200"/>
                  </a:lnTo>
                  <a:lnTo>
                    <a:pt x="519115" y="848219"/>
                  </a:lnTo>
                  <a:close/>
                </a:path>
              </a:pathLst>
            </a:custGeom>
            <a:solidFill>
              <a:srgbClr val="96CD32"/>
            </a:solidFill>
            <a:ln w="19050" cap="flat">
              <a:noFill/>
              <a:prstDash val="solid"/>
              <a:round/>
            </a:ln>
          </p:spPr>
          <p:txBody>
            <a:bodyPr rtlCol="0" anchor="ctr"/>
            <a:lstStyle/>
            <a:p>
              <a:endParaRPr lang="fr-FR"/>
            </a:p>
          </p:txBody>
        </p:sp>
        <p:sp>
          <p:nvSpPr>
            <p:cNvPr id="13" name="Forme libre : forme 12">
              <a:extLst>
                <a:ext uri="{FF2B5EF4-FFF2-40B4-BE49-F238E27FC236}">
                  <a16:creationId xmlns:a16="http://schemas.microsoft.com/office/drawing/2014/main" id="{D7E896CC-AAEE-4D27-B259-9BDDE17707D4}"/>
                </a:ext>
              </a:extLst>
            </p:cNvPr>
            <p:cNvSpPr/>
            <p:nvPr/>
          </p:nvSpPr>
          <p:spPr>
            <a:xfrm>
              <a:off x="3231832" y="7185063"/>
              <a:ext cx="5132298" cy="1037139"/>
            </a:xfrm>
            <a:custGeom>
              <a:avLst/>
              <a:gdLst>
                <a:gd name="connsiteX0" fmla="*/ 4143956 w 5132298"/>
                <a:gd name="connsiteY0" fmla="*/ 78849 h 1037139"/>
                <a:gd name="connsiteX1" fmla="*/ 4143651 w 5132298"/>
                <a:gd name="connsiteY1" fmla="*/ 36939 h 1037139"/>
                <a:gd name="connsiteX2" fmla="*/ 4110447 w 5132298"/>
                <a:gd name="connsiteY2" fmla="*/ 78 h 1037139"/>
                <a:gd name="connsiteX3" fmla="*/ 3970639 w 5132298"/>
                <a:gd name="connsiteY3" fmla="*/ 78 h 1037139"/>
                <a:gd name="connsiteX4" fmla="*/ 3937435 w 5132298"/>
                <a:gd name="connsiteY4" fmla="*/ 36939 h 1037139"/>
                <a:gd name="connsiteX5" fmla="*/ 3937435 w 5132298"/>
                <a:gd name="connsiteY5" fmla="*/ 78849 h 1037139"/>
                <a:gd name="connsiteX6" fmla="*/ 3937454 w 5132298"/>
                <a:gd name="connsiteY6" fmla="*/ 78849 h 1037139"/>
                <a:gd name="connsiteX7" fmla="*/ 3937759 w 5132298"/>
                <a:gd name="connsiteY7" fmla="*/ 152249 h 1037139"/>
                <a:gd name="connsiteX8" fmla="*/ 3970963 w 5132298"/>
                <a:gd name="connsiteY8" fmla="*/ 189111 h 1037139"/>
                <a:gd name="connsiteX9" fmla="*/ 4110771 w 5132298"/>
                <a:gd name="connsiteY9" fmla="*/ 189111 h 1037139"/>
                <a:gd name="connsiteX10" fmla="*/ 4143975 w 5132298"/>
                <a:gd name="connsiteY10" fmla="*/ 152249 h 1037139"/>
                <a:gd name="connsiteX11" fmla="*/ 4143975 w 5132298"/>
                <a:gd name="connsiteY11" fmla="*/ 78849 h 1037139"/>
                <a:gd name="connsiteX12" fmla="*/ 4143956 w 5132298"/>
                <a:gd name="connsiteY12" fmla="*/ 78849 h 1037139"/>
                <a:gd name="connsiteX13" fmla="*/ 4143956 w 5132298"/>
                <a:gd name="connsiteY13" fmla="*/ 653397 h 1037139"/>
                <a:gd name="connsiteX14" fmla="*/ 4143651 w 5132298"/>
                <a:gd name="connsiteY14" fmla="*/ 306706 h 1037139"/>
                <a:gd name="connsiteX15" fmla="*/ 4110447 w 5132298"/>
                <a:gd name="connsiteY15" fmla="*/ 269845 h 1037139"/>
                <a:gd name="connsiteX16" fmla="*/ 3970639 w 5132298"/>
                <a:gd name="connsiteY16" fmla="*/ 269845 h 1037139"/>
                <a:gd name="connsiteX17" fmla="*/ 3937435 w 5132298"/>
                <a:gd name="connsiteY17" fmla="*/ 306706 h 1037139"/>
                <a:gd name="connsiteX18" fmla="*/ 3937435 w 5132298"/>
                <a:gd name="connsiteY18" fmla="*/ 653397 h 1037139"/>
                <a:gd name="connsiteX19" fmla="*/ 3937454 w 5132298"/>
                <a:gd name="connsiteY19" fmla="*/ 653397 h 1037139"/>
                <a:gd name="connsiteX20" fmla="*/ 3937759 w 5132298"/>
                <a:gd name="connsiteY20" fmla="*/ 1000069 h 1037139"/>
                <a:gd name="connsiteX21" fmla="*/ 3970963 w 5132298"/>
                <a:gd name="connsiteY21" fmla="*/ 1036931 h 1037139"/>
                <a:gd name="connsiteX22" fmla="*/ 4110771 w 5132298"/>
                <a:gd name="connsiteY22" fmla="*/ 1036931 h 1037139"/>
                <a:gd name="connsiteX23" fmla="*/ 4143975 w 5132298"/>
                <a:gd name="connsiteY23" fmla="*/ 1000069 h 1037139"/>
                <a:gd name="connsiteX24" fmla="*/ 4143975 w 5132298"/>
                <a:gd name="connsiteY24" fmla="*/ 653397 h 1037139"/>
                <a:gd name="connsiteX25" fmla="*/ 4143956 w 5132298"/>
                <a:gd name="connsiteY25" fmla="*/ 653397 h 1037139"/>
                <a:gd name="connsiteX26" fmla="*/ 3441430 w 5132298"/>
                <a:gd name="connsiteY26" fmla="*/ 78 h 1037139"/>
                <a:gd name="connsiteX27" fmla="*/ 2991355 w 5132298"/>
                <a:gd name="connsiteY27" fmla="*/ 78 h 1037139"/>
                <a:gd name="connsiteX28" fmla="*/ 2958131 w 5132298"/>
                <a:gd name="connsiteY28" fmla="*/ 37035 h 1037139"/>
                <a:gd name="connsiteX29" fmla="*/ 2958131 w 5132298"/>
                <a:gd name="connsiteY29" fmla="*/ 646958 h 1037139"/>
                <a:gd name="connsiteX30" fmla="*/ 2991297 w 5132298"/>
                <a:gd name="connsiteY30" fmla="*/ 683858 h 1037139"/>
                <a:gd name="connsiteX31" fmla="*/ 3131391 w 5132298"/>
                <a:gd name="connsiteY31" fmla="*/ 683858 h 1037139"/>
                <a:gd name="connsiteX32" fmla="*/ 3164595 w 5132298"/>
                <a:gd name="connsiteY32" fmla="*/ 646958 h 1037139"/>
                <a:gd name="connsiteX33" fmla="*/ 3164786 w 5132298"/>
                <a:gd name="connsiteY33" fmla="*/ 189015 h 1037139"/>
                <a:gd name="connsiteX34" fmla="*/ 3418284 w 5132298"/>
                <a:gd name="connsiteY34" fmla="*/ 189111 h 1037139"/>
                <a:gd name="connsiteX35" fmla="*/ 3612499 w 5132298"/>
                <a:gd name="connsiteY35" fmla="*/ 369762 h 1037139"/>
                <a:gd name="connsiteX36" fmla="*/ 3612499 w 5132298"/>
                <a:gd name="connsiteY36" fmla="*/ 702794 h 1037139"/>
                <a:gd name="connsiteX37" fmla="*/ 3418284 w 5132298"/>
                <a:gd name="connsiteY37" fmla="*/ 847822 h 1037139"/>
                <a:gd name="connsiteX38" fmla="*/ 2958131 w 5132298"/>
                <a:gd name="connsiteY38" fmla="*/ 848298 h 1037139"/>
                <a:gd name="connsiteX39" fmla="*/ 2958131 w 5132298"/>
                <a:gd name="connsiteY39" fmla="*/ 1037217 h 1037139"/>
                <a:gd name="connsiteX40" fmla="*/ 3418284 w 5132298"/>
                <a:gd name="connsiteY40" fmla="*/ 1036931 h 1037139"/>
                <a:gd name="connsiteX41" fmla="*/ 3818982 w 5132298"/>
                <a:gd name="connsiteY41" fmla="*/ 702794 h 1037139"/>
                <a:gd name="connsiteX42" fmla="*/ 3818982 w 5132298"/>
                <a:gd name="connsiteY42" fmla="*/ 367590 h 1037139"/>
                <a:gd name="connsiteX43" fmla="*/ 3441430 w 5132298"/>
                <a:gd name="connsiteY43" fmla="*/ 78 h 1037139"/>
                <a:gd name="connsiteX44" fmla="*/ 5132651 w 5132298"/>
                <a:gd name="connsiteY44" fmla="*/ 679820 h 1037139"/>
                <a:gd name="connsiteX45" fmla="*/ 5131660 w 5132298"/>
                <a:gd name="connsiteY45" fmla="*/ 650425 h 1037139"/>
                <a:gd name="connsiteX46" fmla="*/ 4877591 w 5132298"/>
                <a:gd name="connsiteY46" fmla="*/ 447943 h 1037139"/>
                <a:gd name="connsiteX47" fmla="*/ 4567171 w 5132298"/>
                <a:gd name="connsiteY47" fmla="*/ 447943 h 1037139"/>
                <a:gd name="connsiteX48" fmla="*/ 4559208 w 5132298"/>
                <a:gd name="connsiteY48" fmla="*/ 447924 h 1037139"/>
                <a:gd name="connsiteX49" fmla="*/ 4469063 w 5132298"/>
                <a:gd name="connsiteY49" fmla="*/ 349759 h 1037139"/>
                <a:gd name="connsiteX50" fmla="*/ 4469368 w 5132298"/>
                <a:gd name="connsiteY50" fmla="*/ 279312 h 1037139"/>
                <a:gd name="connsiteX51" fmla="*/ 4567533 w 5132298"/>
                <a:gd name="connsiteY51" fmla="*/ 189187 h 1037139"/>
                <a:gd name="connsiteX52" fmla="*/ 4690043 w 5132298"/>
                <a:gd name="connsiteY52" fmla="*/ 189187 h 1037139"/>
                <a:gd name="connsiteX53" fmla="*/ 4691243 w 5132298"/>
                <a:gd name="connsiteY53" fmla="*/ 189225 h 1037139"/>
                <a:gd name="connsiteX54" fmla="*/ 5000825 w 5132298"/>
                <a:gd name="connsiteY54" fmla="*/ 189225 h 1037139"/>
                <a:gd name="connsiteX55" fmla="*/ 5035706 w 5132298"/>
                <a:gd name="connsiteY55" fmla="*/ 166270 h 1037139"/>
                <a:gd name="connsiteX56" fmla="*/ 5037687 w 5132298"/>
                <a:gd name="connsiteY56" fmla="*/ 156021 h 1037139"/>
                <a:gd name="connsiteX57" fmla="*/ 5037687 w 5132298"/>
                <a:gd name="connsiteY57" fmla="*/ 33282 h 1037139"/>
                <a:gd name="connsiteX58" fmla="*/ 5000825 w 5132298"/>
                <a:gd name="connsiteY58" fmla="*/ 116 h 1037139"/>
                <a:gd name="connsiteX59" fmla="*/ 4517869 w 5132298"/>
                <a:gd name="connsiteY59" fmla="*/ 173 h 1037139"/>
                <a:gd name="connsiteX60" fmla="*/ 4262409 w 5132298"/>
                <a:gd name="connsiteY60" fmla="*/ 235555 h 1037139"/>
                <a:gd name="connsiteX61" fmla="*/ 4262428 w 5132298"/>
                <a:gd name="connsiteY61" fmla="*/ 382392 h 1037139"/>
                <a:gd name="connsiteX62" fmla="*/ 4497886 w 5132298"/>
                <a:gd name="connsiteY62" fmla="*/ 636214 h 1037139"/>
                <a:gd name="connsiteX63" fmla="*/ 4836309 w 5132298"/>
                <a:gd name="connsiteY63" fmla="*/ 636214 h 1037139"/>
                <a:gd name="connsiteX64" fmla="*/ 4925977 w 5132298"/>
                <a:gd name="connsiteY64" fmla="*/ 734398 h 1037139"/>
                <a:gd name="connsiteX65" fmla="*/ 4925977 w 5132298"/>
                <a:gd name="connsiteY65" fmla="*/ 757944 h 1037139"/>
                <a:gd name="connsiteX66" fmla="*/ 4828289 w 5132298"/>
                <a:gd name="connsiteY66" fmla="*/ 848050 h 1037139"/>
                <a:gd name="connsiteX67" fmla="*/ 4299290 w 5132298"/>
                <a:gd name="connsiteY67" fmla="*/ 848050 h 1037139"/>
                <a:gd name="connsiteX68" fmla="*/ 4264447 w 5132298"/>
                <a:gd name="connsiteY68" fmla="*/ 870872 h 1037139"/>
                <a:gd name="connsiteX69" fmla="*/ 4262390 w 5132298"/>
                <a:gd name="connsiteY69" fmla="*/ 881216 h 1037139"/>
                <a:gd name="connsiteX70" fmla="*/ 4262390 w 5132298"/>
                <a:gd name="connsiteY70" fmla="*/ 1003955 h 1037139"/>
                <a:gd name="connsiteX71" fmla="*/ 4299290 w 5132298"/>
                <a:gd name="connsiteY71" fmla="*/ 1037160 h 1037139"/>
                <a:gd name="connsiteX72" fmla="*/ 4732296 w 5132298"/>
                <a:gd name="connsiteY72" fmla="*/ 1037160 h 1037139"/>
                <a:gd name="connsiteX73" fmla="*/ 4879172 w 5132298"/>
                <a:gd name="connsiteY73" fmla="*/ 1037083 h 1037139"/>
                <a:gd name="connsiteX74" fmla="*/ 5132651 w 5132298"/>
                <a:gd name="connsiteY74" fmla="*/ 801587 h 1037139"/>
                <a:gd name="connsiteX75" fmla="*/ 5132651 w 5132298"/>
                <a:gd name="connsiteY75" fmla="*/ 679820 h 1037139"/>
                <a:gd name="connsiteX76" fmla="*/ 280863 w 5132298"/>
                <a:gd name="connsiteY76" fmla="*/ 189111 h 1037139"/>
                <a:gd name="connsiteX77" fmla="*/ 825046 w 5132298"/>
                <a:gd name="connsiteY77" fmla="*/ 189111 h 1037139"/>
                <a:gd name="connsiteX78" fmla="*/ 861203 w 5132298"/>
                <a:gd name="connsiteY78" fmla="*/ 156573 h 1037139"/>
                <a:gd name="connsiteX79" fmla="*/ 861203 w 5132298"/>
                <a:gd name="connsiteY79" fmla="*/ 32729 h 1037139"/>
                <a:gd name="connsiteX80" fmla="*/ 825046 w 5132298"/>
                <a:gd name="connsiteY80" fmla="*/ 78 h 1037139"/>
                <a:gd name="connsiteX81" fmla="*/ 277073 w 5132298"/>
                <a:gd name="connsiteY81" fmla="*/ 78 h 1037139"/>
                <a:gd name="connsiteX82" fmla="*/ 352 w 5132298"/>
                <a:gd name="connsiteY82" fmla="*/ 255005 h 1037139"/>
                <a:gd name="connsiteX83" fmla="*/ 352 w 5132298"/>
                <a:gd name="connsiteY83" fmla="*/ 782309 h 1037139"/>
                <a:gd name="connsiteX84" fmla="*/ 277073 w 5132298"/>
                <a:gd name="connsiteY84" fmla="*/ 1037217 h 1037139"/>
                <a:gd name="connsiteX85" fmla="*/ 825046 w 5132298"/>
                <a:gd name="connsiteY85" fmla="*/ 1037217 h 1037139"/>
                <a:gd name="connsiteX86" fmla="*/ 861203 w 5132298"/>
                <a:gd name="connsiteY86" fmla="*/ 1004660 h 1037139"/>
                <a:gd name="connsiteX87" fmla="*/ 861203 w 5132298"/>
                <a:gd name="connsiteY87" fmla="*/ 880816 h 1037139"/>
                <a:gd name="connsiteX88" fmla="*/ 825046 w 5132298"/>
                <a:gd name="connsiteY88" fmla="*/ 848298 h 1037139"/>
                <a:gd name="connsiteX89" fmla="*/ 280863 w 5132298"/>
                <a:gd name="connsiteY89" fmla="*/ 848298 h 1037139"/>
                <a:gd name="connsiteX90" fmla="*/ 207006 w 5132298"/>
                <a:gd name="connsiteY90" fmla="*/ 779051 h 1037139"/>
                <a:gd name="connsiteX91" fmla="*/ 207006 w 5132298"/>
                <a:gd name="connsiteY91" fmla="*/ 634347 h 1037139"/>
                <a:gd name="connsiteX92" fmla="*/ 532457 w 5132298"/>
                <a:gd name="connsiteY92" fmla="*/ 634347 h 1037139"/>
                <a:gd name="connsiteX93" fmla="*/ 568595 w 5132298"/>
                <a:gd name="connsiteY93" fmla="*/ 601772 h 1037139"/>
                <a:gd name="connsiteX94" fmla="*/ 568595 w 5132298"/>
                <a:gd name="connsiteY94" fmla="*/ 480557 h 1037139"/>
                <a:gd name="connsiteX95" fmla="*/ 532457 w 5132298"/>
                <a:gd name="connsiteY95" fmla="*/ 447943 h 1037139"/>
                <a:gd name="connsiteX96" fmla="*/ 207006 w 5132298"/>
                <a:gd name="connsiteY96" fmla="*/ 447943 h 1037139"/>
                <a:gd name="connsiteX97" fmla="*/ 207006 w 5132298"/>
                <a:gd name="connsiteY97" fmla="*/ 258395 h 1037139"/>
                <a:gd name="connsiteX98" fmla="*/ 280863 w 5132298"/>
                <a:gd name="connsiteY98" fmla="*/ 189111 h 1037139"/>
                <a:gd name="connsiteX99" fmla="*/ 1186405 w 5132298"/>
                <a:gd name="connsiteY99" fmla="*/ 189130 h 1037139"/>
                <a:gd name="connsiteX100" fmla="*/ 1186405 w 5132298"/>
                <a:gd name="connsiteY100" fmla="*/ 1000336 h 1037139"/>
                <a:gd name="connsiteX101" fmla="*/ 1153144 w 5132298"/>
                <a:gd name="connsiteY101" fmla="*/ 1037198 h 1037139"/>
                <a:gd name="connsiteX102" fmla="*/ 1012879 w 5132298"/>
                <a:gd name="connsiteY102" fmla="*/ 1037198 h 1037139"/>
                <a:gd name="connsiteX103" fmla="*/ 979656 w 5132298"/>
                <a:gd name="connsiteY103" fmla="*/ 1000336 h 1037139"/>
                <a:gd name="connsiteX104" fmla="*/ 979656 w 5132298"/>
                <a:gd name="connsiteY104" fmla="*/ 37035 h 1037139"/>
                <a:gd name="connsiteX105" fmla="*/ 1012879 w 5132298"/>
                <a:gd name="connsiteY105" fmla="*/ 116 h 1037139"/>
                <a:gd name="connsiteX106" fmla="*/ 1439846 w 5132298"/>
                <a:gd name="connsiteY106" fmla="*/ 116 h 1037139"/>
                <a:gd name="connsiteX107" fmla="*/ 1840506 w 5132298"/>
                <a:gd name="connsiteY107" fmla="*/ 369838 h 1037139"/>
                <a:gd name="connsiteX108" fmla="*/ 1840506 w 5132298"/>
                <a:gd name="connsiteY108" fmla="*/ 1004032 h 1037139"/>
                <a:gd name="connsiteX109" fmla="*/ 1803625 w 5132298"/>
                <a:gd name="connsiteY109" fmla="*/ 1037198 h 1037139"/>
                <a:gd name="connsiteX110" fmla="*/ 1670885 w 5132298"/>
                <a:gd name="connsiteY110" fmla="*/ 1037198 h 1037139"/>
                <a:gd name="connsiteX111" fmla="*/ 1634023 w 5132298"/>
                <a:gd name="connsiteY111" fmla="*/ 1004032 h 1037139"/>
                <a:gd name="connsiteX112" fmla="*/ 1634023 w 5132298"/>
                <a:gd name="connsiteY112" fmla="*/ 369838 h 1037139"/>
                <a:gd name="connsiteX113" fmla="*/ 1439846 w 5132298"/>
                <a:gd name="connsiteY113" fmla="*/ 189225 h 1037139"/>
                <a:gd name="connsiteX114" fmla="*/ 1186405 w 5132298"/>
                <a:gd name="connsiteY114" fmla="*/ 189130 h 103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132298" h="1037139">
                  <a:moveTo>
                    <a:pt x="4143956" y="78849"/>
                  </a:moveTo>
                  <a:lnTo>
                    <a:pt x="4143651" y="36939"/>
                  </a:lnTo>
                  <a:cubicBezTo>
                    <a:pt x="4143651" y="16613"/>
                    <a:pt x="4128754" y="78"/>
                    <a:pt x="4110447" y="78"/>
                  </a:cubicBezTo>
                  <a:lnTo>
                    <a:pt x="3970639" y="78"/>
                  </a:lnTo>
                  <a:cubicBezTo>
                    <a:pt x="3952351" y="78"/>
                    <a:pt x="3937435" y="16613"/>
                    <a:pt x="3937435" y="36939"/>
                  </a:cubicBezTo>
                  <a:lnTo>
                    <a:pt x="3937435" y="78849"/>
                  </a:lnTo>
                  <a:lnTo>
                    <a:pt x="3937454" y="78849"/>
                  </a:lnTo>
                  <a:lnTo>
                    <a:pt x="3937759" y="152249"/>
                  </a:lnTo>
                  <a:cubicBezTo>
                    <a:pt x="3937759" y="172575"/>
                    <a:pt x="3952637" y="189111"/>
                    <a:pt x="3970963" y="189111"/>
                  </a:cubicBezTo>
                  <a:lnTo>
                    <a:pt x="4110771" y="189111"/>
                  </a:lnTo>
                  <a:cubicBezTo>
                    <a:pt x="4129059" y="189111"/>
                    <a:pt x="4143975" y="172575"/>
                    <a:pt x="4143975" y="152249"/>
                  </a:cubicBezTo>
                  <a:lnTo>
                    <a:pt x="4143975" y="78849"/>
                  </a:lnTo>
                  <a:lnTo>
                    <a:pt x="4143956" y="78849"/>
                  </a:lnTo>
                  <a:close/>
                  <a:moveTo>
                    <a:pt x="4143956" y="653397"/>
                  </a:moveTo>
                  <a:lnTo>
                    <a:pt x="4143651" y="306706"/>
                  </a:lnTo>
                  <a:cubicBezTo>
                    <a:pt x="4143651" y="286361"/>
                    <a:pt x="4128754" y="269845"/>
                    <a:pt x="4110447" y="269845"/>
                  </a:cubicBezTo>
                  <a:lnTo>
                    <a:pt x="3970639" y="269845"/>
                  </a:lnTo>
                  <a:cubicBezTo>
                    <a:pt x="3952351" y="269845"/>
                    <a:pt x="3937435" y="286361"/>
                    <a:pt x="3937435" y="306706"/>
                  </a:cubicBezTo>
                  <a:lnTo>
                    <a:pt x="3937435" y="653397"/>
                  </a:lnTo>
                  <a:lnTo>
                    <a:pt x="3937454" y="653397"/>
                  </a:lnTo>
                  <a:lnTo>
                    <a:pt x="3937759" y="1000069"/>
                  </a:lnTo>
                  <a:cubicBezTo>
                    <a:pt x="3937759" y="1020396"/>
                    <a:pt x="3952637" y="1036931"/>
                    <a:pt x="3970963" y="1036931"/>
                  </a:cubicBezTo>
                  <a:lnTo>
                    <a:pt x="4110771" y="1036931"/>
                  </a:lnTo>
                  <a:cubicBezTo>
                    <a:pt x="4129059" y="1036931"/>
                    <a:pt x="4143975" y="1020396"/>
                    <a:pt x="4143975" y="1000069"/>
                  </a:cubicBezTo>
                  <a:lnTo>
                    <a:pt x="4143975" y="653397"/>
                  </a:lnTo>
                  <a:lnTo>
                    <a:pt x="4143956" y="653397"/>
                  </a:lnTo>
                  <a:close/>
                  <a:moveTo>
                    <a:pt x="3441430" y="78"/>
                  </a:moveTo>
                  <a:lnTo>
                    <a:pt x="2991355" y="78"/>
                  </a:lnTo>
                  <a:cubicBezTo>
                    <a:pt x="2973029" y="78"/>
                    <a:pt x="2958131" y="16670"/>
                    <a:pt x="2958131" y="37035"/>
                  </a:cubicBezTo>
                  <a:lnTo>
                    <a:pt x="2958131" y="646958"/>
                  </a:lnTo>
                  <a:cubicBezTo>
                    <a:pt x="2958131" y="667323"/>
                    <a:pt x="2973009" y="683858"/>
                    <a:pt x="2991297" y="683858"/>
                  </a:cubicBezTo>
                  <a:lnTo>
                    <a:pt x="3131391" y="683858"/>
                  </a:lnTo>
                  <a:cubicBezTo>
                    <a:pt x="3149717" y="683858"/>
                    <a:pt x="3164595" y="667323"/>
                    <a:pt x="3164595" y="646958"/>
                  </a:cubicBezTo>
                  <a:lnTo>
                    <a:pt x="3164786" y="189015"/>
                  </a:lnTo>
                  <a:lnTo>
                    <a:pt x="3418284" y="189111"/>
                  </a:lnTo>
                  <a:cubicBezTo>
                    <a:pt x="3525383" y="189111"/>
                    <a:pt x="3612499" y="270149"/>
                    <a:pt x="3612499" y="369762"/>
                  </a:cubicBezTo>
                  <a:lnTo>
                    <a:pt x="3612499" y="702794"/>
                  </a:lnTo>
                  <a:cubicBezTo>
                    <a:pt x="3612499" y="802368"/>
                    <a:pt x="3525383" y="847822"/>
                    <a:pt x="3418284" y="847822"/>
                  </a:cubicBezTo>
                  <a:lnTo>
                    <a:pt x="2958131" y="848298"/>
                  </a:lnTo>
                  <a:lnTo>
                    <a:pt x="2958131" y="1037217"/>
                  </a:lnTo>
                  <a:lnTo>
                    <a:pt x="3418284" y="1036931"/>
                  </a:lnTo>
                  <a:cubicBezTo>
                    <a:pt x="3639226" y="1036931"/>
                    <a:pt x="3818982" y="906648"/>
                    <a:pt x="3818982" y="702794"/>
                  </a:cubicBezTo>
                  <a:lnTo>
                    <a:pt x="3818982" y="367590"/>
                  </a:lnTo>
                  <a:cubicBezTo>
                    <a:pt x="3818982" y="171985"/>
                    <a:pt x="3654866" y="78"/>
                    <a:pt x="3441430" y="78"/>
                  </a:cubicBezTo>
                  <a:moveTo>
                    <a:pt x="5132651" y="679820"/>
                  </a:moveTo>
                  <a:cubicBezTo>
                    <a:pt x="5132651" y="670447"/>
                    <a:pt x="5132575" y="660846"/>
                    <a:pt x="5131660" y="650425"/>
                  </a:cubicBezTo>
                  <a:cubicBezTo>
                    <a:pt x="5121469" y="535230"/>
                    <a:pt x="5002749" y="447943"/>
                    <a:pt x="4877591" y="447943"/>
                  </a:cubicBezTo>
                  <a:lnTo>
                    <a:pt x="4567171" y="447943"/>
                  </a:lnTo>
                  <a:lnTo>
                    <a:pt x="4559208" y="447924"/>
                  </a:lnTo>
                  <a:cubicBezTo>
                    <a:pt x="4509487" y="447924"/>
                    <a:pt x="4469063" y="403861"/>
                    <a:pt x="4469063" y="349759"/>
                  </a:cubicBezTo>
                  <a:lnTo>
                    <a:pt x="4469368" y="279312"/>
                  </a:lnTo>
                  <a:cubicBezTo>
                    <a:pt x="4469368" y="229630"/>
                    <a:pt x="4513412" y="189187"/>
                    <a:pt x="4567533" y="189187"/>
                  </a:cubicBezTo>
                  <a:lnTo>
                    <a:pt x="4690043" y="189187"/>
                  </a:lnTo>
                  <a:lnTo>
                    <a:pt x="4691243" y="189225"/>
                  </a:lnTo>
                  <a:lnTo>
                    <a:pt x="5000825" y="189225"/>
                  </a:lnTo>
                  <a:cubicBezTo>
                    <a:pt x="5016656" y="189225"/>
                    <a:pt x="5030676" y="180005"/>
                    <a:pt x="5035706" y="166270"/>
                  </a:cubicBezTo>
                  <a:cubicBezTo>
                    <a:pt x="5037039" y="162612"/>
                    <a:pt x="5037687" y="159259"/>
                    <a:pt x="5037687" y="156021"/>
                  </a:cubicBezTo>
                  <a:lnTo>
                    <a:pt x="5037687" y="33282"/>
                  </a:lnTo>
                  <a:cubicBezTo>
                    <a:pt x="5037687" y="14956"/>
                    <a:pt x="5021151" y="116"/>
                    <a:pt x="5000825" y="116"/>
                  </a:cubicBezTo>
                  <a:lnTo>
                    <a:pt x="4517869" y="173"/>
                  </a:lnTo>
                  <a:cubicBezTo>
                    <a:pt x="4377928" y="173"/>
                    <a:pt x="4262409" y="105805"/>
                    <a:pt x="4262409" y="235555"/>
                  </a:cubicBezTo>
                  <a:lnTo>
                    <a:pt x="4262428" y="382392"/>
                  </a:lnTo>
                  <a:cubicBezTo>
                    <a:pt x="4262428" y="522352"/>
                    <a:pt x="4368041" y="636214"/>
                    <a:pt x="4497886" y="636214"/>
                  </a:cubicBezTo>
                  <a:lnTo>
                    <a:pt x="4836309" y="636214"/>
                  </a:lnTo>
                  <a:cubicBezTo>
                    <a:pt x="4885992" y="636214"/>
                    <a:pt x="4925977" y="680258"/>
                    <a:pt x="4925977" y="734398"/>
                  </a:cubicBezTo>
                  <a:lnTo>
                    <a:pt x="4925977" y="757944"/>
                  </a:lnTo>
                  <a:cubicBezTo>
                    <a:pt x="4925977" y="807645"/>
                    <a:pt x="4882410" y="848050"/>
                    <a:pt x="4828289" y="848050"/>
                  </a:cubicBezTo>
                  <a:lnTo>
                    <a:pt x="4299290" y="848050"/>
                  </a:lnTo>
                  <a:cubicBezTo>
                    <a:pt x="4283440" y="848050"/>
                    <a:pt x="4269419" y="857213"/>
                    <a:pt x="4264447" y="870872"/>
                  </a:cubicBezTo>
                  <a:cubicBezTo>
                    <a:pt x="4263057" y="874606"/>
                    <a:pt x="4262390" y="877997"/>
                    <a:pt x="4262390" y="881216"/>
                  </a:cubicBezTo>
                  <a:lnTo>
                    <a:pt x="4262390" y="1003955"/>
                  </a:lnTo>
                  <a:cubicBezTo>
                    <a:pt x="4262390" y="1022262"/>
                    <a:pt x="4278944" y="1037160"/>
                    <a:pt x="4299290" y="1037160"/>
                  </a:cubicBezTo>
                  <a:lnTo>
                    <a:pt x="4732296" y="1037160"/>
                  </a:lnTo>
                  <a:lnTo>
                    <a:pt x="4879172" y="1037083"/>
                  </a:lnTo>
                  <a:cubicBezTo>
                    <a:pt x="5019075" y="1037083"/>
                    <a:pt x="5132651" y="931470"/>
                    <a:pt x="5132651" y="801587"/>
                  </a:cubicBezTo>
                  <a:lnTo>
                    <a:pt x="5132651" y="679820"/>
                  </a:lnTo>
                  <a:close/>
                  <a:moveTo>
                    <a:pt x="280863" y="189111"/>
                  </a:moveTo>
                  <a:lnTo>
                    <a:pt x="825046" y="189111"/>
                  </a:lnTo>
                  <a:cubicBezTo>
                    <a:pt x="844972" y="189111"/>
                    <a:pt x="861203" y="174518"/>
                    <a:pt x="861203" y="156573"/>
                  </a:cubicBezTo>
                  <a:lnTo>
                    <a:pt x="861203" y="32729"/>
                  </a:lnTo>
                  <a:cubicBezTo>
                    <a:pt x="861203" y="14746"/>
                    <a:pt x="845734" y="78"/>
                    <a:pt x="825046" y="78"/>
                  </a:cubicBezTo>
                  <a:lnTo>
                    <a:pt x="277073" y="78"/>
                  </a:lnTo>
                  <a:cubicBezTo>
                    <a:pt x="124501" y="78"/>
                    <a:pt x="352" y="114301"/>
                    <a:pt x="352" y="255005"/>
                  </a:cubicBezTo>
                  <a:lnTo>
                    <a:pt x="352" y="782309"/>
                  </a:lnTo>
                  <a:cubicBezTo>
                    <a:pt x="352" y="922955"/>
                    <a:pt x="124501" y="1037217"/>
                    <a:pt x="277073" y="1037217"/>
                  </a:cubicBezTo>
                  <a:lnTo>
                    <a:pt x="825046" y="1037217"/>
                  </a:lnTo>
                  <a:cubicBezTo>
                    <a:pt x="844972" y="1037217"/>
                    <a:pt x="861203" y="1022605"/>
                    <a:pt x="861203" y="1004660"/>
                  </a:cubicBezTo>
                  <a:lnTo>
                    <a:pt x="861203" y="880816"/>
                  </a:lnTo>
                  <a:cubicBezTo>
                    <a:pt x="861203" y="862871"/>
                    <a:pt x="844972" y="848298"/>
                    <a:pt x="825046" y="848298"/>
                  </a:cubicBezTo>
                  <a:lnTo>
                    <a:pt x="280863" y="848298"/>
                  </a:lnTo>
                  <a:cubicBezTo>
                    <a:pt x="240839" y="848298"/>
                    <a:pt x="207006" y="816580"/>
                    <a:pt x="207006" y="779051"/>
                  </a:cubicBezTo>
                  <a:lnTo>
                    <a:pt x="207006" y="634347"/>
                  </a:lnTo>
                  <a:lnTo>
                    <a:pt x="532457" y="634347"/>
                  </a:lnTo>
                  <a:cubicBezTo>
                    <a:pt x="552383" y="634347"/>
                    <a:pt x="568595" y="619717"/>
                    <a:pt x="568595" y="601772"/>
                  </a:cubicBezTo>
                  <a:lnTo>
                    <a:pt x="568595" y="480557"/>
                  </a:lnTo>
                  <a:cubicBezTo>
                    <a:pt x="568595" y="462573"/>
                    <a:pt x="552383" y="447943"/>
                    <a:pt x="532457" y="447943"/>
                  </a:cubicBezTo>
                  <a:lnTo>
                    <a:pt x="207006" y="447943"/>
                  </a:lnTo>
                  <a:lnTo>
                    <a:pt x="207006" y="258395"/>
                  </a:lnTo>
                  <a:cubicBezTo>
                    <a:pt x="207006" y="220829"/>
                    <a:pt x="240839" y="189111"/>
                    <a:pt x="280863" y="189111"/>
                  </a:cubicBezTo>
                  <a:moveTo>
                    <a:pt x="1186405" y="189130"/>
                  </a:moveTo>
                  <a:lnTo>
                    <a:pt x="1186405" y="1000336"/>
                  </a:lnTo>
                  <a:cubicBezTo>
                    <a:pt x="1186405" y="1020662"/>
                    <a:pt x="1171470" y="1037198"/>
                    <a:pt x="1153144" y="1037198"/>
                  </a:cubicBezTo>
                  <a:lnTo>
                    <a:pt x="1012879" y="1037198"/>
                  </a:lnTo>
                  <a:cubicBezTo>
                    <a:pt x="994553" y="1037198"/>
                    <a:pt x="979656" y="1020662"/>
                    <a:pt x="979656" y="1000336"/>
                  </a:cubicBezTo>
                  <a:lnTo>
                    <a:pt x="979656" y="37035"/>
                  </a:lnTo>
                  <a:cubicBezTo>
                    <a:pt x="979656" y="16670"/>
                    <a:pt x="994553" y="116"/>
                    <a:pt x="1012879" y="116"/>
                  </a:cubicBezTo>
                  <a:lnTo>
                    <a:pt x="1439846" y="116"/>
                  </a:lnTo>
                  <a:cubicBezTo>
                    <a:pt x="1660769" y="116"/>
                    <a:pt x="1840506" y="165946"/>
                    <a:pt x="1840506" y="369838"/>
                  </a:cubicBezTo>
                  <a:lnTo>
                    <a:pt x="1840506" y="1004032"/>
                  </a:lnTo>
                  <a:cubicBezTo>
                    <a:pt x="1840506" y="1022339"/>
                    <a:pt x="1823971" y="1037198"/>
                    <a:pt x="1803625" y="1037198"/>
                  </a:cubicBezTo>
                  <a:lnTo>
                    <a:pt x="1670885" y="1037198"/>
                  </a:lnTo>
                  <a:cubicBezTo>
                    <a:pt x="1650559" y="1037198"/>
                    <a:pt x="1634023" y="1022339"/>
                    <a:pt x="1634023" y="1004032"/>
                  </a:cubicBezTo>
                  <a:lnTo>
                    <a:pt x="1634023" y="369838"/>
                  </a:lnTo>
                  <a:cubicBezTo>
                    <a:pt x="1634023" y="270264"/>
                    <a:pt x="1546926" y="189225"/>
                    <a:pt x="1439846" y="189225"/>
                  </a:cubicBezTo>
                  <a:lnTo>
                    <a:pt x="1186405" y="189130"/>
                  </a:lnTo>
                  <a:close/>
                </a:path>
              </a:pathLst>
            </a:custGeom>
            <a:solidFill>
              <a:schemeClr val="tx2"/>
            </a:solidFill>
            <a:ln w="19050" cap="flat">
              <a:noFill/>
              <a:prstDash val="solid"/>
              <a:round/>
            </a:ln>
          </p:spPr>
          <p:txBody>
            <a:bodyPr rtlCol="0" anchor="ctr"/>
            <a:lstStyle/>
            <a:p>
              <a:endParaRPr lang="fr-FR"/>
            </a:p>
          </p:txBody>
        </p:sp>
      </p:grpSp>
      <p:sp>
        <p:nvSpPr>
          <p:cNvPr id="17" name="Rectangle 16">
            <a:extLst>
              <a:ext uri="{FF2B5EF4-FFF2-40B4-BE49-F238E27FC236}">
                <a16:creationId xmlns:a16="http://schemas.microsoft.com/office/drawing/2014/main" id="{98821EFE-88B0-4E18-9A27-016423FF1972}"/>
              </a:ext>
            </a:extLst>
          </p:cNvPr>
          <p:cNvSpPr/>
          <p:nvPr userDrawn="1"/>
        </p:nvSpPr>
        <p:spPr>
          <a:xfrm>
            <a:off x="4809966" y="-251460"/>
            <a:ext cx="179705" cy="1797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Rectangle 17">
            <a:extLst>
              <a:ext uri="{FF2B5EF4-FFF2-40B4-BE49-F238E27FC236}">
                <a16:creationId xmlns:a16="http://schemas.microsoft.com/office/drawing/2014/main" id="{BFA7A67B-B3C3-4FA0-BD0E-026447A3CBA4}"/>
              </a:ext>
            </a:extLst>
          </p:cNvPr>
          <p:cNvSpPr/>
          <p:nvPr userDrawn="1"/>
        </p:nvSpPr>
        <p:spPr>
          <a:xfrm>
            <a:off x="5052218" y="-251460"/>
            <a:ext cx="179705" cy="1797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a:extLst>
              <a:ext uri="{FF2B5EF4-FFF2-40B4-BE49-F238E27FC236}">
                <a16:creationId xmlns:a16="http://schemas.microsoft.com/office/drawing/2014/main" id="{BDB40B1F-2606-4D95-8B73-9F1473B4EC17}"/>
              </a:ext>
            </a:extLst>
          </p:cNvPr>
          <p:cNvSpPr/>
          <p:nvPr userDrawn="1"/>
        </p:nvSpPr>
        <p:spPr>
          <a:xfrm>
            <a:off x="5500210" y="-251460"/>
            <a:ext cx="179705" cy="1797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Rectangle 19">
            <a:extLst>
              <a:ext uri="{FF2B5EF4-FFF2-40B4-BE49-F238E27FC236}">
                <a16:creationId xmlns:a16="http://schemas.microsoft.com/office/drawing/2014/main" id="{8A2E27E0-7B9F-448A-A05C-14382BAC5EE1}"/>
              </a:ext>
            </a:extLst>
          </p:cNvPr>
          <p:cNvSpPr/>
          <p:nvPr userDrawn="1"/>
        </p:nvSpPr>
        <p:spPr>
          <a:xfrm>
            <a:off x="5991070" y="-251460"/>
            <a:ext cx="179705" cy="179705"/>
          </a:xfrm>
          <a:prstGeom prst="rect">
            <a:avLst/>
          </a:prstGeom>
          <a:solidFill>
            <a:srgbClr val="1D80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Rectangle 20">
            <a:extLst>
              <a:ext uri="{FF2B5EF4-FFF2-40B4-BE49-F238E27FC236}">
                <a16:creationId xmlns:a16="http://schemas.microsoft.com/office/drawing/2014/main" id="{8DAEB5EA-BC67-454F-B72F-9C3D7307DC32}"/>
              </a:ext>
            </a:extLst>
          </p:cNvPr>
          <p:cNvSpPr/>
          <p:nvPr userDrawn="1"/>
        </p:nvSpPr>
        <p:spPr>
          <a:xfrm>
            <a:off x="6233322" y="-251460"/>
            <a:ext cx="179705" cy="17970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21">
            <a:extLst>
              <a:ext uri="{FF2B5EF4-FFF2-40B4-BE49-F238E27FC236}">
                <a16:creationId xmlns:a16="http://schemas.microsoft.com/office/drawing/2014/main" id="{B4D15E66-A588-4A8A-A903-0E9F8031CEA3}"/>
              </a:ext>
            </a:extLst>
          </p:cNvPr>
          <p:cNvSpPr/>
          <p:nvPr userDrawn="1"/>
        </p:nvSpPr>
        <p:spPr>
          <a:xfrm>
            <a:off x="6475574" y="-251460"/>
            <a:ext cx="179705" cy="1797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Rectangle 22">
            <a:extLst>
              <a:ext uri="{FF2B5EF4-FFF2-40B4-BE49-F238E27FC236}">
                <a16:creationId xmlns:a16="http://schemas.microsoft.com/office/drawing/2014/main" id="{0C9A9072-0ACF-4135-8463-BBF0A32BC16E}"/>
              </a:ext>
            </a:extLst>
          </p:cNvPr>
          <p:cNvSpPr/>
          <p:nvPr userDrawn="1"/>
        </p:nvSpPr>
        <p:spPr>
          <a:xfrm>
            <a:off x="6717826" y="-251460"/>
            <a:ext cx="179705" cy="179705"/>
          </a:xfrm>
          <a:prstGeom prst="rect">
            <a:avLst/>
          </a:prstGeom>
          <a:solidFill>
            <a:srgbClr val="C8AF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D06B1BAA-0F64-47E8-916D-4610AB9EA46C}"/>
              </a:ext>
            </a:extLst>
          </p:cNvPr>
          <p:cNvSpPr/>
          <p:nvPr userDrawn="1"/>
        </p:nvSpPr>
        <p:spPr>
          <a:xfrm>
            <a:off x="6960078" y="-251460"/>
            <a:ext cx="179705" cy="17970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9BC28B40-3CEF-4E68-B5B8-262D8FA8D7B3}"/>
              </a:ext>
            </a:extLst>
          </p:cNvPr>
          <p:cNvSpPr/>
          <p:nvPr userDrawn="1"/>
        </p:nvSpPr>
        <p:spPr>
          <a:xfrm>
            <a:off x="7202330" y="-251460"/>
            <a:ext cx="179705" cy="1797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3DD58350-5D15-4D25-9F1D-210DF8763903}"/>
              </a:ext>
            </a:extLst>
          </p:cNvPr>
          <p:cNvSpPr/>
          <p:nvPr userDrawn="1"/>
        </p:nvSpPr>
        <p:spPr>
          <a:xfrm>
            <a:off x="5745640" y="-251460"/>
            <a:ext cx="179705" cy="179705"/>
          </a:xfrm>
          <a:prstGeom prst="rect">
            <a:avLst/>
          </a:prstGeom>
          <a:solidFill>
            <a:srgbClr val="3EA4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838310899"/>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Lst>
  <p:hf hdr="0" dt="0"/>
  <p:txStyles>
    <p:titleStyle>
      <a:lvl1pPr algn="l" defTabSz="914377" rtl="0" eaLnBrk="1" latinLnBrk="0" hangingPunct="1">
        <a:lnSpc>
          <a:spcPct val="90000"/>
        </a:lnSpc>
        <a:spcBef>
          <a:spcPct val="0"/>
        </a:spcBef>
        <a:buNone/>
        <a:defRPr sz="3500" b="1" kern="1200">
          <a:solidFill>
            <a:schemeClr val="tx2"/>
          </a:solidFill>
          <a:latin typeface="+mj-lt"/>
          <a:ea typeface="+mj-ea"/>
          <a:cs typeface="+mj-cs"/>
        </a:defRPr>
      </a:lvl1pPr>
    </p:titleStyle>
    <p:body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tx1"/>
          </a:solidFill>
          <a:latin typeface="+mn-lt"/>
          <a:ea typeface="+mn-ea"/>
          <a:cs typeface="+mn-cs"/>
        </a:defRPr>
      </a:lvl1pPr>
      <a:lvl2pPr marL="216000" indent="-216000" algn="l" defTabSz="914377" rtl="0" eaLnBrk="1" latinLnBrk="0" hangingPunct="1">
        <a:lnSpc>
          <a:spcPct val="101000"/>
        </a:lnSpc>
        <a:spcBef>
          <a:spcPts val="0"/>
        </a:spcBef>
        <a:buClr>
          <a:schemeClr val="tx2"/>
        </a:buClr>
        <a:buSzPct val="120000"/>
        <a:buFont typeface="Public Sans" pitchFamily="2" charset="0"/>
        <a:buChar char="—"/>
        <a:defRPr sz="1200" b="1" kern="1200">
          <a:solidFill>
            <a:schemeClr val="tx2"/>
          </a:solidFill>
          <a:latin typeface="Public Sans" pitchFamily="2" charset="0"/>
          <a:ea typeface="+mn-ea"/>
          <a:cs typeface="+mn-cs"/>
        </a:defRPr>
      </a:lvl2pPr>
      <a:lvl3pPr marL="576000" indent="-108000" algn="l" defTabSz="914377" rtl="0" eaLnBrk="1" latinLnBrk="0" hangingPunct="1">
        <a:lnSpc>
          <a:spcPct val="101000"/>
        </a:lnSpc>
        <a:spcBef>
          <a:spcPts val="0"/>
        </a:spcBef>
        <a:buFont typeface="Arial" panose="020B0604020202020204" pitchFamily="34" charset="0"/>
        <a:buChar char="-"/>
        <a:defRPr sz="1200" kern="1200">
          <a:solidFill>
            <a:schemeClr val="tx1"/>
          </a:solidFill>
          <a:latin typeface="Public Sans" pitchFamily="2" charset="0"/>
          <a:ea typeface="+mn-ea"/>
          <a:cs typeface="+mn-cs"/>
        </a:defRPr>
      </a:lvl3pPr>
      <a:lvl4pPr marL="1152000" indent="-216000" algn="l" defTabSz="914377" rtl="0" eaLnBrk="1" latinLnBrk="0" hangingPunct="1">
        <a:lnSpc>
          <a:spcPct val="101000"/>
        </a:lnSpc>
        <a:spcBef>
          <a:spcPts val="0"/>
        </a:spcBef>
        <a:buFont typeface="Arial" panose="020B0604020202020204" pitchFamily="34" charset="0"/>
        <a:buChar char="•"/>
        <a:defRPr sz="1100" kern="1200">
          <a:solidFill>
            <a:schemeClr val="tx1"/>
          </a:solidFill>
          <a:latin typeface="+mn-lt"/>
          <a:ea typeface="+mn-ea"/>
          <a:cs typeface="+mn-cs"/>
        </a:defRPr>
      </a:lvl4pPr>
      <a:lvl5pPr marL="0" indent="0" algn="l" defTabSz="914377" rtl="0" eaLnBrk="1" latinLnBrk="0" hangingPunct="1">
        <a:lnSpc>
          <a:spcPct val="101000"/>
        </a:lnSpc>
        <a:spcBef>
          <a:spcPts val="0"/>
        </a:spcBef>
        <a:buFont typeface="Arial" panose="020B0604020202020204" pitchFamily="34" charset="0"/>
        <a:buNone/>
        <a:defRPr sz="1600" kern="1200">
          <a:solidFill>
            <a:schemeClr val="tx2"/>
          </a:solidFill>
          <a:latin typeface="+mj-lt"/>
          <a:ea typeface="+mn-ea"/>
          <a:cs typeface="+mn-cs"/>
        </a:defRPr>
      </a:lvl5pPr>
      <a:lvl6pPr marL="0" indent="0" algn="l" defTabSz="914377" rtl="0" eaLnBrk="1" latinLnBrk="0" hangingPunct="1">
        <a:lnSpc>
          <a:spcPct val="101000"/>
        </a:lnSpc>
        <a:spcBef>
          <a:spcPts val="0"/>
        </a:spcBef>
        <a:buFont typeface="Arial" panose="020B0604020202020204" pitchFamily="34" charset="0"/>
        <a:buNone/>
        <a:defRPr sz="600" i="1" kern="1200">
          <a:solidFill>
            <a:schemeClr val="tx1"/>
          </a:solidFill>
          <a:latin typeface="Public Sans" pitchFamily="2" charset="0"/>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9999" y="180000"/>
            <a:ext cx="11520000" cy="540000"/>
          </a:xfrm>
          <a:prstGeom prst="rect">
            <a:avLst/>
          </a:prstGeom>
        </p:spPr>
        <p:txBody>
          <a:bodyPr vert="horz" wrap="square" lIns="0" tIns="0" rIns="0" bIns="0" rtlCol="0" anchor="t">
            <a:noAutofit/>
          </a:bodyPr>
          <a:lstStyle/>
          <a:p>
            <a:r>
              <a:rPr lang="fr-FR" dirty="0"/>
              <a:t>Modifiez le </a:t>
            </a:r>
            <a:r>
              <a:rPr lang="fr-FR" dirty="0" smtClean="0"/>
              <a:t>style </a:t>
            </a:r>
            <a:r>
              <a:rPr lang="fr-FR" dirty="0"/>
              <a:t>du titre</a:t>
            </a:r>
            <a:endParaRPr lang="en-US" dirty="0"/>
          </a:p>
        </p:txBody>
      </p:sp>
      <p:sp>
        <p:nvSpPr>
          <p:cNvPr id="3" name="Text Placeholder 2"/>
          <p:cNvSpPr>
            <a:spLocks noGrp="1"/>
          </p:cNvSpPr>
          <p:nvPr>
            <p:ph type="body" idx="1"/>
          </p:nvPr>
        </p:nvSpPr>
        <p:spPr>
          <a:xfrm>
            <a:off x="360000" y="900000"/>
            <a:ext cx="11520000" cy="5400000"/>
          </a:xfrm>
          <a:prstGeom prst="rect">
            <a:avLst/>
          </a:prstGeom>
        </p:spPr>
        <p:txBody>
          <a:bodyPr vert="horz" lIns="0" tIns="0" rIns="0" bIns="0" rtlCol="0">
            <a:noAutofit/>
          </a:bodyPr>
          <a:lstStyle/>
          <a:p>
            <a:pPr lvl="0"/>
            <a:r>
              <a:rPr lang="fr-FR" dirty="0" err="1"/>
              <a:t>Lorem</a:t>
            </a:r>
            <a:endParaRPr lang="fr-FR" dirty="0"/>
          </a:p>
          <a:p>
            <a:pPr lvl="1"/>
            <a:r>
              <a:rPr lang="fr-FR" dirty="0" err="1"/>
              <a:t>Lorem</a:t>
            </a:r>
            <a:r>
              <a:rPr lang="fr-FR" dirty="0"/>
              <a:t> niveau</a:t>
            </a:r>
          </a:p>
          <a:p>
            <a:pPr lvl="2"/>
            <a:r>
              <a:rPr lang="fr-FR" dirty="0" err="1"/>
              <a:t>Lorem</a:t>
            </a:r>
            <a:r>
              <a:rPr lang="fr-FR" dirty="0"/>
              <a:t> niveau</a:t>
            </a:r>
          </a:p>
          <a:p>
            <a:pPr lvl="3"/>
            <a:r>
              <a:rPr lang="fr-FR" dirty="0" err="1"/>
              <a:t>Lorem</a:t>
            </a:r>
            <a:r>
              <a:rPr lang="fr-FR" dirty="0"/>
              <a:t> me niveau</a:t>
            </a:r>
          </a:p>
          <a:p>
            <a:pPr lvl="4"/>
            <a:r>
              <a:rPr lang="fr-FR" dirty="0" err="1"/>
              <a:t>Tation</a:t>
            </a:r>
            <a:r>
              <a:rPr lang="fr-FR" dirty="0"/>
              <a:t> </a:t>
            </a:r>
            <a:r>
              <a:rPr lang="fr-FR" dirty="0" err="1"/>
              <a:t>ullamcorper</a:t>
            </a:r>
            <a:endParaRPr lang="en-US" dirty="0"/>
          </a:p>
          <a:p>
            <a:pPr lvl="5"/>
            <a:r>
              <a:rPr lang="en-US" dirty="0"/>
              <a:t>Lorem</a:t>
            </a:r>
            <a:endParaRPr lang="fr-FR" dirty="0"/>
          </a:p>
        </p:txBody>
      </p:sp>
      <p:sp>
        <p:nvSpPr>
          <p:cNvPr id="4" name="Date Placeholder 3"/>
          <p:cNvSpPr>
            <a:spLocks noGrp="1"/>
          </p:cNvSpPr>
          <p:nvPr>
            <p:ph type="dt" sz="half" idx="2"/>
          </p:nvPr>
        </p:nvSpPr>
        <p:spPr>
          <a:xfrm>
            <a:off x="8100000" y="6588000"/>
            <a:ext cx="3240000" cy="216000"/>
          </a:xfrm>
          <a:prstGeom prst="rect">
            <a:avLst/>
          </a:prstGeom>
        </p:spPr>
        <p:txBody>
          <a:bodyPr vert="horz" lIns="0" tIns="0" rIns="0" bIns="0" rtlCol="0" anchor="ctr"/>
          <a:lstStyle>
            <a:lvl1pPr algn="r">
              <a:defRPr sz="900">
                <a:solidFill>
                  <a:schemeClr val="tx1">
                    <a:lumMod val="50000"/>
                    <a:lumOff val="50000"/>
                  </a:schemeClr>
                </a:solidFill>
                <a:latin typeface="Enedis Light" pitchFamily="50" charset="0"/>
              </a:defRPr>
            </a:lvl1pPr>
          </a:lstStyle>
          <a:p>
            <a:r>
              <a:rPr lang="fr-FR" smtClean="0"/>
              <a:t>Document confidentiel - Juin 2023</a:t>
            </a:r>
            <a:endParaRPr lang="fr-FR"/>
          </a:p>
        </p:txBody>
      </p:sp>
      <p:sp>
        <p:nvSpPr>
          <p:cNvPr id="5" name="Footer Placeholder 4"/>
          <p:cNvSpPr>
            <a:spLocks noGrp="1"/>
          </p:cNvSpPr>
          <p:nvPr>
            <p:ph type="ftr" sz="quarter" idx="3"/>
          </p:nvPr>
        </p:nvSpPr>
        <p:spPr>
          <a:xfrm>
            <a:off x="1080000" y="6588000"/>
            <a:ext cx="5400000" cy="216000"/>
          </a:xfrm>
          <a:prstGeom prst="rect">
            <a:avLst/>
          </a:prstGeom>
        </p:spPr>
        <p:txBody>
          <a:bodyPr vert="horz" lIns="0" tIns="0" rIns="0" bIns="0" rtlCol="0" anchor="ctr"/>
          <a:lstStyle>
            <a:lvl1pPr algn="l">
              <a:defRPr sz="900" b="0">
                <a:solidFill>
                  <a:schemeClr val="tx1">
                    <a:lumMod val="50000"/>
                    <a:lumOff val="50000"/>
                  </a:schemeClr>
                </a:solidFill>
                <a:latin typeface="Enedis Light" pitchFamily="2" charset="0"/>
              </a:defRPr>
            </a:lvl1pPr>
          </a:lstStyle>
          <a:p>
            <a:r>
              <a:rPr lang="fr-FR" smtClean="0"/>
              <a:t>Comptage en courant continu</a:t>
            </a:r>
            <a:endParaRPr lang="fr-FR"/>
          </a:p>
        </p:txBody>
      </p:sp>
      <p:sp>
        <p:nvSpPr>
          <p:cNvPr id="6" name="Slide Number Placeholder 5"/>
          <p:cNvSpPr>
            <a:spLocks noGrp="1"/>
          </p:cNvSpPr>
          <p:nvPr>
            <p:ph type="sldNum" sz="quarter" idx="4"/>
          </p:nvPr>
        </p:nvSpPr>
        <p:spPr>
          <a:xfrm>
            <a:off x="11520000" y="6587999"/>
            <a:ext cx="540000" cy="216000"/>
          </a:xfrm>
          <a:prstGeom prst="rect">
            <a:avLst/>
          </a:prstGeom>
        </p:spPr>
        <p:txBody>
          <a:bodyPr vert="horz" lIns="0" tIns="0" rIns="0" bIns="0" rtlCol="0" anchor="ctr"/>
          <a:lstStyle>
            <a:lvl1pPr algn="r">
              <a:defRPr sz="900" b="0">
                <a:solidFill>
                  <a:schemeClr val="tx1">
                    <a:lumMod val="50000"/>
                    <a:lumOff val="50000"/>
                  </a:schemeClr>
                </a:solidFill>
                <a:latin typeface="Eras Bold ITC" panose="020B0907030504020204" pitchFamily="34" charset="0"/>
              </a:defRPr>
            </a:lvl1pPr>
          </a:lstStyle>
          <a:p>
            <a:fld id="{6B54B0F7-55DD-40D6-B7F4-70B586885C0B}" type="slidenum">
              <a:rPr lang="fr-FR" smtClean="0"/>
              <a:pPr/>
              <a:t>‹N°›</a:t>
            </a:fld>
            <a:endParaRPr lang="fr-FR"/>
          </a:p>
        </p:txBody>
      </p:sp>
      <p:grpSp>
        <p:nvGrpSpPr>
          <p:cNvPr id="14" name="Groupe 13">
            <a:extLst>
              <a:ext uri="{FF2B5EF4-FFF2-40B4-BE49-F238E27FC236}">
                <a16:creationId xmlns:a16="http://schemas.microsoft.com/office/drawing/2014/main" id="{2A02097C-C2C2-4DA2-899D-77F82F856EDF}"/>
              </a:ext>
            </a:extLst>
          </p:cNvPr>
          <p:cNvGrpSpPr>
            <a:grpSpLocks noChangeAspect="1"/>
          </p:cNvGrpSpPr>
          <p:nvPr userDrawn="1"/>
        </p:nvGrpSpPr>
        <p:grpSpPr>
          <a:xfrm>
            <a:off x="135064" y="6589143"/>
            <a:ext cx="767567" cy="155112"/>
            <a:chOff x="3231832" y="7185063"/>
            <a:chExt cx="5132298" cy="1037158"/>
          </a:xfrm>
        </p:grpSpPr>
        <p:sp>
          <p:nvSpPr>
            <p:cNvPr id="12" name="Forme libre : forme 11">
              <a:extLst>
                <a:ext uri="{FF2B5EF4-FFF2-40B4-BE49-F238E27FC236}">
                  <a16:creationId xmlns:a16="http://schemas.microsoft.com/office/drawing/2014/main" id="{0BDC45AC-D827-4EC3-9595-8445187F9807}"/>
                </a:ext>
              </a:extLst>
            </p:cNvPr>
            <p:cNvSpPr/>
            <p:nvPr/>
          </p:nvSpPr>
          <p:spPr>
            <a:xfrm>
              <a:off x="5071966" y="7185101"/>
              <a:ext cx="1117644" cy="1037120"/>
            </a:xfrm>
            <a:custGeom>
              <a:avLst/>
              <a:gdLst>
                <a:gd name="connsiteX0" fmla="*/ 519115 w 1117644"/>
                <a:gd name="connsiteY0" fmla="*/ 848219 h 1037120"/>
                <a:gd name="connsiteX1" fmla="*/ 324919 w 1117644"/>
                <a:gd name="connsiteY1" fmla="*/ 668711 h 1037120"/>
                <a:gd name="connsiteX2" fmla="*/ 325338 w 1117644"/>
                <a:gd name="connsiteY2" fmla="*/ 636136 h 1037120"/>
                <a:gd name="connsiteX3" fmla="*/ 739428 w 1117644"/>
                <a:gd name="connsiteY3" fmla="*/ 636136 h 1037120"/>
                <a:gd name="connsiteX4" fmla="*/ 999289 w 1117644"/>
                <a:gd name="connsiteY4" fmla="*/ 394601 h 1037120"/>
                <a:gd name="connsiteX5" fmla="*/ 999289 w 1117644"/>
                <a:gd name="connsiteY5" fmla="*/ 241572 h 1037120"/>
                <a:gd name="connsiteX6" fmla="*/ 739428 w 1117644"/>
                <a:gd name="connsiteY6" fmla="*/ 37 h 1037120"/>
                <a:gd name="connsiteX7" fmla="*/ 378107 w 1117644"/>
                <a:gd name="connsiteY7" fmla="*/ 37 h 1037120"/>
                <a:gd name="connsiteX8" fmla="*/ 317775 w 1117644"/>
                <a:gd name="connsiteY8" fmla="*/ 4647 h 1037120"/>
                <a:gd name="connsiteX9" fmla="*/ 118684 w 1117644"/>
                <a:gd name="connsiteY9" fmla="*/ 241572 h 1037120"/>
                <a:gd name="connsiteX10" fmla="*/ 118684 w 1117644"/>
                <a:gd name="connsiteY10" fmla="*/ 330402 h 1037120"/>
                <a:gd name="connsiteX11" fmla="*/ 151850 w 1117644"/>
                <a:gd name="connsiteY11" fmla="*/ 367302 h 1037120"/>
                <a:gd name="connsiteX12" fmla="*/ 292096 w 1117644"/>
                <a:gd name="connsiteY12" fmla="*/ 367302 h 1037120"/>
                <a:gd name="connsiteX13" fmla="*/ 325300 w 1117644"/>
                <a:gd name="connsiteY13" fmla="*/ 330402 h 1037120"/>
                <a:gd name="connsiteX14" fmla="*/ 325300 w 1117644"/>
                <a:gd name="connsiteY14" fmla="*/ 273062 h 1037120"/>
                <a:gd name="connsiteX15" fmla="*/ 417369 w 1117644"/>
                <a:gd name="connsiteY15" fmla="*/ 188994 h 1037120"/>
                <a:gd name="connsiteX16" fmla="*/ 700680 w 1117644"/>
                <a:gd name="connsiteY16" fmla="*/ 188994 h 1037120"/>
                <a:gd name="connsiteX17" fmla="*/ 792768 w 1117644"/>
                <a:gd name="connsiteY17" fmla="*/ 273062 h 1037120"/>
                <a:gd name="connsiteX18" fmla="*/ 792768 w 1117644"/>
                <a:gd name="connsiteY18" fmla="*/ 363892 h 1037120"/>
                <a:gd name="connsiteX19" fmla="*/ 700680 w 1117644"/>
                <a:gd name="connsiteY19" fmla="*/ 447884 h 1037120"/>
                <a:gd name="connsiteX20" fmla="*/ 250 w 1117644"/>
                <a:gd name="connsiteY20" fmla="*/ 447884 h 1037120"/>
                <a:gd name="connsiteX21" fmla="*/ 250 w 1117644"/>
                <a:gd name="connsiteY21" fmla="*/ 636136 h 1037120"/>
                <a:gd name="connsiteX22" fmla="*/ 118188 w 1117644"/>
                <a:gd name="connsiteY22" fmla="*/ 636136 h 1037120"/>
                <a:gd name="connsiteX23" fmla="*/ 118188 w 1117644"/>
                <a:gd name="connsiteY23" fmla="*/ 668673 h 1037120"/>
                <a:gd name="connsiteX24" fmla="*/ 519800 w 1117644"/>
                <a:gd name="connsiteY24" fmla="*/ 1037157 h 1037120"/>
                <a:gd name="connsiteX25" fmla="*/ 1117894 w 1117644"/>
                <a:gd name="connsiteY25" fmla="*/ 1037157 h 1037120"/>
                <a:gd name="connsiteX26" fmla="*/ 1117894 w 1117644"/>
                <a:gd name="connsiteY26" fmla="*/ 848200 h 1037120"/>
                <a:gd name="connsiteX27" fmla="*/ 519115 w 1117644"/>
                <a:gd name="connsiteY27" fmla="*/ 848219 h 103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17644" h="1037120">
                  <a:moveTo>
                    <a:pt x="519115" y="848219"/>
                  </a:moveTo>
                  <a:cubicBezTo>
                    <a:pt x="412035" y="848219"/>
                    <a:pt x="324919" y="768248"/>
                    <a:pt x="324919" y="668711"/>
                  </a:cubicBezTo>
                  <a:lnTo>
                    <a:pt x="325338" y="636136"/>
                  </a:lnTo>
                  <a:lnTo>
                    <a:pt x="739428" y="636136"/>
                  </a:lnTo>
                  <a:cubicBezTo>
                    <a:pt x="882741" y="636136"/>
                    <a:pt x="999289" y="527798"/>
                    <a:pt x="999289" y="394601"/>
                  </a:cubicBezTo>
                  <a:lnTo>
                    <a:pt x="999289" y="241572"/>
                  </a:lnTo>
                  <a:cubicBezTo>
                    <a:pt x="999289" y="108375"/>
                    <a:pt x="882741" y="37"/>
                    <a:pt x="739428" y="37"/>
                  </a:cubicBezTo>
                  <a:lnTo>
                    <a:pt x="378107" y="37"/>
                  </a:lnTo>
                  <a:cubicBezTo>
                    <a:pt x="358028" y="37"/>
                    <a:pt x="337740" y="228"/>
                    <a:pt x="317775" y="4647"/>
                  </a:cubicBezTo>
                  <a:cubicBezTo>
                    <a:pt x="200294" y="30727"/>
                    <a:pt x="118684" y="129349"/>
                    <a:pt x="118684" y="241572"/>
                  </a:cubicBezTo>
                  <a:lnTo>
                    <a:pt x="118684" y="330402"/>
                  </a:lnTo>
                  <a:cubicBezTo>
                    <a:pt x="118684" y="350729"/>
                    <a:pt x="133543" y="367302"/>
                    <a:pt x="151850" y="367302"/>
                  </a:cubicBezTo>
                  <a:lnTo>
                    <a:pt x="292096" y="367302"/>
                  </a:lnTo>
                  <a:cubicBezTo>
                    <a:pt x="310422" y="367302"/>
                    <a:pt x="325300" y="350729"/>
                    <a:pt x="325300" y="330402"/>
                  </a:cubicBezTo>
                  <a:lnTo>
                    <a:pt x="325300" y="273062"/>
                  </a:lnTo>
                  <a:cubicBezTo>
                    <a:pt x="325300" y="226713"/>
                    <a:pt x="366600" y="188994"/>
                    <a:pt x="417369" y="188994"/>
                  </a:cubicBezTo>
                  <a:lnTo>
                    <a:pt x="700680" y="188994"/>
                  </a:lnTo>
                  <a:cubicBezTo>
                    <a:pt x="751467" y="188994"/>
                    <a:pt x="792768" y="226713"/>
                    <a:pt x="792768" y="273062"/>
                  </a:cubicBezTo>
                  <a:lnTo>
                    <a:pt x="792768" y="363892"/>
                  </a:lnTo>
                  <a:cubicBezTo>
                    <a:pt x="792768" y="410203"/>
                    <a:pt x="751467" y="447884"/>
                    <a:pt x="700680" y="447884"/>
                  </a:cubicBezTo>
                  <a:lnTo>
                    <a:pt x="250" y="447884"/>
                  </a:lnTo>
                  <a:lnTo>
                    <a:pt x="250" y="636136"/>
                  </a:lnTo>
                  <a:lnTo>
                    <a:pt x="118188" y="636136"/>
                  </a:lnTo>
                  <a:lnTo>
                    <a:pt x="118188" y="668673"/>
                  </a:lnTo>
                  <a:cubicBezTo>
                    <a:pt x="118188" y="872527"/>
                    <a:pt x="298859" y="1037157"/>
                    <a:pt x="519800" y="1037157"/>
                  </a:cubicBezTo>
                  <a:lnTo>
                    <a:pt x="1117894" y="1037157"/>
                  </a:lnTo>
                  <a:lnTo>
                    <a:pt x="1117894" y="848200"/>
                  </a:lnTo>
                  <a:lnTo>
                    <a:pt x="519115" y="848219"/>
                  </a:lnTo>
                  <a:close/>
                </a:path>
              </a:pathLst>
            </a:custGeom>
            <a:solidFill>
              <a:srgbClr val="96CD32"/>
            </a:solidFill>
            <a:ln w="19050" cap="flat">
              <a:noFill/>
              <a:prstDash val="solid"/>
              <a:round/>
            </a:ln>
          </p:spPr>
          <p:txBody>
            <a:bodyPr rtlCol="0" anchor="ctr"/>
            <a:lstStyle/>
            <a:p>
              <a:endParaRPr lang="fr-FR"/>
            </a:p>
          </p:txBody>
        </p:sp>
        <p:sp>
          <p:nvSpPr>
            <p:cNvPr id="13" name="Forme libre : forme 12">
              <a:extLst>
                <a:ext uri="{FF2B5EF4-FFF2-40B4-BE49-F238E27FC236}">
                  <a16:creationId xmlns:a16="http://schemas.microsoft.com/office/drawing/2014/main" id="{D7E896CC-AAEE-4D27-B259-9BDDE17707D4}"/>
                </a:ext>
              </a:extLst>
            </p:cNvPr>
            <p:cNvSpPr/>
            <p:nvPr/>
          </p:nvSpPr>
          <p:spPr>
            <a:xfrm>
              <a:off x="3231832" y="7185063"/>
              <a:ext cx="5132298" cy="1037139"/>
            </a:xfrm>
            <a:custGeom>
              <a:avLst/>
              <a:gdLst>
                <a:gd name="connsiteX0" fmla="*/ 4143956 w 5132298"/>
                <a:gd name="connsiteY0" fmla="*/ 78849 h 1037139"/>
                <a:gd name="connsiteX1" fmla="*/ 4143651 w 5132298"/>
                <a:gd name="connsiteY1" fmla="*/ 36939 h 1037139"/>
                <a:gd name="connsiteX2" fmla="*/ 4110447 w 5132298"/>
                <a:gd name="connsiteY2" fmla="*/ 78 h 1037139"/>
                <a:gd name="connsiteX3" fmla="*/ 3970639 w 5132298"/>
                <a:gd name="connsiteY3" fmla="*/ 78 h 1037139"/>
                <a:gd name="connsiteX4" fmla="*/ 3937435 w 5132298"/>
                <a:gd name="connsiteY4" fmla="*/ 36939 h 1037139"/>
                <a:gd name="connsiteX5" fmla="*/ 3937435 w 5132298"/>
                <a:gd name="connsiteY5" fmla="*/ 78849 h 1037139"/>
                <a:gd name="connsiteX6" fmla="*/ 3937454 w 5132298"/>
                <a:gd name="connsiteY6" fmla="*/ 78849 h 1037139"/>
                <a:gd name="connsiteX7" fmla="*/ 3937759 w 5132298"/>
                <a:gd name="connsiteY7" fmla="*/ 152249 h 1037139"/>
                <a:gd name="connsiteX8" fmla="*/ 3970963 w 5132298"/>
                <a:gd name="connsiteY8" fmla="*/ 189111 h 1037139"/>
                <a:gd name="connsiteX9" fmla="*/ 4110771 w 5132298"/>
                <a:gd name="connsiteY9" fmla="*/ 189111 h 1037139"/>
                <a:gd name="connsiteX10" fmla="*/ 4143975 w 5132298"/>
                <a:gd name="connsiteY10" fmla="*/ 152249 h 1037139"/>
                <a:gd name="connsiteX11" fmla="*/ 4143975 w 5132298"/>
                <a:gd name="connsiteY11" fmla="*/ 78849 h 1037139"/>
                <a:gd name="connsiteX12" fmla="*/ 4143956 w 5132298"/>
                <a:gd name="connsiteY12" fmla="*/ 78849 h 1037139"/>
                <a:gd name="connsiteX13" fmla="*/ 4143956 w 5132298"/>
                <a:gd name="connsiteY13" fmla="*/ 653397 h 1037139"/>
                <a:gd name="connsiteX14" fmla="*/ 4143651 w 5132298"/>
                <a:gd name="connsiteY14" fmla="*/ 306706 h 1037139"/>
                <a:gd name="connsiteX15" fmla="*/ 4110447 w 5132298"/>
                <a:gd name="connsiteY15" fmla="*/ 269845 h 1037139"/>
                <a:gd name="connsiteX16" fmla="*/ 3970639 w 5132298"/>
                <a:gd name="connsiteY16" fmla="*/ 269845 h 1037139"/>
                <a:gd name="connsiteX17" fmla="*/ 3937435 w 5132298"/>
                <a:gd name="connsiteY17" fmla="*/ 306706 h 1037139"/>
                <a:gd name="connsiteX18" fmla="*/ 3937435 w 5132298"/>
                <a:gd name="connsiteY18" fmla="*/ 653397 h 1037139"/>
                <a:gd name="connsiteX19" fmla="*/ 3937454 w 5132298"/>
                <a:gd name="connsiteY19" fmla="*/ 653397 h 1037139"/>
                <a:gd name="connsiteX20" fmla="*/ 3937759 w 5132298"/>
                <a:gd name="connsiteY20" fmla="*/ 1000069 h 1037139"/>
                <a:gd name="connsiteX21" fmla="*/ 3970963 w 5132298"/>
                <a:gd name="connsiteY21" fmla="*/ 1036931 h 1037139"/>
                <a:gd name="connsiteX22" fmla="*/ 4110771 w 5132298"/>
                <a:gd name="connsiteY22" fmla="*/ 1036931 h 1037139"/>
                <a:gd name="connsiteX23" fmla="*/ 4143975 w 5132298"/>
                <a:gd name="connsiteY23" fmla="*/ 1000069 h 1037139"/>
                <a:gd name="connsiteX24" fmla="*/ 4143975 w 5132298"/>
                <a:gd name="connsiteY24" fmla="*/ 653397 h 1037139"/>
                <a:gd name="connsiteX25" fmla="*/ 4143956 w 5132298"/>
                <a:gd name="connsiteY25" fmla="*/ 653397 h 1037139"/>
                <a:gd name="connsiteX26" fmla="*/ 3441430 w 5132298"/>
                <a:gd name="connsiteY26" fmla="*/ 78 h 1037139"/>
                <a:gd name="connsiteX27" fmla="*/ 2991355 w 5132298"/>
                <a:gd name="connsiteY27" fmla="*/ 78 h 1037139"/>
                <a:gd name="connsiteX28" fmla="*/ 2958131 w 5132298"/>
                <a:gd name="connsiteY28" fmla="*/ 37035 h 1037139"/>
                <a:gd name="connsiteX29" fmla="*/ 2958131 w 5132298"/>
                <a:gd name="connsiteY29" fmla="*/ 646958 h 1037139"/>
                <a:gd name="connsiteX30" fmla="*/ 2991297 w 5132298"/>
                <a:gd name="connsiteY30" fmla="*/ 683858 h 1037139"/>
                <a:gd name="connsiteX31" fmla="*/ 3131391 w 5132298"/>
                <a:gd name="connsiteY31" fmla="*/ 683858 h 1037139"/>
                <a:gd name="connsiteX32" fmla="*/ 3164595 w 5132298"/>
                <a:gd name="connsiteY32" fmla="*/ 646958 h 1037139"/>
                <a:gd name="connsiteX33" fmla="*/ 3164786 w 5132298"/>
                <a:gd name="connsiteY33" fmla="*/ 189015 h 1037139"/>
                <a:gd name="connsiteX34" fmla="*/ 3418284 w 5132298"/>
                <a:gd name="connsiteY34" fmla="*/ 189111 h 1037139"/>
                <a:gd name="connsiteX35" fmla="*/ 3612499 w 5132298"/>
                <a:gd name="connsiteY35" fmla="*/ 369762 h 1037139"/>
                <a:gd name="connsiteX36" fmla="*/ 3612499 w 5132298"/>
                <a:gd name="connsiteY36" fmla="*/ 702794 h 1037139"/>
                <a:gd name="connsiteX37" fmla="*/ 3418284 w 5132298"/>
                <a:gd name="connsiteY37" fmla="*/ 847822 h 1037139"/>
                <a:gd name="connsiteX38" fmla="*/ 2958131 w 5132298"/>
                <a:gd name="connsiteY38" fmla="*/ 848298 h 1037139"/>
                <a:gd name="connsiteX39" fmla="*/ 2958131 w 5132298"/>
                <a:gd name="connsiteY39" fmla="*/ 1037217 h 1037139"/>
                <a:gd name="connsiteX40" fmla="*/ 3418284 w 5132298"/>
                <a:gd name="connsiteY40" fmla="*/ 1036931 h 1037139"/>
                <a:gd name="connsiteX41" fmla="*/ 3818982 w 5132298"/>
                <a:gd name="connsiteY41" fmla="*/ 702794 h 1037139"/>
                <a:gd name="connsiteX42" fmla="*/ 3818982 w 5132298"/>
                <a:gd name="connsiteY42" fmla="*/ 367590 h 1037139"/>
                <a:gd name="connsiteX43" fmla="*/ 3441430 w 5132298"/>
                <a:gd name="connsiteY43" fmla="*/ 78 h 1037139"/>
                <a:gd name="connsiteX44" fmla="*/ 5132651 w 5132298"/>
                <a:gd name="connsiteY44" fmla="*/ 679820 h 1037139"/>
                <a:gd name="connsiteX45" fmla="*/ 5131660 w 5132298"/>
                <a:gd name="connsiteY45" fmla="*/ 650425 h 1037139"/>
                <a:gd name="connsiteX46" fmla="*/ 4877591 w 5132298"/>
                <a:gd name="connsiteY46" fmla="*/ 447943 h 1037139"/>
                <a:gd name="connsiteX47" fmla="*/ 4567171 w 5132298"/>
                <a:gd name="connsiteY47" fmla="*/ 447943 h 1037139"/>
                <a:gd name="connsiteX48" fmla="*/ 4559208 w 5132298"/>
                <a:gd name="connsiteY48" fmla="*/ 447924 h 1037139"/>
                <a:gd name="connsiteX49" fmla="*/ 4469063 w 5132298"/>
                <a:gd name="connsiteY49" fmla="*/ 349759 h 1037139"/>
                <a:gd name="connsiteX50" fmla="*/ 4469368 w 5132298"/>
                <a:gd name="connsiteY50" fmla="*/ 279312 h 1037139"/>
                <a:gd name="connsiteX51" fmla="*/ 4567533 w 5132298"/>
                <a:gd name="connsiteY51" fmla="*/ 189187 h 1037139"/>
                <a:gd name="connsiteX52" fmla="*/ 4690043 w 5132298"/>
                <a:gd name="connsiteY52" fmla="*/ 189187 h 1037139"/>
                <a:gd name="connsiteX53" fmla="*/ 4691243 w 5132298"/>
                <a:gd name="connsiteY53" fmla="*/ 189225 h 1037139"/>
                <a:gd name="connsiteX54" fmla="*/ 5000825 w 5132298"/>
                <a:gd name="connsiteY54" fmla="*/ 189225 h 1037139"/>
                <a:gd name="connsiteX55" fmla="*/ 5035706 w 5132298"/>
                <a:gd name="connsiteY55" fmla="*/ 166270 h 1037139"/>
                <a:gd name="connsiteX56" fmla="*/ 5037687 w 5132298"/>
                <a:gd name="connsiteY56" fmla="*/ 156021 h 1037139"/>
                <a:gd name="connsiteX57" fmla="*/ 5037687 w 5132298"/>
                <a:gd name="connsiteY57" fmla="*/ 33282 h 1037139"/>
                <a:gd name="connsiteX58" fmla="*/ 5000825 w 5132298"/>
                <a:gd name="connsiteY58" fmla="*/ 116 h 1037139"/>
                <a:gd name="connsiteX59" fmla="*/ 4517869 w 5132298"/>
                <a:gd name="connsiteY59" fmla="*/ 173 h 1037139"/>
                <a:gd name="connsiteX60" fmla="*/ 4262409 w 5132298"/>
                <a:gd name="connsiteY60" fmla="*/ 235555 h 1037139"/>
                <a:gd name="connsiteX61" fmla="*/ 4262428 w 5132298"/>
                <a:gd name="connsiteY61" fmla="*/ 382392 h 1037139"/>
                <a:gd name="connsiteX62" fmla="*/ 4497886 w 5132298"/>
                <a:gd name="connsiteY62" fmla="*/ 636214 h 1037139"/>
                <a:gd name="connsiteX63" fmla="*/ 4836309 w 5132298"/>
                <a:gd name="connsiteY63" fmla="*/ 636214 h 1037139"/>
                <a:gd name="connsiteX64" fmla="*/ 4925977 w 5132298"/>
                <a:gd name="connsiteY64" fmla="*/ 734398 h 1037139"/>
                <a:gd name="connsiteX65" fmla="*/ 4925977 w 5132298"/>
                <a:gd name="connsiteY65" fmla="*/ 757944 h 1037139"/>
                <a:gd name="connsiteX66" fmla="*/ 4828289 w 5132298"/>
                <a:gd name="connsiteY66" fmla="*/ 848050 h 1037139"/>
                <a:gd name="connsiteX67" fmla="*/ 4299290 w 5132298"/>
                <a:gd name="connsiteY67" fmla="*/ 848050 h 1037139"/>
                <a:gd name="connsiteX68" fmla="*/ 4264447 w 5132298"/>
                <a:gd name="connsiteY68" fmla="*/ 870872 h 1037139"/>
                <a:gd name="connsiteX69" fmla="*/ 4262390 w 5132298"/>
                <a:gd name="connsiteY69" fmla="*/ 881216 h 1037139"/>
                <a:gd name="connsiteX70" fmla="*/ 4262390 w 5132298"/>
                <a:gd name="connsiteY70" fmla="*/ 1003955 h 1037139"/>
                <a:gd name="connsiteX71" fmla="*/ 4299290 w 5132298"/>
                <a:gd name="connsiteY71" fmla="*/ 1037160 h 1037139"/>
                <a:gd name="connsiteX72" fmla="*/ 4732296 w 5132298"/>
                <a:gd name="connsiteY72" fmla="*/ 1037160 h 1037139"/>
                <a:gd name="connsiteX73" fmla="*/ 4879172 w 5132298"/>
                <a:gd name="connsiteY73" fmla="*/ 1037083 h 1037139"/>
                <a:gd name="connsiteX74" fmla="*/ 5132651 w 5132298"/>
                <a:gd name="connsiteY74" fmla="*/ 801587 h 1037139"/>
                <a:gd name="connsiteX75" fmla="*/ 5132651 w 5132298"/>
                <a:gd name="connsiteY75" fmla="*/ 679820 h 1037139"/>
                <a:gd name="connsiteX76" fmla="*/ 280863 w 5132298"/>
                <a:gd name="connsiteY76" fmla="*/ 189111 h 1037139"/>
                <a:gd name="connsiteX77" fmla="*/ 825046 w 5132298"/>
                <a:gd name="connsiteY77" fmla="*/ 189111 h 1037139"/>
                <a:gd name="connsiteX78" fmla="*/ 861203 w 5132298"/>
                <a:gd name="connsiteY78" fmla="*/ 156573 h 1037139"/>
                <a:gd name="connsiteX79" fmla="*/ 861203 w 5132298"/>
                <a:gd name="connsiteY79" fmla="*/ 32729 h 1037139"/>
                <a:gd name="connsiteX80" fmla="*/ 825046 w 5132298"/>
                <a:gd name="connsiteY80" fmla="*/ 78 h 1037139"/>
                <a:gd name="connsiteX81" fmla="*/ 277073 w 5132298"/>
                <a:gd name="connsiteY81" fmla="*/ 78 h 1037139"/>
                <a:gd name="connsiteX82" fmla="*/ 352 w 5132298"/>
                <a:gd name="connsiteY82" fmla="*/ 255005 h 1037139"/>
                <a:gd name="connsiteX83" fmla="*/ 352 w 5132298"/>
                <a:gd name="connsiteY83" fmla="*/ 782309 h 1037139"/>
                <a:gd name="connsiteX84" fmla="*/ 277073 w 5132298"/>
                <a:gd name="connsiteY84" fmla="*/ 1037217 h 1037139"/>
                <a:gd name="connsiteX85" fmla="*/ 825046 w 5132298"/>
                <a:gd name="connsiteY85" fmla="*/ 1037217 h 1037139"/>
                <a:gd name="connsiteX86" fmla="*/ 861203 w 5132298"/>
                <a:gd name="connsiteY86" fmla="*/ 1004660 h 1037139"/>
                <a:gd name="connsiteX87" fmla="*/ 861203 w 5132298"/>
                <a:gd name="connsiteY87" fmla="*/ 880816 h 1037139"/>
                <a:gd name="connsiteX88" fmla="*/ 825046 w 5132298"/>
                <a:gd name="connsiteY88" fmla="*/ 848298 h 1037139"/>
                <a:gd name="connsiteX89" fmla="*/ 280863 w 5132298"/>
                <a:gd name="connsiteY89" fmla="*/ 848298 h 1037139"/>
                <a:gd name="connsiteX90" fmla="*/ 207006 w 5132298"/>
                <a:gd name="connsiteY90" fmla="*/ 779051 h 1037139"/>
                <a:gd name="connsiteX91" fmla="*/ 207006 w 5132298"/>
                <a:gd name="connsiteY91" fmla="*/ 634347 h 1037139"/>
                <a:gd name="connsiteX92" fmla="*/ 532457 w 5132298"/>
                <a:gd name="connsiteY92" fmla="*/ 634347 h 1037139"/>
                <a:gd name="connsiteX93" fmla="*/ 568595 w 5132298"/>
                <a:gd name="connsiteY93" fmla="*/ 601772 h 1037139"/>
                <a:gd name="connsiteX94" fmla="*/ 568595 w 5132298"/>
                <a:gd name="connsiteY94" fmla="*/ 480557 h 1037139"/>
                <a:gd name="connsiteX95" fmla="*/ 532457 w 5132298"/>
                <a:gd name="connsiteY95" fmla="*/ 447943 h 1037139"/>
                <a:gd name="connsiteX96" fmla="*/ 207006 w 5132298"/>
                <a:gd name="connsiteY96" fmla="*/ 447943 h 1037139"/>
                <a:gd name="connsiteX97" fmla="*/ 207006 w 5132298"/>
                <a:gd name="connsiteY97" fmla="*/ 258395 h 1037139"/>
                <a:gd name="connsiteX98" fmla="*/ 280863 w 5132298"/>
                <a:gd name="connsiteY98" fmla="*/ 189111 h 1037139"/>
                <a:gd name="connsiteX99" fmla="*/ 1186405 w 5132298"/>
                <a:gd name="connsiteY99" fmla="*/ 189130 h 1037139"/>
                <a:gd name="connsiteX100" fmla="*/ 1186405 w 5132298"/>
                <a:gd name="connsiteY100" fmla="*/ 1000336 h 1037139"/>
                <a:gd name="connsiteX101" fmla="*/ 1153144 w 5132298"/>
                <a:gd name="connsiteY101" fmla="*/ 1037198 h 1037139"/>
                <a:gd name="connsiteX102" fmla="*/ 1012879 w 5132298"/>
                <a:gd name="connsiteY102" fmla="*/ 1037198 h 1037139"/>
                <a:gd name="connsiteX103" fmla="*/ 979656 w 5132298"/>
                <a:gd name="connsiteY103" fmla="*/ 1000336 h 1037139"/>
                <a:gd name="connsiteX104" fmla="*/ 979656 w 5132298"/>
                <a:gd name="connsiteY104" fmla="*/ 37035 h 1037139"/>
                <a:gd name="connsiteX105" fmla="*/ 1012879 w 5132298"/>
                <a:gd name="connsiteY105" fmla="*/ 116 h 1037139"/>
                <a:gd name="connsiteX106" fmla="*/ 1439846 w 5132298"/>
                <a:gd name="connsiteY106" fmla="*/ 116 h 1037139"/>
                <a:gd name="connsiteX107" fmla="*/ 1840506 w 5132298"/>
                <a:gd name="connsiteY107" fmla="*/ 369838 h 1037139"/>
                <a:gd name="connsiteX108" fmla="*/ 1840506 w 5132298"/>
                <a:gd name="connsiteY108" fmla="*/ 1004032 h 1037139"/>
                <a:gd name="connsiteX109" fmla="*/ 1803625 w 5132298"/>
                <a:gd name="connsiteY109" fmla="*/ 1037198 h 1037139"/>
                <a:gd name="connsiteX110" fmla="*/ 1670885 w 5132298"/>
                <a:gd name="connsiteY110" fmla="*/ 1037198 h 1037139"/>
                <a:gd name="connsiteX111" fmla="*/ 1634023 w 5132298"/>
                <a:gd name="connsiteY111" fmla="*/ 1004032 h 1037139"/>
                <a:gd name="connsiteX112" fmla="*/ 1634023 w 5132298"/>
                <a:gd name="connsiteY112" fmla="*/ 369838 h 1037139"/>
                <a:gd name="connsiteX113" fmla="*/ 1439846 w 5132298"/>
                <a:gd name="connsiteY113" fmla="*/ 189225 h 1037139"/>
                <a:gd name="connsiteX114" fmla="*/ 1186405 w 5132298"/>
                <a:gd name="connsiteY114" fmla="*/ 189130 h 103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132298" h="1037139">
                  <a:moveTo>
                    <a:pt x="4143956" y="78849"/>
                  </a:moveTo>
                  <a:lnTo>
                    <a:pt x="4143651" y="36939"/>
                  </a:lnTo>
                  <a:cubicBezTo>
                    <a:pt x="4143651" y="16613"/>
                    <a:pt x="4128754" y="78"/>
                    <a:pt x="4110447" y="78"/>
                  </a:cubicBezTo>
                  <a:lnTo>
                    <a:pt x="3970639" y="78"/>
                  </a:lnTo>
                  <a:cubicBezTo>
                    <a:pt x="3952351" y="78"/>
                    <a:pt x="3937435" y="16613"/>
                    <a:pt x="3937435" y="36939"/>
                  </a:cubicBezTo>
                  <a:lnTo>
                    <a:pt x="3937435" y="78849"/>
                  </a:lnTo>
                  <a:lnTo>
                    <a:pt x="3937454" y="78849"/>
                  </a:lnTo>
                  <a:lnTo>
                    <a:pt x="3937759" y="152249"/>
                  </a:lnTo>
                  <a:cubicBezTo>
                    <a:pt x="3937759" y="172575"/>
                    <a:pt x="3952637" y="189111"/>
                    <a:pt x="3970963" y="189111"/>
                  </a:cubicBezTo>
                  <a:lnTo>
                    <a:pt x="4110771" y="189111"/>
                  </a:lnTo>
                  <a:cubicBezTo>
                    <a:pt x="4129059" y="189111"/>
                    <a:pt x="4143975" y="172575"/>
                    <a:pt x="4143975" y="152249"/>
                  </a:cubicBezTo>
                  <a:lnTo>
                    <a:pt x="4143975" y="78849"/>
                  </a:lnTo>
                  <a:lnTo>
                    <a:pt x="4143956" y="78849"/>
                  </a:lnTo>
                  <a:close/>
                  <a:moveTo>
                    <a:pt x="4143956" y="653397"/>
                  </a:moveTo>
                  <a:lnTo>
                    <a:pt x="4143651" y="306706"/>
                  </a:lnTo>
                  <a:cubicBezTo>
                    <a:pt x="4143651" y="286361"/>
                    <a:pt x="4128754" y="269845"/>
                    <a:pt x="4110447" y="269845"/>
                  </a:cubicBezTo>
                  <a:lnTo>
                    <a:pt x="3970639" y="269845"/>
                  </a:lnTo>
                  <a:cubicBezTo>
                    <a:pt x="3952351" y="269845"/>
                    <a:pt x="3937435" y="286361"/>
                    <a:pt x="3937435" y="306706"/>
                  </a:cubicBezTo>
                  <a:lnTo>
                    <a:pt x="3937435" y="653397"/>
                  </a:lnTo>
                  <a:lnTo>
                    <a:pt x="3937454" y="653397"/>
                  </a:lnTo>
                  <a:lnTo>
                    <a:pt x="3937759" y="1000069"/>
                  </a:lnTo>
                  <a:cubicBezTo>
                    <a:pt x="3937759" y="1020396"/>
                    <a:pt x="3952637" y="1036931"/>
                    <a:pt x="3970963" y="1036931"/>
                  </a:cubicBezTo>
                  <a:lnTo>
                    <a:pt x="4110771" y="1036931"/>
                  </a:lnTo>
                  <a:cubicBezTo>
                    <a:pt x="4129059" y="1036931"/>
                    <a:pt x="4143975" y="1020396"/>
                    <a:pt x="4143975" y="1000069"/>
                  </a:cubicBezTo>
                  <a:lnTo>
                    <a:pt x="4143975" y="653397"/>
                  </a:lnTo>
                  <a:lnTo>
                    <a:pt x="4143956" y="653397"/>
                  </a:lnTo>
                  <a:close/>
                  <a:moveTo>
                    <a:pt x="3441430" y="78"/>
                  </a:moveTo>
                  <a:lnTo>
                    <a:pt x="2991355" y="78"/>
                  </a:lnTo>
                  <a:cubicBezTo>
                    <a:pt x="2973029" y="78"/>
                    <a:pt x="2958131" y="16670"/>
                    <a:pt x="2958131" y="37035"/>
                  </a:cubicBezTo>
                  <a:lnTo>
                    <a:pt x="2958131" y="646958"/>
                  </a:lnTo>
                  <a:cubicBezTo>
                    <a:pt x="2958131" y="667323"/>
                    <a:pt x="2973009" y="683858"/>
                    <a:pt x="2991297" y="683858"/>
                  </a:cubicBezTo>
                  <a:lnTo>
                    <a:pt x="3131391" y="683858"/>
                  </a:lnTo>
                  <a:cubicBezTo>
                    <a:pt x="3149717" y="683858"/>
                    <a:pt x="3164595" y="667323"/>
                    <a:pt x="3164595" y="646958"/>
                  </a:cubicBezTo>
                  <a:lnTo>
                    <a:pt x="3164786" y="189015"/>
                  </a:lnTo>
                  <a:lnTo>
                    <a:pt x="3418284" y="189111"/>
                  </a:lnTo>
                  <a:cubicBezTo>
                    <a:pt x="3525383" y="189111"/>
                    <a:pt x="3612499" y="270149"/>
                    <a:pt x="3612499" y="369762"/>
                  </a:cubicBezTo>
                  <a:lnTo>
                    <a:pt x="3612499" y="702794"/>
                  </a:lnTo>
                  <a:cubicBezTo>
                    <a:pt x="3612499" y="802368"/>
                    <a:pt x="3525383" y="847822"/>
                    <a:pt x="3418284" y="847822"/>
                  </a:cubicBezTo>
                  <a:lnTo>
                    <a:pt x="2958131" y="848298"/>
                  </a:lnTo>
                  <a:lnTo>
                    <a:pt x="2958131" y="1037217"/>
                  </a:lnTo>
                  <a:lnTo>
                    <a:pt x="3418284" y="1036931"/>
                  </a:lnTo>
                  <a:cubicBezTo>
                    <a:pt x="3639226" y="1036931"/>
                    <a:pt x="3818982" y="906648"/>
                    <a:pt x="3818982" y="702794"/>
                  </a:cubicBezTo>
                  <a:lnTo>
                    <a:pt x="3818982" y="367590"/>
                  </a:lnTo>
                  <a:cubicBezTo>
                    <a:pt x="3818982" y="171985"/>
                    <a:pt x="3654866" y="78"/>
                    <a:pt x="3441430" y="78"/>
                  </a:cubicBezTo>
                  <a:moveTo>
                    <a:pt x="5132651" y="679820"/>
                  </a:moveTo>
                  <a:cubicBezTo>
                    <a:pt x="5132651" y="670447"/>
                    <a:pt x="5132575" y="660846"/>
                    <a:pt x="5131660" y="650425"/>
                  </a:cubicBezTo>
                  <a:cubicBezTo>
                    <a:pt x="5121469" y="535230"/>
                    <a:pt x="5002749" y="447943"/>
                    <a:pt x="4877591" y="447943"/>
                  </a:cubicBezTo>
                  <a:lnTo>
                    <a:pt x="4567171" y="447943"/>
                  </a:lnTo>
                  <a:lnTo>
                    <a:pt x="4559208" y="447924"/>
                  </a:lnTo>
                  <a:cubicBezTo>
                    <a:pt x="4509487" y="447924"/>
                    <a:pt x="4469063" y="403861"/>
                    <a:pt x="4469063" y="349759"/>
                  </a:cubicBezTo>
                  <a:lnTo>
                    <a:pt x="4469368" y="279312"/>
                  </a:lnTo>
                  <a:cubicBezTo>
                    <a:pt x="4469368" y="229630"/>
                    <a:pt x="4513412" y="189187"/>
                    <a:pt x="4567533" y="189187"/>
                  </a:cubicBezTo>
                  <a:lnTo>
                    <a:pt x="4690043" y="189187"/>
                  </a:lnTo>
                  <a:lnTo>
                    <a:pt x="4691243" y="189225"/>
                  </a:lnTo>
                  <a:lnTo>
                    <a:pt x="5000825" y="189225"/>
                  </a:lnTo>
                  <a:cubicBezTo>
                    <a:pt x="5016656" y="189225"/>
                    <a:pt x="5030676" y="180005"/>
                    <a:pt x="5035706" y="166270"/>
                  </a:cubicBezTo>
                  <a:cubicBezTo>
                    <a:pt x="5037039" y="162612"/>
                    <a:pt x="5037687" y="159259"/>
                    <a:pt x="5037687" y="156021"/>
                  </a:cubicBezTo>
                  <a:lnTo>
                    <a:pt x="5037687" y="33282"/>
                  </a:lnTo>
                  <a:cubicBezTo>
                    <a:pt x="5037687" y="14956"/>
                    <a:pt x="5021151" y="116"/>
                    <a:pt x="5000825" y="116"/>
                  </a:cubicBezTo>
                  <a:lnTo>
                    <a:pt x="4517869" y="173"/>
                  </a:lnTo>
                  <a:cubicBezTo>
                    <a:pt x="4377928" y="173"/>
                    <a:pt x="4262409" y="105805"/>
                    <a:pt x="4262409" y="235555"/>
                  </a:cubicBezTo>
                  <a:lnTo>
                    <a:pt x="4262428" y="382392"/>
                  </a:lnTo>
                  <a:cubicBezTo>
                    <a:pt x="4262428" y="522352"/>
                    <a:pt x="4368041" y="636214"/>
                    <a:pt x="4497886" y="636214"/>
                  </a:cubicBezTo>
                  <a:lnTo>
                    <a:pt x="4836309" y="636214"/>
                  </a:lnTo>
                  <a:cubicBezTo>
                    <a:pt x="4885992" y="636214"/>
                    <a:pt x="4925977" y="680258"/>
                    <a:pt x="4925977" y="734398"/>
                  </a:cubicBezTo>
                  <a:lnTo>
                    <a:pt x="4925977" y="757944"/>
                  </a:lnTo>
                  <a:cubicBezTo>
                    <a:pt x="4925977" y="807645"/>
                    <a:pt x="4882410" y="848050"/>
                    <a:pt x="4828289" y="848050"/>
                  </a:cubicBezTo>
                  <a:lnTo>
                    <a:pt x="4299290" y="848050"/>
                  </a:lnTo>
                  <a:cubicBezTo>
                    <a:pt x="4283440" y="848050"/>
                    <a:pt x="4269419" y="857213"/>
                    <a:pt x="4264447" y="870872"/>
                  </a:cubicBezTo>
                  <a:cubicBezTo>
                    <a:pt x="4263057" y="874606"/>
                    <a:pt x="4262390" y="877997"/>
                    <a:pt x="4262390" y="881216"/>
                  </a:cubicBezTo>
                  <a:lnTo>
                    <a:pt x="4262390" y="1003955"/>
                  </a:lnTo>
                  <a:cubicBezTo>
                    <a:pt x="4262390" y="1022262"/>
                    <a:pt x="4278944" y="1037160"/>
                    <a:pt x="4299290" y="1037160"/>
                  </a:cubicBezTo>
                  <a:lnTo>
                    <a:pt x="4732296" y="1037160"/>
                  </a:lnTo>
                  <a:lnTo>
                    <a:pt x="4879172" y="1037083"/>
                  </a:lnTo>
                  <a:cubicBezTo>
                    <a:pt x="5019075" y="1037083"/>
                    <a:pt x="5132651" y="931470"/>
                    <a:pt x="5132651" y="801587"/>
                  </a:cubicBezTo>
                  <a:lnTo>
                    <a:pt x="5132651" y="679820"/>
                  </a:lnTo>
                  <a:close/>
                  <a:moveTo>
                    <a:pt x="280863" y="189111"/>
                  </a:moveTo>
                  <a:lnTo>
                    <a:pt x="825046" y="189111"/>
                  </a:lnTo>
                  <a:cubicBezTo>
                    <a:pt x="844972" y="189111"/>
                    <a:pt x="861203" y="174518"/>
                    <a:pt x="861203" y="156573"/>
                  </a:cubicBezTo>
                  <a:lnTo>
                    <a:pt x="861203" y="32729"/>
                  </a:lnTo>
                  <a:cubicBezTo>
                    <a:pt x="861203" y="14746"/>
                    <a:pt x="845734" y="78"/>
                    <a:pt x="825046" y="78"/>
                  </a:cubicBezTo>
                  <a:lnTo>
                    <a:pt x="277073" y="78"/>
                  </a:lnTo>
                  <a:cubicBezTo>
                    <a:pt x="124501" y="78"/>
                    <a:pt x="352" y="114301"/>
                    <a:pt x="352" y="255005"/>
                  </a:cubicBezTo>
                  <a:lnTo>
                    <a:pt x="352" y="782309"/>
                  </a:lnTo>
                  <a:cubicBezTo>
                    <a:pt x="352" y="922955"/>
                    <a:pt x="124501" y="1037217"/>
                    <a:pt x="277073" y="1037217"/>
                  </a:cubicBezTo>
                  <a:lnTo>
                    <a:pt x="825046" y="1037217"/>
                  </a:lnTo>
                  <a:cubicBezTo>
                    <a:pt x="844972" y="1037217"/>
                    <a:pt x="861203" y="1022605"/>
                    <a:pt x="861203" y="1004660"/>
                  </a:cubicBezTo>
                  <a:lnTo>
                    <a:pt x="861203" y="880816"/>
                  </a:lnTo>
                  <a:cubicBezTo>
                    <a:pt x="861203" y="862871"/>
                    <a:pt x="844972" y="848298"/>
                    <a:pt x="825046" y="848298"/>
                  </a:cubicBezTo>
                  <a:lnTo>
                    <a:pt x="280863" y="848298"/>
                  </a:lnTo>
                  <a:cubicBezTo>
                    <a:pt x="240839" y="848298"/>
                    <a:pt x="207006" y="816580"/>
                    <a:pt x="207006" y="779051"/>
                  </a:cubicBezTo>
                  <a:lnTo>
                    <a:pt x="207006" y="634347"/>
                  </a:lnTo>
                  <a:lnTo>
                    <a:pt x="532457" y="634347"/>
                  </a:lnTo>
                  <a:cubicBezTo>
                    <a:pt x="552383" y="634347"/>
                    <a:pt x="568595" y="619717"/>
                    <a:pt x="568595" y="601772"/>
                  </a:cubicBezTo>
                  <a:lnTo>
                    <a:pt x="568595" y="480557"/>
                  </a:lnTo>
                  <a:cubicBezTo>
                    <a:pt x="568595" y="462573"/>
                    <a:pt x="552383" y="447943"/>
                    <a:pt x="532457" y="447943"/>
                  </a:cubicBezTo>
                  <a:lnTo>
                    <a:pt x="207006" y="447943"/>
                  </a:lnTo>
                  <a:lnTo>
                    <a:pt x="207006" y="258395"/>
                  </a:lnTo>
                  <a:cubicBezTo>
                    <a:pt x="207006" y="220829"/>
                    <a:pt x="240839" y="189111"/>
                    <a:pt x="280863" y="189111"/>
                  </a:cubicBezTo>
                  <a:moveTo>
                    <a:pt x="1186405" y="189130"/>
                  </a:moveTo>
                  <a:lnTo>
                    <a:pt x="1186405" y="1000336"/>
                  </a:lnTo>
                  <a:cubicBezTo>
                    <a:pt x="1186405" y="1020662"/>
                    <a:pt x="1171470" y="1037198"/>
                    <a:pt x="1153144" y="1037198"/>
                  </a:cubicBezTo>
                  <a:lnTo>
                    <a:pt x="1012879" y="1037198"/>
                  </a:lnTo>
                  <a:cubicBezTo>
                    <a:pt x="994553" y="1037198"/>
                    <a:pt x="979656" y="1020662"/>
                    <a:pt x="979656" y="1000336"/>
                  </a:cubicBezTo>
                  <a:lnTo>
                    <a:pt x="979656" y="37035"/>
                  </a:lnTo>
                  <a:cubicBezTo>
                    <a:pt x="979656" y="16670"/>
                    <a:pt x="994553" y="116"/>
                    <a:pt x="1012879" y="116"/>
                  </a:cubicBezTo>
                  <a:lnTo>
                    <a:pt x="1439846" y="116"/>
                  </a:lnTo>
                  <a:cubicBezTo>
                    <a:pt x="1660769" y="116"/>
                    <a:pt x="1840506" y="165946"/>
                    <a:pt x="1840506" y="369838"/>
                  </a:cubicBezTo>
                  <a:lnTo>
                    <a:pt x="1840506" y="1004032"/>
                  </a:lnTo>
                  <a:cubicBezTo>
                    <a:pt x="1840506" y="1022339"/>
                    <a:pt x="1823971" y="1037198"/>
                    <a:pt x="1803625" y="1037198"/>
                  </a:cubicBezTo>
                  <a:lnTo>
                    <a:pt x="1670885" y="1037198"/>
                  </a:lnTo>
                  <a:cubicBezTo>
                    <a:pt x="1650559" y="1037198"/>
                    <a:pt x="1634023" y="1022339"/>
                    <a:pt x="1634023" y="1004032"/>
                  </a:cubicBezTo>
                  <a:lnTo>
                    <a:pt x="1634023" y="369838"/>
                  </a:lnTo>
                  <a:cubicBezTo>
                    <a:pt x="1634023" y="270264"/>
                    <a:pt x="1546926" y="189225"/>
                    <a:pt x="1439846" y="189225"/>
                  </a:cubicBezTo>
                  <a:lnTo>
                    <a:pt x="1186405" y="189130"/>
                  </a:lnTo>
                  <a:close/>
                </a:path>
              </a:pathLst>
            </a:custGeom>
            <a:solidFill>
              <a:schemeClr val="tx2"/>
            </a:solidFill>
            <a:ln w="19050" cap="flat">
              <a:noFill/>
              <a:prstDash val="solid"/>
              <a:round/>
            </a:ln>
          </p:spPr>
          <p:txBody>
            <a:bodyPr rtlCol="0" anchor="ctr"/>
            <a:lstStyle/>
            <a:p>
              <a:endParaRPr lang="fr-FR"/>
            </a:p>
          </p:txBody>
        </p:sp>
      </p:grpSp>
    </p:spTree>
    <p:extLst>
      <p:ext uri="{BB962C8B-B14F-4D97-AF65-F5344CB8AC3E}">
        <p14:creationId xmlns:p14="http://schemas.microsoft.com/office/powerpoint/2010/main" val="3842348218"/>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Lst>
  <p:timing>
    <p:tnLst>
      <p:par>
        <p:cTn id="1" dur="indefinite" restart="never" nodeType="tmRoot"/>
      </p:par>
    </p:tnLst>
  </p:timing>
  <p:hf hdr="0"/>
  <p:txStyles>
    <p:titleStyle>
      <a:lvl1pPr algn="l" defTabSz="914377" rtl="0" eaLnBrk="1" latinLnBrk="0" hangingPunct="1">
        <a:lnSpc>
          <a:spcPct val="80000"/>
        </a:lnSpc>
        <a:spcBef>
          <a:spcPct val="0"/>
        </a:spcBef>
        <a:buNone/>
        <a:defRPr sz="2800" b="1" kern="1200">
          <a:solidFill>
            <a:schemeClr val="tx2"/>
          </a:solidFill>
          <a:latin typeface="+mj-lt"/>
          <a:ea typeface="+mj-ea"/>
          <a:cs typeface="+mj-cs"/>
        </a:defRPr>
      </a:lvl1pPr>
    </p:titleStyle>
    <p:bodyStyle>
      <a:lvl1pPr marL="0" indent="0" algn="l" defTabSz="914377" rtl="0" eaLnBrk="1" latinLnBrk="0" hangingPunct="1">
        <a:lnSpc>
          <a:spcPct val="90000"/>
        </a:lnSpc>
        <a:spcBef>
          <a:spcPts val="600"/>
        </a:spcBef>
        <a:buFont typeface="Arial" panose="020B0604020202020204" pitchFamily="34" charset="0"/>
        <a:buNone/>
        <a:defRPr sz="1600" kern="1200">
          <a:solidFill>
            <a:schemeClr val="tx2"/>
          </a:solidFill>
          <a:latin typeface="Enedis Medium" pitchFamily="2" charset="0"/>
          <a:ea typeface="+mn-ea"/>
          <a:cs typeface="+mn-cs"/>
        </a:defRPr>
      </a:lvl1pPr>
      <a:lvl2pPr marL="0" indent="0" algn="l" defTabSz="914377" rtl="0" eaLnBrk="1" latinLnBrk="0" hangingPunct="1">
        <a:lnSpc>
          <a:spcPct val="90000"/>
        </a:lnSpc>
        <a:spcBef>
          <a:spcPts val="300"/>
        </a:spcBef>
        <a:buClr>
          <a:schemeClr val="tx2"/>
        </a:buClr>
        <a:buSzPct val="120000"/>
        <a:buFont typeface="Public Sans" pitchFamily="2" charset="0"/>
        <a:buNone/>
        <a:defRPr sz="1600" b="0" kern="1200">
          <a:solidFill>
            <a:schemeClr val="tx1"/>
          </a:solidFill>
          <a:latin typeface="+mj-lt"/>
          <a:ea typeface="+mn-ea"/>
          <a:cs typeface="+mn-cs"/>
        </a:defRPr>
      </a:lvl2pPr>
      <a:lvl3pPr marL="261938" indent="-174625" algn="l" defTabSz="914377" rtl="0" eaLnBrk="1" latinLnBrk="0" hangingPunct="1">
        <a:lnSpc>
          <a:spcPct val="90000"/>
        </a:lnSpc>
        <a:spcBef>
          <a:spcPts val="200"/>
        </a:spcBef>
        <a:buFont typeface="Wingdings" panose="05000000000000000000" pitchFamily="2" charset="2"/>
        <a:buChar char="§"/>
        <a:defRPr sz="1600" kern="1200">
          <a:solidFill>
            <a:schemeClr val="tx1"/>
          </a:solidFill>
          <a:latin typeface="+mj-lt"/>
          <a:ea typeface="+mn-ea"/>
          <a:cs typeface="+mn-cs"/>
        </a:defRPr>
      </a:lvl3pPr>
      <a:lvl4pPr marL="363538" indent="0" algn="l" defTabSz="914377" rtl="0" eaLnBrk="1" latinLnBrk="0" hangingPunct="1">
        <a:lnSpc>
          <a:spcPct val="90000"/>
        </a:lnSpc>
        <a:spcBef>
          <a:spcPts val="200"/>
        </a:spcBef>
        <a:buFont typeface="Arial" panose="020B0604020202020204" pitchFamily="34" charset="0"/>
        <a:buNone/>
        <a:defRPr sz="1400" kern="1200">
          <a:solidFill>
            <a:schemeClr val="tx1"/>
          </a:solidFill>
          <a:latin typeface="+mj-lt"/>
          <a:ea typeface="+mn-ea"/>
          <a:cs typeface="+mn-cs"/>
        </a:defRPr>
      </a:lvl4pPr>
      <a:lvl5pPr marL="363538" indent="0" algn="l" defTabSz="914377" rtl="0" eaLnBrk="1" latinLnBrk="0" hangingPunct="1">
        <a:lnSpc>
          <a:spcPct val="90000"/>
        </a:lnSpc>
        <a:spcBef>
          <a:spcPts val="600"/>
        </a:spcBef>
        <a:buFont typeface="Arial" panose="020B0604020202020204" pitchFamily="34" charset="0"/>
        <a:buNone/>
        <a:defRPr sz="1200" kern="1200">
          <a:solidFill>
            <a:schemeClr val="tx2"/>
          </a:solidFill>
          <a:latin typeface="+mj-lt"/>
          <a:ea typeface="+mn-ea"/>
          <a:cs typeface="+mn-cs"/>
        </a:defRPr>
      </a:lvl5pPr>
      <a:lvl6pPr marL="536575" indent="-171450" algn="l" defTabSz="914377" rtl="0" eaLnBrk="1" latinLnBrk="0" hangingPunct="1">
        <a:lnSpc>
          <a:spcPct val="90000"/>
        </a:lnSpc>
        <a:spcBef>
          <a:spcPts val="300"/>
        </a:spcBef>
        <a:buFont typeface="Wingdings" panose="05000000000000000000" pitchFamily="2" charset="2"/>
        <a:buChar char="ü"/>
        <a:defRPr sz="1200" i="1" kern="1200">
          <a:solidFill>
            <a:schemeClr val="tx1"/>
          </a:solidFill>
          <a:latin typeface="Public Sans" pitchFamily="2" charset="0"/>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9999" y="180000"/>
            <a:ext cx="11520000" cy="612000"/>
          </a:xfrm>
          <a:prstGeom prst="rect">
            <a:avLst/>
          </a:prstGeom>
        </p:spPr>
        <p:txBody>
          <a:bodyPr vert="horz" wrap="square" lIns="0" tIns="36000" rIns="0" bIns="0" rtlCol="0" anchor="ctr">
            <a:noAutofit/>
          </a:bodyPr>
          <a:lstStyle/>
          <a:p>
            <a:r>
              <a:rPr lang="fr-FR" dirty="0" smtClean="0"/>
              <a:t>Modifiez le style </a:t>
            </a:r>
            <a:r>
              <a:rPr lang="fr-FR" dirty="0"/>
              <a:t>du titre</a:t>
            </a:r>
            <a:endParaRPr lang="en-US" dirty="0"/>
          </a:p>
        </p:txBody>
      </p:sp>
      <p:sp>
        <p:nvSpPr>
          <p:cNvPr id="3" name="Text Placeholder 2"/>
          <p:cNvSpPr>
            <a:spLocks noGrp="1"/>
          </p:cNvSpPr>
          <p:nvPr>
            <p:ph type="body" idx="1"/>
          </p:nvPr>
        </p:nvSpPr>
        <p:spPr>
          <a:xfrm>
            <a:off x="360000" y="1008000"/>
            <a:ext cx="11520000" cy="5400000"/>
          </a:xfrm>
          <a:prstGeom prst="rect">
            <a:avLst/>
          </a:prstGeom>
        </p:spPr>
        <p:txBody>
          <a:bodyPr vert="horz" lIns="0" tIns="0" rIns="0" bIns="0" rtlCol="0">
            <a:noAutofit/>
          </a:bodyPr>
          <a:lstStyle/>
          <a:p>
            <a:pPr lvl="0"/>
            <a:r>
              <a:rPr lang="fr-FR" dirty="0" err="1"/>
              <a:t>Lorem</a:t>
            </a:r>
            <a:endParaRPr lang="fr-FR" dirty="0"/>
          </a:p>
          <a:p>
            <a:pPr lvl="1"/>
            <a:r>
              <a:rPr lang="fr-FR" dirty="0" err="1"/>
              <a:t>Lorem</a:t>
            </a:r>
            <a:r>
              <a:rPr lang="fr-FR" dirty="0"/>
              <a:t> niveau</a:t>
            </a:r>
          </a:p>
          <a:p>
            <a:pPr lvl="2"/>
            <a:r>
              <a:rPr lang="fr-FR" dirty="0" err="1"/>
              <a:t>Lorem</a:t>
            </a:r>
            <a:r>
              <a:rPr lang="fr-FR" dirty="0"/>
              <a:t> niveau</a:t>
            </a:r>
          </a:p>
          <a:p>
            <a:pPr lvl="3"/>
            <a:r>
              <a:rPr lang="fr-FR" dirty="0" err="1"/>
              <a:t>Lorem</a:t>
            </a:r>
            <a:r>
              <a:rPr lang="fr-FR" dirty="0"/>
              <a:t> </a:t>
            </a:r>
            <a:r>
              <a:rPr lang="fr-FR" dirty="0" smtClean="0"/>
              <a:t>niveau</a:t>
            </a:r>
            <a:endParaRPr lang="fr-FR" dirty="0"/>
          </a:p>
          <a:p>
            <a:pPr lvl="4"/>
            <a:r>
              <a:rPr lang="fr-FR" dirty="0" err="1"/>
              <a:t>Tation</a:t>
            </a:r>
            <a:r>
              <a:rPr lang="fr-FR" dirty="0"/>
              <a:t> </a:t>
            </a:r>
            <a:r>
              <a:rPr lang="fr-FR" dirty="0" err="1"/>
              <a:t>ullamcorper</a:t>
            </a:r>
            <a:endParaRPr lang="en-US" dirty="0"/>
          </a:p>
          <a:p>
            <a:pPr lvl="5"/>
            <a:r>
              <a:rPr lang="en-US" dirty="0"/>
              <a:t>Lorem</a:t>
            </a:r>
            <a:endParaRPr lang="fr-FR" dirty="0"/>
          </a:p>
        </p:txBody>
      </p:sp>
      <p:sp>
        <p:nvSpPr>
          <p:cNvPr id="4" name="Date Placeholder 3"/>
          <p:cNvSpPr>
            <a:spLocks noGrp="1"/>
          </p:cNvSpPr>
          <p:nvPr>
            <p:ph type="dt" sz="half" idx="2"/>
          </p:nvPr>
        </p:nvSpPr>
        <p:spPr>
          <a:xfrm>
            <a:off x="8100000" y="6588000"/>
            <a:ext cx="3240000" cy="216000"/>
          </a:xfrm>
          <a:prstGeom prst="rect">
            <a:avLst/>
          </a:prstGeom>
        </p:spPr>
        <p:txBody>
          <a:bodyPr vert="horz" lIns="0" tIns="0" rIns="0" bIns="0" rtlCol="0" anchor="ctr"/>
          <a:lstStyle>
            <a:lvl1pPr algn="r">
              <a:defRPr sz="900">
                <a:solidFill>
                  <a:schemeClr val="tx1">
                    <a:lumMod val="75000"/>
                    <a:lumOff val="25000"/>
                  </a:schemeClr>
                </a:solidFill>
                <a:latin typeface="Enedis Light" pitchFamily="50" charset="0"/>
              </a:defRPr>
            </a:lvl1pPr>
          </a:lstStyle>
          <a:p>
            <a:r>
              <a:rPr lang="fr-FR" smtClean="0"/>
              <a:t>Diffusion restreinte - Avril 2024</a:t>
            </a:r>
            <a:endParaRPr lang="fr-FR"/>
          </a:p>
        </p:txBody>
      </p:sp>
      <p:sp>
        <p:nvSpPr>
          <p:cNvPr id="5" name="Footer Placeholder 4"/>
          <p:cNvSpPr>
            <a:spLocks noGrp="1"/>
          </p:cNvSpPr>
          <p:nvPr>
            <p:ph type="ftr" sz="quarter" idx="3"/>
          </p:nvPr>
        </p:nvSpPr>
        <p:spPr>
          <a:xfrm>
            <a:off x="1080000" y="6588000"/>
            <a:ext cx="5400000" cy="216000"/>
          </a:xfrm>
          <a:prstGeom prst="rect">
            <a:avLst/>
          </a:prstGeom>
        </p:spPr>
        <p:txBody>
          <a:bodyPr vert="horz" lIns="0" tIns="0" rIns="0" bIns="0" rtlCol="0" anchor="ctr"/>
          <a:lstStyle>
            <a:lvl1pPr algn="l">
              <a:defRPr sz="900" b="0">
                <a:solidFill>
                  <a:schemeClr val="tx1">
                    <a:lumMod val="75000"/>
                    <a:lumOff val="25000"/>
                  </a:schemeClr>
                </a:solidFill>
                <a:latin typeface="Enedis Light" pitchFamily="2" charset="0"/>
              </a:defRPr>
            </a:lvl1pPr>
          </a:lstStyle>
          <a:p>
            <a:r>
              <a:rPr lang="fr-FR" smtClean="0"/>
              <a:t>Bilatérale Enedis - DGEC - Mobilité électrique</a:t>
            </a:r>
            <a:endParaRPr lang="fr-FR"/>
          </a:p>
        </p:txBody>
      </p:sp>
      <p:sp>
        <p:nvSpPr>
          <p:cNvPr id="6" name="Slide Number Placeholder 5"/>
          <p:cNvSpPr>
            <a:spLocks noGrp="1"/>
          </p:cNvSpPr>
          <p:nvPr>
            <p:ph type="sldNum" sz="quarter" idx="4"/>
          </p:nvPr>
        </p:nvSpPr>
        <p:spPr>
          <a:xfrm>
            <a:off x="11520000" y="6587999"/>
            <a:ext cx="540000" cy="216000"/>
          </a:xfrm>
          <a:prstGeom prst="rect">
            <a:avLst/>
          </a:prstGeom>
        </p:spPr>
        <p:txBody>
          <a:bodyPr vert="horz" lIns="0" tIns="0" rIns="0" bIns="0" rtlCol="0" anchor="ctr"/>
          <a:lstStyle>
            <a:lvl1pPr algn="r">
              <a:defRPr sz="900" b="0">
                <a:solidFill>
                  <a:schemeClr val="tx1">
                    <a:lumMod val="75000"/>
                    <a:lumOff val="25000"/>
                  </a:schemeClr>
                </a:solidFill>
                <a:latin typeface="Eras Bold ITC" panose="020B0907030504020204" pitchFamily="34" charset="0"/>
              </a:defRPr>
            </a:lvl1pPr>
          </a:lstStyle>
          <a:p>
            <a:fld id="{6B54B0F7-55DD-40D6-B7F4-70B586885C0B}" type="slidenum">
              <a:rPr lang="fr-FR" smtClean="0"/>
              <a:pPr/>
              <a:t>‹N°›</a:t>
            </a:fld>
            <a:endParaRPr lang="fr-FR"/>
          </a:p>
        </p:txBody>
      </p:sp>
      <p:grpSp>
        <p:nvGrpSpPr>
          <p:cNvPr id="14" name="Groupe 13">
            <a:extLst>
              <a:ext uri="{FF2B5EF4-FFF2-40B4-BE49-F238E27FC236}">
                <a16:creationId xmlns:a16="http://schemas.microsoft.com/office/drawing/2014/main" id="{2A02097C-C2C2-4DA2-899D-77F82F856EDF}"/>
              </a:ext>
            </a:extLst>
          </p:cNvPr>
          <p:cNvGrpSpPr>
            <a:grpSpLocks noChangeAspect="1"/>
          </p:cNvGrpSpPr>
          <p:nvPr userDrawn="1"/>
        </p:nvGrpSpPr>
        <p:grpSpPr>
          <a:xfrm>
            <a:off x="135064" y="6589143"/>
            <a:ext cx="767567" cy="155112"/>
            <a:chOff x="3231832" y="7185063"/>
            <a:chExt cx="5132298" cy="1037158"/>
          </a:xfrm>
        </p:grpSpPr>
        <p:sp>
          <p:nvSpPr>
            <p:cNvPr id="12" name="Forme libre : forme 11">
              <a:extLst>
                <a:ext uri="{FF2B5EF4-FFF2-40B4-BE49-F238E27FC236}">
                  <a16:creationId xmlns:a16="http://schemas.microsoft.com/office/drawing/2014/main" id="{0BDC45AC-D827-4EC3-9595-8445187F9807}"/>
                </a:ext>
              </a:extLst>
            </p:cNvPr>
            <p:cNvSpPr/>
            <p:nvPr/>
          </p:nvSpPr>
          <p:spPr>
            <a:xfrm>
              <a:off x="5071966" y="7185101"/>
              <a:ext cx="1117644" cy="1037120"/>
            </a:xfrm>
            <a:custGeom>
              <a:avLst/>
              <a:gdLst>
                <a:gd name="connsiteX0" fmla="*/ 519115 w 1117644"/>
                <a:gd name="connsiteY0" fmla="*/ 848219 h 1037120"/>
                <a:gd name="connsiteX1" fmla="*/ 324919 w 1117644"/>
                <a:gd name="connsiteY1" fmla="*/ 668711 h 1037120"/>
                <a:gd name="connsiteX2" fmla="*/ 325338 w 1117644"/>
                <a:gd name="connsiteY2" fmla="*/ 636136 h 1037120"/>
                <a:gd name="connsiteX3" fmla="*/ 739428 w 1117644"/>
                <a:gd name="connsiteY3" fmla="*/ 636136 h 1037120"/>
                <a:gd name="connsiteX4" fmla="*/ 999289 w 1117644"/>
                <a:gd name="connsiteY4" fmla="*/ 394601 h 1037120"/>
                <a:gd name="connsiteX5" fmla="*/ 999289 w 1117644"/>
                <a:gd name="connsiteY5" fmla="*/ 241572 h 1037120"/>
                <a:gd name="connsiteX6" fmla="*/ 739428 w 1117644"/>
                <a:gd name="connsiteY6" fmla="*/ 37 h 1037120"/>
                <a:gd name="connsiteX7" fmla="*/ 378107 w 1117644"/>
                <a:gd name="connsiteY7" fmla="*/ 37 h 1037120"/>
                <a:gd name="connsiteX8" fmla="*/ 317775 w 1117644"/>
                <a:gd name="connsiteY8" fmla="*/ 4647 h 1037120"/>
                <a:gd name="connsiteX9" fmla="*/ 118684 w 1117644"/>
                <a:gd name="connsiteY9" fmla="*/ 241572 h 1037120"/>
                <a:gd name="connsiteX10" fmla="*/ 118684 w 1117644"/>
                <a:gd name="connsiteY10" fmla="*/ 330402 h 1037120"/>
                <a:gd name="connsiteX11" fmla="*/ 151850 w 1117644"/>
                <a:gd name="connsiteY11" fmla="*/ 367302 h 1037120"/>
                <a:gd name="connsiteX12" fmla="*/ 292096 w 1117644"/>
                <a:gd name="connsiteY12" fmla="*/ 367302 h 1037120"/>
                <a:gd name="connsiteX13" fmla="*/ 325300 w 1117644"/>
                <a:gd name="connsiteY13" fmla="*/ 330402 h 1037120"/>
                <a:gd name="connsiteX14" fmla="*/ 325300 w 1117644"/>
                <a:gd name="connsiteY14" fmla="*/ 273062 h 1037120"/>
                <a:gd name="connsiteX15" fmla="*/ 417369 w 1117644"/>
                <a:gd name="connsiteY15" fmla="*/ 188994 h 1037120"/>
                <a:gd name="connsiteX16" fmla="*/ 700680 w 1117644"/>
                <a:gd name="connsiteY16" fmla="*/ 188994 h 1037120"/>
                <a:gd name="connsiteX17" fmla="*/ 792768 w 1117644"/>
                <a:gd name="connsiteY17" fmla="*/ 273062 h 1037120"/>
                <a:gd name="connsiteX18" fmla="*/ 792768 w 1117644"/>
                <a:gd name="connsiteY18" fmla="*/ 363892 h 1037120"/>
                <a:gd name="connsiteX19" fmla="*/ 700680 w 1117644"/>
                <a:gd name="connsiteY19" fmla="*/ 447884 h 1037120"/>
                <a:gd name="connsiteX20" fmla="*/ 250 w 1117644"/>
                <a:gd name="connsiteY20" fmla="*/ 447884 h 1037120"/>
                <a:gd name="connsiteX21" fmla="*/ 250 w 1117644"/>
                <a:gd name="connsiteY21" fmla="*/ 636136 h 1037120"/>
                <a:gd name="connsiteX22" fmla="*/ 118188 w 1117644"/>
                <a:gd name="connsiteY22" fmla="*/ 636136 h 1037120"/>
                <a:gd name="connsiteX23" fmla="*/ 118188 w 1117644"/>
                <a:gd name="connsiteY23" fmla="*/ 668673 h 1037120"/>
                <a:gd name="connsiteX24" fmla="*/ 519800 w 1117644"/>
                <a:gd name="connsiteY24" fmla="*/ 1037157 h 1037120"/>
                <a:gd name="connsiteX25" fmla="*/ 1117894 w 1117644"/>
                <a:gd name="connsiteY25" fmla="*/ 1037157 h 1037120"/>
                <a:gd name="connsiteX26" fmla="*/ 1117894 w 1117644"/>
                <a:gd name="connsiteY26" fmla="*/ 848200 h 1037120"/>
                <a:gd name="connsiteX27" fmla="*/ 519115 w 1117644"/>
                <a:gd name="connsiteY27" fmla="*/ 848219 h 103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17644" h="1037120">
                  <a:moveTo>
                    <a:pt x="519115" y="848219"/>
                  </a:moveTo>
                  <a:cubicBezTo>
                    <a:pt x="412035" y="848219"/>
                    <a:pt x="324919" y="768248"/>
                    <a:pt x="324919" y="668711"/>
                  </a:cubicBezTo>
                  <a:lnTo>
                    <a:pt x="325338" y="636136"/>
                  </a:lnTo>
                  <a:lnTo>
                    <a:pt x="739428" y="636136"/>
                  </a:lnTo>
                  <a:cubicBezTo>
                    <a:pt x="882741" y="636136"/>
                    <a:pt x="999289" y="527798"/>
                    <a:pt x="999289" y="394601"/>
                  </a:cubicBezTo>
                  <a:lnTo>
                    <a:pt x="999289" y="241572"/>
                  </a:lnTo>
                  <a:cubicBezTo>
                    <a:pt x="999289" y="108375"/>
                    <a:pt x="882741" y="37"/>
                    <a:pt x="739428" y="37"/>
                  </a:cubicBezTo>
                  <a:lnTo>
                    <a:pt x="378107" y="37"/>
                  </a:lnTo>
                  <a:cubicBezTo>
                    <a:pt x="358028" y="37"/>
                    <a:pt x="337740" y="228"/>
                    <a:pt x="317775" y="4647"/>
                  </a:cubicBezTo>
                  <a:cubicBezTo>
                    <a:pt x="200294" y="30727"/>
                    <a:pt x="118684" y="129349"/>
                    <a:pt x="118684" y="241572"/>
                  </a:cubicBezTo>
                  <a:lnTo>
                    <a:pt x="118684" y="330402"/>
                  </a:lnTo>
                  <a:cubicBezTo>
                    <a:pt x="118684" y="350729"/>
                    <a:pt x="133543" y="367302"/>
                    <a:pt x="151850" y="367302"/>
                  </a:cubicBezTo>
                  <a:lnTo>
                    <a:pt x="292096" y="367302"/>
                  </a:lnTo>
                  <a:cubicBezTo>
                    <a:pt x="310422" y="367302"/>
                    <a:pt x="325300" y="350729"/>
                    <a:pt x="325300" y="330402"/>
                  </a:cubicBezTo>
                  <a:lnTo>
                    <a:pt x="325300" y="273062"/>
                  </a:lnTo>
                  <a:cubicBezTo>
                    <a:pt x="325300" y="226713"/>
                    <a:pt x="366600" y="188994"/>
                    <a:pt x="417369" y="188994"/>
                  </a:cubicBezTo>
                  <a:lnTo>
                    <a:pt x="700680" y="188994"/>
                  </a:lnTo>
                  <a:cubicBezTo>
                    <a:pt x="751467" y="188994"/>
                    <a:pt x="792768" y="226713"/>
                    <a:pt x="792768" y="273062"/>
                  </a:cubicBezTo>
                  <a:lnTo>
                    <a:pt x="792768" y="363892"/>
                  </a:lnTo>
                  <a:cubicBezTo>
                    <a:pt x="792768" y="410203"/>
                    <a:pt x="751467" y="447884"/>
                    <a:pt x="700680" y="447884"/>
                  </a:cubicBezTo>
                  <a:lnTo>
                    <a:pt x="250" y="447884"/>
                  </a:lnTo>
                  <a:lnTo>
                    <a:pt x="250" y="636136"/>
                  </a:lnTo>
                  <a:lnTo>
                    <a:pt x="118188" y="636136"/>
                  </a:lnTo>
                  <a:lnTo>
                    <a:pt x="118188" y="668673"/>
                  </a:lnTo>
                  <a:cubicBezTo>
                    <a:pt x="118188" y="872527"/>
                    <a:pt x="298859" y="1037157"/>
                    <a:pt x="519800" y="1037157"/>
                  </a:cubicBezTo>
                  <a:lnTo>
                    <a:pt x="1117894" y="1037157"/>
                  </a:lnTo>
                  <a:lnTo>
                    <a:pt x="1117894" y="848200"/>
                  </a:lnTo>
                  <a:lnTo>
                    <a:pt x="519115" y="848219"/>
                  </a:lnTo>
                  <a:close/>
                </a:path>
              </a:pathLst>
            </a:custGeom>
            <a:solidFill>
              <a:srgbClr val="96CD32"/>
            </a:solidFill>
            <a:ln w="19050" cap="flat">
              <a:noFill/>
              <a:prstDash val="solid"/>
              <a:round/>
            </a:ln>
          </p:spPr>
          <p:txBody>
            <a:bodyPr rtlCol="0" anchor="ctr"/>
            <a:lstStyle/>
            <a:p>
              <a:endParaRPr lang="fr-FR"/>
            </a:p>
          </p:txBody>
        </p:sp>
        <p:sp>
          <p:nvSpPr>
            <p:cNvPr id="13" name="Forme libre : forme 12">
              <a:extLst>
                <a:ext uri="{FF2B5EF4-FFF2-40B4-BE49-F238E27FC236}">
                  <a16:creationId xmlns:a16="http://schemas.microsoft.com/office/drawing/2014/main" id="{D7E896CC-AAEE-4D27-B259-9BDDE17707D4}"/>
                </a:ext>
              </a:extLst>
            </p:cNvPr>
            <p:cNvSpPr/>
            <p:nvPr/>
          </p:nvSpPr>
          <p:spPr>
            <a:xfrm>
              <a:off x="3231832" y="7185063"/>
              <a:ext cx="5132298" cy="1037139"/>
            </a:xfrm>
            <a:custGeom>
              <a:avLst/>
              <a:gdLst>
                <a:gd name="connsiteX0" fmla="*/ 4143956 w 5132298"/>
                <a:gd name="connsiteY0" fmla="*/ 78849 h 1037139"/>
                <a:gd name="connsiteX1" fmla="*/ 4143651 w 5132298"/>
                <a:gd name="connsiteY1" fmla="*/ 36939 h 1037139"/>
                <a:gd name="connsiteX2" fmla="*/ 4110447 w 5132298"/>
                <a:gd name="connsiteY2" fmla="*/ 78 h 1037139"/>
                <a:gd name="connsiteX3" fmla="*/ 3970639 w 5132298"/>
                <a:gd name="connsiteY3" fmla="*/ 78 h 1037139"/>
                <a:gd name="connsiteX4" fmla="*/ 3937435 w 5132298"/>
                <a:gd name="connsiteY4" fmla="*/ 36939 h 1037139"/>
                <a:gd name="connsiteX5" fmla="*/ 3937435 w 5132298"/>
                <a:gd name="connsiteY5" fmla="*/ 78849 h 1037139"/>
                <a:gd name="connsiteX6" fmla="*/ 3937454 w 5132298"/>
                <a:gd name="connsiteY6" fmla="*/ 78849 h 1037139"/>
                <a:gd name="connsiteX7" fmla="*/ 3937759 w 5132298"/>
                <a:gd name="connsiteY7" fmla="*/ 152249 h 1037139"/>
                <a:gd name="connsiteX8" fmla="*/ 3970963 w 5132298"/>
                <a:gd name="connsiteY8" fmla="*/ 189111 h 1037139"/>
                <a:gd name="connsiteX9" fmla="*/ 4110771 w 5132298"/>
                <a:gd name="connsiteY9" fmla="*/ 189111 h 1037139"/>
                <a:gd name="connsiteX10" fmla="*/ 4143975 w 5132298"/>
                <a:gd name="connsiteY10" fmla="*/ 152249 h 1037139"/>
                <a:gd name="connsiteX11" fmla="*/ 4143975 w 5132298"/>
                <a:gd name="connsiteY11" fmla="*/ 78849 h 1037139"/>
                <a:gd name="connsiteX12" fmla="*/ 4143956 w 5132298"/>
                <a:gd name="connsiteY12" fmla="*/ 78849 h 1037139"/>
                <a:gd name="connsiteX13" fmla="*/ 4143956 w 5132298"/>
                <a:gd name="connsiteY13" fmla="*/ 653397 h 1037139"/>
                <a:gd name="connsiteX14" fmla="*/ 4143651 w 5132298"/>
                <a:gd name="connsiteY14" fmla="*/ 306706 h 1037139"/>
                <a:gd name="connsiteX15" fmla="*/ 4110447 w 5132298"/>
                <a:gd name="connsiteY15" fmla="*/ 269845 h 1037139"/>
                <a:gd name="connsiteX16" fmla="*/ 3970639 w 5132298"/>
                <a:gd name="connsiteY16" fmla="*/ 269845 h 1037139"/>
                <a:gd name="connsiteX17" fmla="*/ 3937435 w 5132298"/>
                <a:gd name="connsiteY17" fmla="*/ 306706 h 1037139"/>
                <a:gd name="connsiteX18" fmla="*/ 3937435 w 5132298"/>
                <a:gd name="connsiteY18" fmla="*/ 653397 h 1037139"/>
                <a:gd name="connsiteX19" fmla="*/ 3937454 w 5132298"/>
                <a:gd name="connsiteY19" fmla="*/ 653397 h 1037139"/>
                <a:gd name="connsiteX20" fmla="*/ 3937759 w 5132298"/>
                <a:gd name="connsiteY20" fmla="*/ 1000069 h 1037139"/>
                <a:gd name="connsiteX21" fmla="*/ 3970963 w 5132298"/>
                <a:gd name="connsiteY21" fmla="*/ 1036931 h 1037139"/>
                <a:gd name="connsiteX22" fmla="*/ 4110771 w 5132298"/>
                <a:gd name="connsiteY22" fmla="*/ 1036931 h 1037139"/>
                <a:gd name="connsiteX23" fmla="*/ 4143975 w 5132298"/>
                <a:gd name="connsiteY23" fmla="*/ 1000069 h 1037139"/>
                <a:gd name="connsiteX24" fmla="*/ 4143975 w 5132298"/>
                <a:gd name="connsiteY24" fmla="*/ 653397 h 1037139"/>
                <a:gd name="connsiteX25" fmla="*/ 4143956 w 5132298"/>
                <a:gd name="connsiteY25" fmla="*/ 653397 h 1037139"/>
                <a:gd name="connsiteX26" fmla="*/ 3441430 w 5132298"/>
                <a:gd name="connsiteY26" fmla="*/ 78 h 1037139"/>
                <a:gd name="connsiteX27" fmla="*/ 2991355 w 5132298"/>
                <a:gd name="connsiteY27" fmla="*/ 78 h 1037139"/>
                <a:gd name="connsiteX28" fmla="*/ 2958131 w 5132298"/>
                <a:gd name="connsiteY28" fmla="*/ 37035 h 1037139"/>
                <a:gd name="connsiteX29" fmla="*/ 2958131 w 5132298"/>
                <a:gd name="connsiteY29" fmla="*/ 646958 h 1037139"/>
                <a:gd name="connsiteX30" fmla="*/ 2991297 w 5132298"/>
                <a:gd name="connsiteY30" fmla="*/ 683858 h 1037139"/>
                <a:gd name="connsiteX31" fmla="*/ 3131391 w 5132298"/>
                <a:gd name="connsiteY31" fmla="*/ 683858 h 1037139"/>
                <a:gd name="connsiteX32" fmla="*/ 3164595 w 5132298"/>
                <a:gd name="connsiteY32" fmla="*/ 646958 h 1037139"/>
                <a:gd name="connsiteX33" fmla="*/ 3164786 w 5132298"/>
                <a:gd name="connsiteY33" fmla="*/ 189015 h 1037139"/>
                <a:gd name="connsiteX34" fmla="*/ 3418284 w 5132298"/>
                <a:gd name="connsiteY34" fmla="*/ 189111 h 1037139"/>
                <a:gd name="connsiteX35" fmla="*/ 3612499 w 5132298"/>
                <a:gd name="connsiteY35" fmla="*/ 369762 h 1037139"/>
                <a:gd name="connsiteX36" fmla="*/ 3612499 w 5132298"/>
                <a:gd name="connsiteY36" fmla="*/ 702794 h 1037139"/>
                <a:gd name="connsiteX37" fmla="*/ 3418284 w 5132298"/>
                <a:gd name="connsiteY37" fmla="*/ 847822 h 1037139"/>
                <a:gd name="connsiteX38" fmla="*/ 2958131 w 5132298"/>
                <a:gd name="connsiteY38" fmla="*/ 848298 h 1037139"/>
                <a:gd name="connsiteX39" fmla="*/ 2958131 w 5132298"/>
                <a:gd name="connsiteY39" fmla="*/ 1037217 h 1037139"/>
                <a:gd name="connsiteX40" fmla="*/ 3418284 w 5132298"/>
                <a:gd name="connsiteY40" fmla="*/ 1036931 h 1037139"/>
                <a:gd name="connsiteX41" fmla="*/ 3818982 w 5132298"/>
                <a:gd name="connsiteY41" fmla="*/ 702794 h 1037139"/>
                <a:gd name="connsiteX42" fmla="*/ 3818982 w 5132298"/>
                <a:gd name="connsiteY42" fmla="*/ 367590 h 1037139"/>
                <a:gd name="connsiteX43" fmla="*/ 3441430 w 5132298"/>
                <a:gd name="connsiteY43" fmla="*/ 78 h 1037139"/>
                <a:gd name="connsiteX44" fmla="*/ 5132651 w 5132298"/>
                <a:gd name="connsiteY44" fmla="*/ 679820 h 1037139"/>
                <a:gd name="connsiteX45" fmla="*/ 5131660 w 5132298"/>
                <a:gd name="connsiteY45" fmla="*/ 650425 h 1037139"/>
                <a:gd name="connsiteX46" fmla="*/ 4877591 w 5132298"/>
                <a:gd name="connsiteY46" fmla="*/ 447943 h 1037139"/>
                <a:gd name="connsiteX47" fmla="*/ 4567171 w 5132298"/>
                <a:gd name="connsiteY47" fmla="*/ 447943 h 1037139"/>
                <a:gd name="connsiteX48" fmla="*/ 4559208 w 5132298"/>
                <a:gd name="connsiteY48" fmla="*/ 447924 h 1037139"/>
                <a:gd name="connsiteX49" fmla="*/ 4469063 w 5132298"/>
                <a:gd name="connsiteY49" fmla="*/ 349759 h 1037139"/>
                <a:gd name="connsiteX50" fmla="*/ 4469368 w 5132298"/>
                <a:gd name="connsiteY50" fmla="*/ 279312 h 1037139"/>
                <a:gd name="connsiteX51" fmla="*/ 4567533 w 5132298"/>
                <a:gd name="connsiteY51" fmla="*/ 189187 h 1037139"/>
                <a:gd name="connsiteX52" fmla="*/ 4690043 w 5132298"/>
                <a:gd name="connsiteY52" fmla="*/ 189187 h 1037139"/>
                <a:gd name="connsiteX53" fmla="*/ 4691243 w 5132298"/>
                <a:gd name="connsiteY53" fmla="*/ 189225 h 1037139"/>
                <a:gd name="connsiteX54" fmla="*/ 5000825 w 5132298"/>
                <a:gd name="connsiteY54" fmla="*/ 189225 h 1037139"/>
                <a:gd name="connsiteX55" fmla="*/ 5035706 w 5132298"/>
                <a:gd name="connsiteY55" fmla="*/ 166270 h 1037139"/>
                <a:gd name="connsiteX56" fmla="*/ 5037687 w 5132298"/>
                <a:gd name="connsiteY56" fmla="*/ 156021 h 1037139"/>
                <a:gd name="connsiteX57" fmla="*/ 5037687 w 5132298"/>
                <a:gd name="connsiteY57" fmla="*/ 33282 h 1037139"/>
                <a:gd name="connsiteX58" fmla="*/ 5000825 w 5132298"/>
                <a:gd name="connsiteY58" fmla="*/ 116 h 1037139"/>
                <a:gd name="connsiteX59" fmla="*/ 4517869 w 5132298"/>
                <a:gd name="connsiteY59" fmla="*/ 173 h 1037139"/>
                <a:gd name="connsiteX60" fmla="*/ 4262409 w 5132298"/>
                <a:gd name="connsiteY60" fmla="*/ 235555 h 1037139"/>
                <a:gd name="connsiteX61" fmla="*/ 4262428 w 5132298"/>
                <a:gd name="connsiteY61" fmla="*/ 382392 h 1037139"/>
                <a:gd name="connsiteX62" fmla="*/ 4497886 w 5132298"/>
                <a:gd name="connsiteY62" fmla="*/ 636214 h 1037139"/>
                <a:gd name="connsiteX63" fmla="*/ 4836309 w 5132298"/>
                <a:gd name="connsiteY63" fmla="*/ 636214 h 1037139"/>
                <a:gd name="connsiteX64" fmla="*/ 4925977 w 5132298"/>
                <a:gd name="connsiteY64" fmla="*/ 734398 h 1037139"/>
                <a:gd name="connsiteX65" fmla="*/ 4925977 w 5132298"/>
                <a:gd name="connsiteY65" fmla="*/ 757944 h 1037139"/>
                <a:gd name="connsiteX66" fmla="*/ 4828289 w 5132298"/>
                <a:gd name="connsiteY66" fmla="*/ 848050 h 1037139"/>
                <a:gd name="connsiteX67" fmla="*/ 4299290 w 5132298"/>
                <a:gd name="connsiteY67" fmla="*/ 848050 h 1037139"/>
                <a:gd name="connsiteX68" fmla="*/ 4264447 w 5132298"/>
                <a:gd name="connsiteY68" fmla="*/ 870872 h 1037139"/>
                <a:gd name="connsiteX69" fmla="*/ 4262390 w 5132298"/>
                <a:gd name="connsiteY69" fmla="*/ 881216 h 1037139"/>
                <a:gd name="connsiteX70" fmla="*/ 4262390 w 5132298"/>
                <a:gd name="connsiteY70" fmla="*/ 1003955 h 1037139"/>
                <a:gd name="connsiteX71" fmla="*/ 4299290 w 5132298"/>
                <a:gd name="connsiteY71" fmla="*/ 1037160 h 1037139"/>
                <a:gd name="connsiteX72" fmla="*/ 4732296 w 5132298"/>
                <a:gd name="connsiteY72" fmla="*/ 1037160 h 1037139"/>
                <a:gd name="connsiteX73" fmla="*/ 4879172 w 5132298"/>
                <a:gd name="connsiteY73" fmla="*/ 1037083 h 1037139"/>
                <a:gd name="connsiteX74" fmla="*/ 5132651 w 5132298"/>
                <a:gd name="connsiteY74" fmla="*/ 801587 h 1037139"/>
                <a:gd name="connsiteX75" fmla="*/ 5132651 w 5132298"/>
                <a:gd name="connsiteY75" fmla="*/ 679820 h 1037139"/>
                <a:gd name="connsiteX76" fmla="*/ 280863 w 5132298"/>
                <a:gd name="connsiteY76" fmla="*/ 189111 h 1037139"/>
                <a:gd name="connsiteX77" fmla="*/ 825046 w 5132298"/>
                <a:gd name="connsiteY77" fmla="*/ 189111 h 1037139"/>
                <a:gd name="connsiteX78" fmla="*/ 861203 w 5132298"/>
                <a:gd name="connsiteY78" fmla="*/ 156573 h 1037139"/>
                <a:gd name="connsiteX79" fmla="*/ 861203 w 5132298"/>
                <a:gd name="connsiteY79" fmla="*/ 32729 h 1037139"/>
                <a:gd name="connsiteX80" fmla="*/ 825046 w 5132298"/>
                <a:gd name="connsiteY80" fmla="*/ 78 h 1037139"/>
                <a:gd name="connsiteX81" fmla="*/ 277073 w 5132298"/>
                <a:gd name="connsiteY81" fmla="*/ 78 h 1037139"/>
                <a:gd name="connsiteX82" fmla="*/ 352 w 5132298"/>
                <a:gd name="connsiteY82" fmla="*/ 255005 h 1037139"/>
                <a:gd name="connsiteX83" fmla="*/ 352 w 5132298"/>
                <a:gd name="connsiteY83" fmla="*/ 782309 h 1037139"/>
                <a:gd name="connsiteX84" fmla="*/ 277073 w 5132298"/>
                <a:gd name="connsiteY84" fmla="*/ 1037217 h 1037139"/>
                <a:gd name="connsiteX85" fmla="*/ 825046 w 5132298"/>
                <a:gd name="connsiteY85" fmla="*/ 1037217 h 1037139"/>
                <a:gd name="connsiteX86" fmla="*/ 861203 w 5132298"/>
                <a:gd name="connsiteY86" fmla="*/ 1004660 h 1037139"/>
                <a:gd name="connsiteX87" fmla="*/ 861203 w 5132298"/>
                <a:gd name="connsiteY87" fmla="*/ 880816 h 1037139"/>
                <a:gd name="connsiteX88" fmla="*/ 825046 w 5132298"/>
                <a:gd name="connsiteY88" fmla="*/ 848298 h 1037139"/>
                <a:gd name="connsiteX89" fmla="*/ 280863 w 5132298"/>
                <a:gd name="connsiteY89" fmla="*/ 848298 h 1037139"/>
                <a:gd name="connsiteX90" fmla="*/ 207006 w 5132298"/>
                <a:gd name="connsiteY90" fmla="*/ 779051 h 1037139"/>
                <a:gd name="connsiteX91" fmla="*/ 207006 w 5132298"/>
                <a:gd name="connsiteY91" fmla="*/ 634347 h 1037139"/>
                <a:gd name="connsiteX92" fmla="*/ 532457 w 5132298"/>
                <a:gd name="connsiteY92" fmla="*/ 634347 h 1037139"/>
                <a:gd name="connsiteX93" fmla="*/ 568595 w 5132298"/>
                <a:gd name="connsiteY93" fmla="*/ 601772 h 1037139"/>
                <a:gd name="connsiteX94" fmla="*/ 568595 w 5132298"/>
                <a:gd name="connsiteY94" fmla="*/ 480557 h 1037139"/>
                <a:gd name="connsiteX95" fmla="*/ 532457 w 5132298"/>
                <a:gd name="connsiteY95" fmla="*/ 447943 h 1037139"/>
                <a:gd name="connsiteX96" fmla="*/ 207006 w 5132298"/>
                <a:gd name="connsiteY96" fmla="*/ 447943 h 1037139"/>
                <a:gd name="connsiteX97" fmla="*/ 207006 w 5132298"/>
                <a:gd name="connsiteY97" fmla="*/ 258395 h 1037139"/>
                <a:gd name="connsiteX98" fmla="*/ 280863 w 5132298"/>
                <a:gd name="connsiteY98" fmla="*/ 189111 h 1037139"/>
                <a:gd name="connsiteX99" fmla="*/ 1186405 w 5132298"/>
                <a:gd name="connsiteY99" fmla="*/ 189130 h 1037139"/>
                <a:gd name="connsiteX100" fmla="*/ 1186405 w 5132298"/>
                <a:gd name="connsiteY100" fmla="*/ 1000336 h 1037139"/>
                <a:gd name="connsiteX101" fmla="*/ 1153144 w 5132298"/>
                <a:gd name="connsiteY101" fmla="*/ 1037198 h 1037139"/>
                <a:gd name="connsiteX102" fmla="*/ 1012879 w 5132298"/>
                <a:gd name="connsiteY102" fmla="*/ 1037198 h 1037139"/>
                <a:gd name="connsiteX103" fmla="*/ 979656 w 5132298"/>
                <a:gd name="connsiteY103" fmla="*/ 1000336 h 1037139"/>
                <a:gd name="connsiteX104" fmla="*/ 979656 w 5132298"/>
                <a:gd name="connsiteY104" fmla="*/ 37035 h 1037139"/>
                <a:gd name="connsiteX105" fmla="*/ 1012879 w 5132298"/>
                <a:gd name="connsiteY105" fmla="*/ 116 h 1037139"/>
                <a:gd name="connsiteX106" fmla="*/ 1439846 w 5132298"/>
                <a:gd name="connsiteY106" fmla="*/ 116 h 1037139"/>
                <a:gd name="connsiteX107" fmla="*/ 1840506 w 5132298"/>
                <a:gd name="connsiteY107" fmla="*/ 369838 h 1037139"/>
                <a:gd name="connsiteX108" fmla="*/ 1840506 w 5132298"/>
                <a:gd name="connsiteY108" fmla="*/ 1004032 h 1037139"/>
                <a:gd name="connsiteX109" fmla="*/ 1803625 w 5132298"/>
                <a:gd name="connsiteY109" fmla="*/ 1037198 h 1037139"/>
                <a:gd name="connsiteX110" fmla="*/ 1670885 w 5132298"/>
                <a:gd name="connsiteY110" fmla="*/ 1037198 h 1037139"/>
                <a:gd name="connsiteX111" fmla="*/ 1634023 w 5132298"/>
                <a:gd name="connsiteY111" fmla="*/ 1004032 h 1037139"/>
                <a:gd name="connsiteX112" fmla="*/ 1634023 w 5132298"/>
                <a:gd name="connsiteY112" fmla="*/ 369838 h 1037139"/>
                <a:gd name="connsiteX113" fmla="*/ 1439846 w 5132298"/>
                <a:gd name="connsiteY113" fmla="*/ 189225 h 1037139"/>
                <a:gd name="connsiteX114" fmla="*/ 1186405 w 5132298"/>
                <a:gd name="connsiteY114" fmla="*/ 189130 h 103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5132298" h="1037139">
                  <a:moveTo>
                    <a:pt x="4143956" y="78849"/>
                  </a:moveTo>
                  <a:lnTo>
                    <a:pt x="4143651" y="36939"/>
                  </a:lnTo>
                  <a:cubicBezTo>
                    <a:pt x="4143651" y="16613"/>
                    <a:pt x="4128754" y="78"/>
                    <a:pt x="4110447" y="78"/>
                  </a:cubicBezTo>
                  <a:lnTo>
                    <a:pt x="3970639" y="78"/>
                  </a:lnTo>
                  <a:cubicBezTo>
                    <a:pt x="3952351" y="78"/>
                    <a:pt x="3937435" y="16613"/>
                    <a:pt x="3937435" y="36939"/>
                  </a:cubicBezTo>
                  <a:lnTo>
                    <a:pt x="3937435" y="78849"/>
                  </a:lnTo>
                  <a:lnTo>
                    <a:pt x="3937454" y="78849"/>
                  </a:lnTo>
                  <a:lnTo>
                    <a:pt x="3937759" y="152249"/>
                  </a:lnTo>
                  <a:cubicBezTo>
                    <a:pt x="3937759" y="172575"/>
                    <a:pt x="3952637" y="189111"/>
                    <a:pt x="3970963" y="189111"/>
                  </a:cubicBezTo>
                  <a:lnTo>
                    <a:pt x="4110771" y="189111"/>
                  </a:lnTo>
                  <a:cubicBezTo>
                    <a:pt x="4129059" y="189111"/>
                    <a:pt x="4143975" y="172575"/>
                    <a:pt x="4143975" y="152249"/>
                  </a:cubicBezTo>
                  <a:lnTo>
                    <a:pt x="4143975" y="78849"/>
                  </a:lnTo>
                  <a:lnTo>
                    <a:pt x="4143956" y="78849"/>
                  </a:lnTo>
                  <a:close/>
                  <a:moveTo>
                    <a:pt x="4143956" y="653397"/>
                  </a:moveTo>
                  <a:lnTo>
                    <a:pt x="4143651" y="306706"/>
                  </a:lnTo>
                  <a:cubicBezTo>
                    <a:pt x="4143651" y="286361"/>
                    <a:pt x="4128754" y="269845"/>
                    <a:pt x="4110447" y="269845"/>
                  </a:cubicBezTo>
                  <a:lnTo>
                    <a:pt x="3970639" y="269845"/>
                  </a:lnTo>
                  <a:cubicBezTo>
                    <a:pt x="3952351" y="269845"/>
                    <a:pt x="3937435" y="286361"/>
                    <a:pt x="3937435" y="306706"/>
                  </a:cubicBezTo>
                  <a:lnTo>
                    <a:pt x="3937435" y="653397"/>
                  </a:lnTo>
                  <a:lnTo>
                    <a:pt x="3937454" y="653397"/>
                  </a:lnTo>
                  <a:lnTo>
                    <a:pt x="3937759" y="1000069"/>
                  </a:lnTo>
                  <a:cubicBezTo>
                    <a:pt x="3937759" y="1020396"/>
                    <a:pt x="3952637" y="1036931"/>
                    <a:pt x="3970963" y="1036931"/>
                  </a:cubicBezTo>
                  <a:lnTo>
                    <a:pt x="4110771" y="1036931"/>
                  </a:lnTo>
                  <a:cubicBezTo>
                    <a:pt x="4129059" y="1036931"/>
                    <a:pt x="4143975" y="1020396"/>
                    <a:pt x="4143975" y="1000069"/>
                  </a:cubicBezTo>
                  <a:lnTo>
                    <a:pt x="4143975" y="653397"/>
                  </a:lnTo>
                  <a:lnTo>
                    <a:pt x="4143956" y="653397"/>
                  </a:lnTo>
                  <a:close/>
                  <a:moveTo>
                    <a:pt x="3441430" y="78"/>
                  </a:moveTo>
                  <a:lnTo>
                    <a:pt x="2991355" y="78"/>
                  </a:lnTo>
                  <a:cubicBezTo>
                    <a:pt x="2973029" y="78"/>
                    <a:pt x="2958131" y="16670"/>
                    <a:pt x="2958131" y="37035"/>
                  </a:cubicBezTo>
                  <a:lnTo>
                    <a:pt x="2958131" y="646958"/>
                  </a:lnTo>
                  <a:cubicBezTo>
                    <a:pt x="2958131" y="667323"/>
                    <a:pt x="2973009" y="683858"/>
                    <a:pt x="2991297" y="683858"/>
                  </a:cubicBezTo>
                  <a:lnTo>
                    <a:pt x="3131391" y="683858"/>
                  </a:lnTo>
                  <a:cubicBezTo>
                    <a:pt x="3149717" y="683858"/>
                    <a:pt x="3164595" y="667323"/>
                    <a:pt x="3164595" y="646958"/>
                  </a:cubicBezTo>
                  <a:lnTo>
                    <a:pt x="3164786" y="189015"/>
                  </a:lnTo>
                  <a:lnTo>
                    <a:pt x="3418284" y="189111"/>
                  </a:lnTo>
                  <a:cubicBezTo>
                    <a:pt x="3525383" y="189111"/>
                    <a:pt x="3612499" y="270149"/>
                    <a:pt x="3612499" y="369762"/>
                  </a:cubicBezTo>
                  <a:lnTo>
                    <a:pt x="3612499" y="702794"/>
                  </a:lnTo>
                  <a:cubicBezTo>
                    <a:pt x="3612499" y="802368"/>
                    <a:pt x="3525383" y="847822"/>
                    <a:pt x="3418284" y="847822"/>
                  </a:cubicBezTo>
                  <a:lnTo>
                    <a:pt x="2958131" y="848298"/>
                  </a:lnTo>
                  <a:lnTo>
                    <a:pt x="2958131" y="1037217"/>
                  </a:lnTo>
                  <a:lnTo>
                    <a:pt x="3418284" y="1036931"/>
                  </a:lnTo>
                  <a:cubicBezTo>
                    <a:pt x="3639226" y="1036931"/>
                    <a:pt x="3818982" y="906648"/>
                    <a:pt x="3818982" y="702794"/>
                  </a:cubicBezTo>
                  <a:lnTo>
                    <a:pt x="3818982" y="367590"/>
                  </a:lnTo>
                  <a:cubicBezTo>
                    <a:pt x="3818982" y="171985"/>
                    <a:pt x="3654866" y="78"/>
                    <a:pt x="3441430" y="78"/>
                  </a:cubicBezTo>
                  <a:moveTo>
                    <a:pt x="5132651" y="679820"/>
                  </a:moveTo>
                  <a:cubicBezTo>
                    <a:pt x="5132651" y="670447"/>
                    <a:pt x="5132575" y="660846"/>
                    <a:pt x="5131660" y="650425"/>
                  </a:cubicBezTo>
                  <a:cubicBezTo>
                    <a:pt x="5121469" y="535230"/>
                    <a:pt x="5002749" y="447943"/>
                    <a:pt x="4877591" y="447943"/>
                  </a:cubicBezTo>
                  <a:lnTo>
                    <a:pt x="4567171" y="447943"/>
                  </a:lnTo>
                  <a:lnTo>
                    <a:pt x="4559208" y="447924"/>
                  </a:lnTo>
                  <a:cubicBezTo>
                    <a:pt x="4509487" y="447924"/>
                    <a:pt x="4469063" y="403861"/>
                    <a:pt x="4469063" y="349759"/>
                  </a:cubicBezTo>
                  <a:lnTo>
                    <a:pt x="4469368" y="279312"/>
                  </a:lnTo>
                  <a:cubicBezTo>
                    <a:pt x="4469368" y="229630"/>
                    <a:pt x="4513412" y="189187"/>
                    <a:pt x="4567533" y="189187"/>
                  </a:cubicBezTo>
                  <a:lnTo>
                    <a:pt x="4690043" y="189187"/>
                  </a:lnTo>
                  <a:lnTo>
                    <a:pt x="4691243" y="189225"/>
                  </a:lnTo>
                  <a:lnTo>
                    <a:pt x="5000825" y="189225"/>
                  </a:lnTo>
                  <a:cubicBezTo>
                    <a:pt x="5016656" y="189225"/>
                    <a:pt x="5030676" y="180005"/>
                    <a:pt x="5035706" y="166270"/>
                  </a:cubicBezTo>
                  <a:cubicBezTo>
                    <a:pt x="5037039" y="162612"/>
                    <a:pt x="5037687" y="159259"/>
                    <a:pt x="5037687" y="156021"/>
                  </a:cubicBezTo>
                  <a:lnTo>
                    <a:pt x="5037687" y="33282"/>
                  </a:lnTo>
                  <a:cubicBezTo>
                    <a:pt x="5037687" y="14956"/>
                    <a:pt x="5021151" y="116"/>
                    <a:pt x="5000825" y="116"/>
                  </a:cubicBezTo>
                  <a:lnTo>
                    <a:pt x="4517869" y="173"/>
                  </a:lnTo>
                  <a:cubicBezTo>
                    <a:pt x="4377928" y="173"/>
                    <a:pt x="4262409" y="105805"/>
                    <a:pt x="4262409" y="235555"/>
                  </a:cubicBezTo>
                  <a:lnTo>
                    <a:pt x="4262428" y="382392"/>
                  </a:lnTo>
                  <a:cubicBezTo>
                    <a:pt x="4262428" y="522352"/>
                    <a:pt x="4368041" y="636214"/>
                    <a:pt x="4497886" y="636214"/>
                  </a:cubicBezTo>
                  <a:lnTo>
                    <a:pt x="4836309" y="636214"/>
                  </a:lnTo>
                  <a:cubicBezTo>
                    <a:pt x="4885992" y="636214"/>
                    <a:pt x="4925977" y="680258"/>
                    <a:pt x="4925977" y="734398"/>
                  </a:cubicBezTo>
                  <a:lnTo>
                    <a:pt x="4925977" y="757944"/>
                  </a:lnTo>
                  <a:cubicBezTo>
                    <a:pt x="4925977" y="807645"/>
                    <a:pt x="4882410" y="848050"/>
                    <a:pt x="4828289" y="848050"/>
                  </a:cubicBezTo>
                  <a:lnTo>
                    <a:pt x="4299290" y="848050"/>
                  </a:lnTo>
                  <a:cubicBezTo>
                    <a:pt x="4283440" y="848050"/>
                    <a:pt x="4269419" y="857213"/>
                    <a:pt x="4264447" y="870872"/>
                  </a:cubicBezTo>
                  <a:cubicBezTo>
                    <a:pt x="4263057" y="874606"/>
                    <a:pt x="4262390" y="877997"/>
                    <a:pt x="4262390" y="881216"/>
                  </a:cubicBezTo>
                  <a:lnTo>
                    <a:pt x="4262390" y="1003955"/>
                  </a:lnTo>
                  <a:cubicBezTo>
                    <a:pt x="4262390" y="1022262"/>
                    <a:pt x="4278944" y="1037160"/>
                    <a:pt x="4299290" y="1037160"/>
                  </a:cubicBezTo>
                  <a:lnTo>
                    <a:pt x="4732296" y="1037160"/>
                  </a:lnTo>
                  <a:lnTo>
                    <a:pt x="4879172" y="1037083"/>
                  </a:lnTo>
                  <a:cubicBezTo>
                    <a:pt x="5019075" y="1037083"/>
                    <a:pt x="5132651" y="931470"/>
                    <a:pt x="5132651" y="801587"/>
                  </a:cubicBezTo>
                  <a:lnTo>
                    <a:pt x="5132651" y="679820"/>
                  </a:lnTo>
                  <a:close/>
                  <a:moveTo>
                    <a:pt x="280863" y="189111"/>
                  </a:moveTo>
                  <a:lnTo>
                    <a:pt x="825046" y="189111"/>
                  </a:lnTo>
                  <a:cubicBezTo>
                    <a:pt x="844972" y="189111"/>
                    <a:pt x="861203" y="174518"/>
                    <a:pt x="861203" y="156573"/>
                  </a:cubicBezTo>
                  <a:lnTo>
                    <a:pt x="861203" y="32729"/>
                  </a:lnTo>
                  <a:cubicBezTo>
                    <a:pt x="861203" y="14746"/>
                    <a:pt x="845734" y="78"/>
                    <a:pt x="825046" y="78"/>
                  </a:cubicBezTo>
                  <a:lnTo>
                    <a:pt x="277073" y="78"/>
                  </a:lnTo>
                  <a:cubicBezTo>
                    <a:pt x="124501" y="78"/>
                    <a:pt x="352" y="114301"/>
                    <a:pt x="352" y="255005"/>
                  </a:cubicBezTo>
                  <a:lnTo>
                    <a:pt x="352" y="782309"/>
                  </a:lnTo>
                  <a:cubicBezTo>
                    <a:pt x="352" y="922955"/>
                    <a:pt x="124501" y="1037217"/>
                    <a:pt x="277073" y="1037217"/>
                  </a:cubicBezTo>
                  <a:lnTo>
                    <a:pt x="825046" y="1037217"/>
                  </a:lnTo>
                  <a:cubicBezTo>
                    <a:pt x="844972" y="1037217"/>
                    <a:pt x="861203" y="1022605"/>
                    <a:pt x="861203" y="1004660"/>
                  </a:cubicBezTo>
                  <a:lnTo>
                    <a:pt x="861203" y="880816"/>
                  </a:lnTo>
                  <a:cubicBezTo>
                    <a:pt x="861203" y="862871"/>
                    <a:pt x="844972" y="848298"/>
                    <a:pt x="825046" y="848298"/>
                  </a:cubicBezTo>
                  <a:lnTo>
                    <a:pt x="280863" y="848298"/>
                  </a:lnTo>
                  <a:cubicBezTo>
                    <a:pt x="240839" y="848298"/>
                    <a:pt x="207006" y="816580"/>
                    <a:pt x="207006" y="779051"/>
                  </a:cubicBezTo>
                  <a:lnTo>
                    <a:pt x="207006" y="634347"/>
                  </a:lnTo>
                  <a:lnTo>
                    <a:pt x="532457" y="634347"/>
                  </a:lnTo>
                  <a:cubicBezTo>
                    <a:pt x="552383" y="634347"/>
                    <a:pt x="568595" y="619717"/>
                    <a:pt x="568595" y="601772"/>
                  </a:cubicBezTo>
                  <a:lnTo>
                    <a:pt x="568595" y="480557"/>
                  </a:lnTo>
                  <a:cubicBezTo>
                    <a:pt x="568595" y="462573"/>
                    <a:pt x="552383" y="447943"/>
                    <a:pt x="532457" y="447943"/>
                  </a:cubicBezTo>
                  <a:lnTo>
                    <a:pt x="207006" y="447943"/>
                  </a:lnTo>
                  <a:lnTo>
                    <a:pt x="207006" y="258395"/>
                  </a:lnTo>
                  <a:cubicBezTo>
                    <a:pt x="207006" y="220829"/>
                    <a:pt x="240839" y="189111"/>
                    <a:pt x="280863" y="189111"/>
                  </a:cubicBezTo>
                  <a:moveTo>
                    <a:pt x="1186405" y="189130"/>
                  </a:moveTo>
                  <a:lnTo>
                    <a:pt x="1186405" y="1000336"/>
                  </a:lnTo>
                  <a:cubicBezTo>
                    <a:pt x="1186405" y="1020662"/>
                    <a:pt x="1171470" y="1037198"/>
                    <a:pt x="1153144" y="1037198"/>
                  </a:cubicBezTo>
                  <a:lnTo>
                    <a:pt x="1012879" y="1037198"/>
                  </a:lnTo>
                  <a:cubicBezTo>
                    <a:pt x="994553" y="1037198"/>
                    <a:pt x="979656" y="1020662"/>
                    <a:pt x="979656" y="1000336"/>
                  </a:cubicBezTo>
                  <a:lnTo>
                    <a:pt x="979656" y="37035"/>
                  </a:lnTo>
                  <a:cubicBezTo>
                    <a:pt x="979656" y="16670"/>
                    <a:pt x="994553" y="116"/>
                    <a:pt x="1012879" y="116"/>
                  </a:cubicBezTo>
                  <a:lnTo>
                    <a:pt x="1439846" y="116"/>
                  </a:lnTo>
                  <a:cubicBezTo>
                    <a:pt x="1660769" y="116"/>
                    <a:pt x="1840506" y="165946"/>
                    <a:pt x="1840506" y="369838"/>
                  </a:cubicBezTo>
                  <a:lnTo>
                    <a:pt x="1840506" y="1004032"/>
                  </a:lnTo>
                  <a:cubicBezTo>
                    <a:pt x="1840506" y="1022339"/>
                    <a:pt x="1823971" y="1037198"/>
                    <a:pt x="1803625" y="1037198"/>
                  </a:cubicBezTo>
                  <a:lnTo>
                    <a:pt x="1670885" y="1037198"/>
                  </a:lnTo>
                  <a:cubicBezTo>
                    <a:pt x="1650559" y="1037198"/>
                    <a:pt x="1634023" y="1022339"/>
                    <a:pt x="1634023" y="1004032"/>
                  </a:cubicBezTo>
                  <a:lnTo>
                    <a:pt x="1634023" y="369838"/>
                  </a:lnTo>
                  <a:cubicBezTo>
                    <a:pt x="1634023" y="270264"/>
                    <a:pt x="1546926" y="189225"/>
                    <a:pt x="1439846" y="189225"/>
                  </a:cubicBezTo>
                  <a:lnTo>
                    <a:pt x="1186405" y="189130"/>
                  </a:lnTo>
                  <a:close/>
                </a:path>
              </a:pathLst>
            </a:custGeom>
            <a:solidFill>
              <a:schemeClr val="tx2"/>
            </a:solidFill>
            <a:ln w="19050" cap="flat">
              <a:noFill/>
              <a:prstDash val="solid"/>
              <a:round/>
            </a:ln>
          </p:spPr>
          <p:txBody>
            <a:bodyPr rtlCol="0" anchor="ctr"/>
            <a:lstStyle/>
            <a:p>
              <a:endParaRPr lang="fr-FR"/>
            </a:p>
          </p:txBody>
        </p:sp>
      </p:grpSp>
    </p:spTree>
    <p:extLst>
      <p:ext uri="{BB962C8B-B14F-4D97-AF65-F5344CB8AC3E}">
        <p14:creationId xmlns:p14="http://schemas.microsoft.com/office/powerpoint/2010/main" val="2600889636"/>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Lst>
  <p:timing>
    <p:tnLst>
      <p:par>
        <p:cTn id="1" dur="indefinite" restart="never" nodeType="tmRoot"/>
      </p:par>
    </p:tnLst>
  </p:timing>
  <p:hf hdr="0"/>
  <p:txStyles>
    <p:titleStyle>
      <a:lvl1pPr algn="l" defTabSz="914377" rtl="0" eaLnBrk="1" latinLnBrk="0" hangingPunct="1">
        <a:lnSpc>
          <a:spcPct val="80000"/>
        </a:lnSpc>
        <a:spcBef>
          <a:spcPts val="0"/>
        </a:spcBef>
        <a:buNone/>
        <a:defRPr sz="2800" b="0" kern="1200" baseline="0">
          <a:solidFill>
            <a:schemeClr val="tx2"/>
          </a:solidFill>
          <a:latin typeface="+mj-lt"/>
          <a:ea typeface="+mj-ea"/>
          <a:cs typeface="+mj-cs"/>
        </a:defRPr>
      </a:lvl1pPr>
    </p:titleStyle>
    <p:bodyStyle>
      <a:lvl1pPr marL="0" indent="0" algn="l" defTabSz="914377" rtl="0" eaLnBrk="1" latinLnBrk="0" hangingPunct="1">
        <a:lnSpc>
          <a:spcPct val="90000"/>
        </a:lnSpc>
        <a:spcBef>
          <a:spcPts val="600"/>
        </a:spcBef>
        <a:buFont typeface="Arial" panose="020B0604020202020204" pitchFamily="34" charset="0"/>
        <a:buNone/>
        <a:defRPr sz="1600" kern="1200">
          <a:solidFill>
            <a:schemeClr val="tx2"/>
          </a:solidFill>
          <a:latin typeface="Enedis Medium" pitchFamily="2" charset="0"/>
          <a:ea typeface="+mn-ea"/>
          <a:cs typeface="+mn-cs"/>
        </a:defRPr>
      </a:lvl1pPr>
      <a:lvl2pPr marL="0" indent="0" algn="l" defTabSz="914377" rtl="0" eaLnBrk="1" latinLnBrk="0" hangingPunct="1">
        <a:lnSpc>
          <a:spcPct val="90000"/>
        </a:lnSpc>
        <a:spcBef>
          <a:spcPts val="300"/>
        </a:spcBef>
        <a:buClr>
          <a:schemeClr val="tx2"/>
        </a:buClr>
        <a:buSzPct val="120000"/>
        <a:buFont typeface="Public Sans" pitchFamily="2" charset="0"/>
        <a:buNone/>
        <a:defRPr sz="1600" b="0" kern="1200">
          <a:solidFill>
            <a:schemeClr val="tx1">
              <a:lumMod val="75000"/>
              <a:lumOff val="25000"/>
            </a:schemeClr>
          </a:solidFill>
          <a:latin typeface="+mn-lt"/>
          <a:ea typeface="+mn-ea"/>
          <a:cs typeface="+mn-cs"/>
        </a:defRPr>
      </a:lvl2pPr>
      <a:lvl3pPr marL="261938" indent="-174625" algn="l" defTabSz="914377" rtl="0" eaLnBrk="1" latinLnBrk="0" hangingPunct="1">
        <a:lnSpc>
          <a:spcPct val="90000"/>
        </a:lnSpc>
        <a:spcBef>
          <a:spcPts val="200"/>
        </a:spcBef>
        <a:buFont typeface="Wingdings" panose="05000000000000000000" pitchFamily="2" charset="2"/>
        <a:buChar char="§"/>
        <a:defRPr sz="1600" kern="1200">
          <a:solidFill>
            <a:schemeClr val="tx1">
              <a:lumMod val="75000"/>
              <a:lumOff val="25000"/>
            </a:schemeClr>
          </a:solidFill>
          <a:latin typeface="+mn-lt"/>
          <a:ea typeface="+mn-ea"/>
          <a:cs typeface="+mn-cs"/>
        </a:defRPr>
      </a:lvl3pPr>
      <a:lvl4pPr marL="363538" indent="0" algn="l" defTabSz="914377" rtl="0" eaLnBrk="1" latinLnBrk="0" hangingPunct="1">
        <a:lnSpc>
          <a:spcPct val="90000"/>
        </a:lnSpc>
        <a:spcBef>
          <a:spcPts val="2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363538" indent="0" algn="l" defTabSz="914377" rtl="0" eaLnBrk="1" latinLnBrk="0" hangingPunct="1">
        <a:lnSpc>
          <a:spcPct val="90000"/>
        </a:lnSpc>
        <a:spcBef>
          <a:spcPts val="600"/>
        </a:spcBef>
        <a:buFont typeface="Arial" panose="020B0604020202020204" pitchFamily="34" charset="0"/>
        <a:buNone/>
        <a:defRPr sz="1200" kern="1200">
          <a:solidFill>
            <a:schemeClr val="tx2"/>
          </a:solidFill>
          <a:latin typeface="+mn-lt"/>
          <a:ea typeface="+mn-ea"/>
          <a:cs typeface="+mn-cs"/>
        </a:defRPr>
      </a:lvl5pPr>
      <a:lvl6pPr marL="536575" indent="-171450" algn="l" defTabSz="914377" rtl="0" eaLnBrk="1" latinLnBrk="0" hangingPunct="1">
        <a:lnSpc>
          <a:spcPct val="90000"/>
        </a:lnSpc>
        <a:spcBef>
          <a:spcPts val="300"/>
        </a:spcBef>
        <a:buFont typeface="Wingdings" panose="05000000000000000000" pitchFamily="2" charset="2"/>
        <a:buChar char="ü"/>
        <a:defRPr sz="1200" i="1" kern="1200">
          <a:solidFill>
            <a:schemeClr val="tx1">
              <a:lumMod val="75000"/>
              <a:lumOff val="25000"/>
            </a:schemeClr>
          </a:solidFill>
          <a:latin typeface="Enedis Light" pitchFamily="2" charset="0"/>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1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84.png"/></Relationships>
</file>

<file path=ppt/slides/_rels/slide12.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4.png"/><Relationship Id="rId18" Type="http://schemas.openxmlformats.org/officeDocument/2006/relationships/image" Target="../media/image97.png"/><Relationship Id="rId3" Type="http://schemas.openxmlformats.org/officeDocument/2006/relationships/chart" Target="../charts/chart3.xml"/><Relationship Id="rId7" Type="http://schemas.openxmlformats.org/officeDocument/2006/relationships/image" Target="../media/image88.png"/><Relationship Id="rId12" Type="http://schemas.openxmlformats.org/officeDocument/2006/relationships/image" Target="../media/image93.png"/><Relationship Id="rId17" Type="http://schemas.openxmlformats.org/officeDocument/2006/relationships/image" Target="../media/image65.png"/><Relationship Id="rId2" Type="http://schemas.openxmlformats.org/officeDocument/2006/relationships/notesSlide" Target="../notesSlides/notesSlide8.xml"/><Relationship Id="rId16" Type="http://schemas.openxmlformats.org/officeDocument/2006/relationships/image" Target="../media/image61.png"/><Relationship Id="rId1" Type="http://schemas.openxmlformats.org/officeDocument/2006/relationships/slideLayout" Target="../slideLayouts/slideLayout19.xml"/><Relationship Id="rId6" Type="http://schemas.openxmlformats.org/officeDocument/2006/relationships/image" Target="../media/image87.png"/><Relationship Id="rId11" Type="http://schemas.openxmlformats.org/officeDocument/2006/relationships/image" Target="../media/image92.png"/><Relationship Id="rId5" Type="http://schemas.openxmlformats.org/officeDocument/2006/relationships/image" Target="../media/image86.png"/><Relationship Id="rId15" Type="http://schemas.openxmlformats.org/officeDocument/2006/relationships/image" Target="../media/image96.png"/><Relationship Id="rId10" Type="http://schemas.openxmlformats.org/officeDocument/2006/relationships/image" Target="../media/image91.png"/><Relationship Id="rId4" Type="http://schemas.openxmlformats.org/officeDocument/2006/relationships/image" Target="../media/image85.png"/><Relationship Id="rId9" Type="http://schemas.openxmlformats.org/officeDocument/2006/relationships/image" Target="../media/image90.png"/><Relationship Id="rId14" Type="http://schemas.openxmlformats.org/officeDocument/2006/relationships/image" Target="../media/image95.png"/></Relationships>
</file>

<file path=ppt/slides/_rels/slide13.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18.xml"/><Relationship Id="rId4" Type="http://schemas.openxmlformats.org/officeDocument/2006/relationships/image" Target="../media/image10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1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image" Target="../media/image108.jpeg"/></Relationships>
</file>

<file path=ppt/slides/_rels/slide1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19.xml"/><Relationship Id="rId4" Type="http://schemas.openxmlformats.org/officeDocument/2006/relationships/image" Target="../media/image11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18" Type="http://schemas.openxmlformats.org/officeDocument/2006/relationships/image" Target="../media/image38.png"/><Relationship Id="rId26" Type="http://schemas.openxmlformats.org/officeDocument/2006/relationships/image" Target="../media/image46.png"/><Relationship Id="rId3" Type="http://schemas.openxmlformats.org/officeDocument/2006/relationships/image" Target="../media/image23.png"/><Relationship Id="rId21" Type="http://schemas.openxmlformats.org/officeDocument/2006/relationships/image" Target="../media/image41.png"/><Relationship Id="rId7" Type="http://schemas.openxmlformats.org/officeDocument/2006/relationships/image" Target="../media/image27.png"/><Relationship Id="rId12" Type="http://schemas.openxmlformats.org/officeDocument/2006/relationships/image" Target="../media/image32.png"/><Relationship Id="rId17" Type="http://schemas.openxmlformats.org/officeDocument/2006/relationships/image" Target="../media/image37.png"/><Relationship Id="rId25" Type="http://schemas.openxmlformats.org/officeDocument/2006/relationships/image" Target="../media/image45.png"/><Relationship Id="rId2" Type="http://schemas.openxmlformats.org/officeDocument/2006/relationships/image" Target="../media/image22.png"/><Relationship Id="rId16" Type="http://schemas.openxmlformats.org/officeDocument/2006/relationships/image" Target="../media/image36.png"/><Relationship Id="rId20" Type="http://schemas.openxmlformats.org/officeDocument/2006/relationships/image" Target="../media/image40.png"/><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31.png"/><Relationship Id="rId24" Type="http://schemas.openxmlformats.org/officeDocument/2006/relationships/image" Target="../media/image44.png"/><Relationship Id="rId5" Type="http://schemas.openxmlformats.org/officeDocument/2006/relationships/image" Target="../media/image25.png"/><Relationship Id="rId15" Type="http://schemas.openxmlformats.org/officeDocument/2006/relationships/image" Target="../media/image35.png"/><Relationship Id="rId23" Type="http://schemas.openxmlformats.org/officeDocument/2006/relationships/image" Target="../media/image43.png"/><Relationship Id="rId10" Type="http://schemas.openxmlformats.org/officeDocument/2006/relationships/image" Target="../media/image30.png"/><Relationship Id="rId19" Type="http://schemas.openxmlformats.org/officeDocument/2006/relationships/image" Target="../media/image39.pn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4.png"/><Relationship Id="rId22" Type="http://schemas.openxmlformats.org/officeDocument/2006/relationships/image" Target="../media/image42.png"/><Relationship Id="rId27" Type="http://schemas.openxmlformats.org/officeDocument/2006/relationships/image" Target="../media/image47.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19.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22.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2.xml"/><Relationship Id="rId1" Type="http://schemas.openxmlformats.org/officeDocument/2006/relationships/slideLayout" Target="../slideLayouts/slideLayout18.xml"/><Relationship Id="rId4" Type="http://schemas.openxmlformats.org/officeDocument/2006/relationships/image" Target="../media/image118.png"/></Relationships>
</file>

<file path=ppt/slides/_rels/slide2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19.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s>
</file>

<file path=ppt/slides/_rels/slide2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11.png"/><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3.xml"/><Relationship Id="rId4" Type="http://schemas.openxmlformats.org/officeDocument/2006/relationships/image" Target="../media/image128.png"/></Relationships>
</file>

<file path=ppt/slides/_rels/slide3.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7.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49.jpeg"/><Relationship Id="rId9" Type="http://schemas.openxmlformats.org/officeDocument/2006/relationships/image" Target="../media/image54.pn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notesSlide" Target="../notesSlides/notesSlide4.xml"/><Relationship Id="rId16" Type="http://schemas.openxmlformats.org/officeDocument/2006/relationships/image" Target="../media/image71.png"/><Relationship Id="rId1" Type="http://schemas.openxmlformats.org/officeDocument/2006/relationships/slideLayout" Target="../slideLayouts/slideLayout19.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5" Type="http://schemas.openxmlformats.org/officeDocument/2006/relationships/image" Target="../media/image7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 Id="rId14" Type="http://schemas.openxmlformats.org/officeDocument/2006/relationships/image" Target="../media/image69.png"/></Relationships>
</file>

<file path=ppt/slides/_rels/slide6.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18" Type="http://schemas.openxmlformats.org/officeDocument/2006/relationships/image" Target="../media/image73.png"/><Relationship Id="rId3" Type="http://schemas.openxmlformats.org/officeDocument/2006/relationships/image" Target="../media/image58.png"/><Relationship Id="rId21" Type="http://schemas.openxmlformats.org/officeDocument/2006/relationships/image" Target="../media/image76.png"/><Relationship Id="rId7" Type="http://schemas.openxmlformats.org/officeDocument/2006/relationships/image" Target="../media/image62.png"/><Relationship Id="rId12" Type="http://schemas.openxmlformats.org/officeDocument/2006/relationships/image" Target="../media/image67.png"/><Relationship Id="rId17" Type="http://schemas.openxmlformats.org/officeDocument/2006/relationships/image" Target="../media/image72.png"/><Relationship Id="rId2" Type="http://schemas.openxmlformats.org/officeDocument/2006/relationships/notesSlide" Target="../notesSlides/notesSlide5.xml"/><Relationship Id="rId16" Type="http://schemas.openxmlformats.org/officeDocument/2006/relationships/image" Target="../media/image71.png"/><Relationship Id="rId20" Type="http://schemas.openxmlformats.org/officeDocument/2006/relationships/image" Target="../media/image75.png"/><Relationship Id="rId1" Type="http://schemas.openxmlformats.org/officeDocument/2006/relationships/slideLayout" Target="../slideLayouts/slideLayout19.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5" Type="http://schemas.openxmlformats.org/officeDocument/2006/relationships/image" Target="../media/image70.png"/><Relationship Id="rId10" Type="http://schemas.openxmlformats.org/officeDocument/2006/relationships/image" Target="../media/image65.png"/><Relationship Id="rId19" Type="http://schemas.openxmlformats.org/officeDocument/2006/relationships/image" Target="../media/image74.png"/><Relationship Id="rId4" Type="http://schemas.openxmlformats.org/officeDocument/2006/relationships/image" Target="../media/image59.png"/><Relationship Id="rId9" Type="http://schemas.openxmlformats.org/officeDocument/2006/relationships/image" Target="../media/image64.png"/><Relationship Id="rId14" Type="http://schemas.openxmlformats.org/officeDocument/2006/relationships/image" Target="../media/image69.png"/></Relationships>
</file>

<file path=ppt/slides/_rels/slide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9.xml"/><Relationship Id="rId5" Type="http://schemas.openxmlformats.org/officeDocument/2006/relationships/image" Target="../media/image80.png"/><Relationship Id="rId4" Type="http://schemas.openxmlformats.org/officeDocument/2006/relationships/image" Target="../media/image79.png"/></Relationships>
</file>

<file path=ppt/slides/_rels/slide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chart" Target="../charts/chart2.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2.png"/><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87A1F60D-B3E4-4E1F-A772-7F85FE705121}"/>
              </a:ext>
            </a:extLst>
          </p:cNvPr>
          <p:cNvGraphicFramePr>
            <a:graphicFrameLocks noChangeAspect="1"/>
          </p:cNvGraphicFramePr>
          <p:nvPr>
            <p:custDataLst>
              <p:tags r:id="rId2"/>
            </p:custDataLst>
            <p:extLst>
              <p:ext uri="{D42A27DB-BD31-4B8C-83A1-F6EECF244321}">
                <p14:modId xmlns:p14="http://schemas.microsoft.com/office/powerpoint/2010/main" val="1794924030"/>
              </p:ex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spid="_x0000_s44267" name="Diapositive think-cell" r:id="rId5" imgW="395" imgH="394" progId="TCLayout.ActiveDocument.1">
                  <p:embed/>
                </p:oleObj>
              </mc:Choice>
              <mc:Fallback>
                <p:oleObj name="Diapositive think-cell" r:id="rId5" imgW="395" imgH="394" progId="TCLayout.ActiveDocument.1">
                  <p:embed/>
                  <p:pic>
                    <p:nvPicPr>
                      <p:cNvPr id="2" name="Objet 1" hidden="1">
                        <a:extLst>
                          <a:ext uri="{FF2B5EF4-FFF2-40B4-BE49-F238E27FC236}">
                            <a16:creationId xmlns:a16="http://schemas.microsoft.com/office/drawing/2014/main" id="{87A1F60D-B3E4-4E1F-A772-7F85FE705121}"/>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7" name="Titre 6">
            <a:extLst>
              <a:ext uri="{FF2B5EF4-FFF2-40B4-BE49-F238E27FC236}">
                <a16:creationId xmlns:a16="http://schemas.microsoft.com/office/drawing/2014/main" id="{B1FFB02E-8FA8-C246-B39A-13F64C950283}"/>
              </a:ext>
            </a:extLst>
          </p:cNvPr>
          <p:cNvSpPr>
            <a:spLocks noGrp="1"/>
          </p:cNvSpPr>
          <p:nvPr>
            <p:ph type="ctrTitle"/>
          </p:nvPr>
        </p:nvSpPr>
        <p:spPr>
          <a:xfrm>
            <a:off x="482247" y="2068375"/>
            <a:ext cx="10266266" cy="553998"/>
          </a:xfrm>
          <a:effectLst>
            <a:outerShdw blurRad="50800" dist="38100" dir="2700000" algn="tl" rotWithShape="0">
              <a:prstClr val="black">
                <a:alpha val="40000"/>
              </a:prstClr>
            </a:outerShdw>
          </a:effectLst>
        </p:spPr>
        <p:txBody>
          <a:bodyPr vert="horz"/>
          <a:lstStyle/>
          <a:p>
            <a:pPr algn="l">
              <a:lnSpc>
                <a:spcPct val="100000"/>
              </a:lnSpc>
              <a:spcBef>
                <a:spcPts val="1200"/>
              </a:spcBef>
            </a:pPr>
            <a:r>
              <a:rPr lang="fr-FR" sz="3600" b="1" dirty="0" smtClean="0"/>
              <a:t>Les enjeux de la Mobilité Electrique</a:t>
            </a:r>
            <a:endParaRPr lang="fr-FR" sz="2800" i="1" dirty="0"/>
          </a:p>
        </p:txBody>
      </p:sp>
      <p:sp>
        <p:nvSpPr>
          <p:cNvPr id="3" name="Sous-titre 2"/>
          <p:cNvSpPr>
            <a:spLocks noGrp="1"/>
          </p:cNvSpPr>
          <p:nvPr>
            <p:ph type="subTitle" idx="1"/>
          </p:nvPr>
        </p:nvSpPr>
        <p:spPr>
          <a:xfrm>
            <a:off x="494947" y="2854145"/>
            <a:ext cx="8376437" cy="295466"/>
          </a:xfrm>
        </p:spPr>
        <p:txBody>
          <a:bodyPr/>
          <a:lstStyle/>
          <a:p>
            <a:r>
              <a:rPr lang="fr-FR" sz="2400" i="1" dirty="0" smtClean="0">
                <a:latin typeface="+mj-lt"/>
              </a:rPr>
              <a:t>Présentation à l’IHEDATE</a:t>
            </a:r>
            <a:endParaRPr lang="fr-FR" sz="2400" i="1" dirty="0">
              <a:latin typeface="+mj-lt"/>
            </a:endParaRPr>
          </a:p>
        </p:txBody>
      </p:sp>
      <p:sp>
        <p:nvSpPr>
          <p:cNvPr id="5" name="Sous-titre 2"/>
          <p:cNvSpPr txBox="1">
            <a:spLocks/>
          </p:cNvSpPr>
          <p:nvPr/>
        </p:nvSpPr>
        <p:spPr>
          <a:xfrm>
            <a:off x="9952375" y="6261580"/>
            <a:ext cx="1871566" cy="172355"/>
          </a:xfrm>
          <a:prstGeom prst="rect">
            <a:avLst/>
          </a:prstGeom>
        </p:spPr>
        <p:txBody>
          <a:bodyPr vert="horz" wrap="square" lIns="0" tIns="0" rIns="0" bIns="0" rtlCol="0">
            <a:spAutoFit/>
          </a:bodyPr>
          <a:lstStyle>
            <a:lvl1pPr marL="0" indent="0" algn="l" defTabSz="914377" rtl="0" eaLnBrk="1" latinLnBrk="0" hangingPunct="1">
              <a:lnSpc>
                <a:spcPct val="80000"/>
              </a:lnSpc>
              <a:spcBef>
                <a:spcPts val="0"/>
              </a:spcBef>
              <a:buFont typeface="Arial" panose="020B0604020202020204" pitchFamily="34" charset="0"/>
              <a:buNone/>
              <a:defRPr sz="2500" kern="1200">
                <a:solidFill>
                  <a:schemeClr val="tx2"/>
                </a:solidFill>
                <a:latin typeface="Enedis Light" pitchFamily="50" charset="0"/>
                <a:ea typeface="+mn-ea"/>
                <a:cs typeface="+mn-cs"/>
              </a:defRPr>
            </a:lvl1pPr>
            <a:lvl2pPr marL="457189" indent="0" algn="ctr" defTabSz="914377" rtl="0" eaLnBrk="1" latinLnBrk="0" hangingPunct="1">
              <a:lnSpc>
                <a:spcPct val="101000"/>
              </a:lnSpc>
              <a:spcBef>
                <a:spcPts val="0"/>
              </a:spcBef>
              <a:buClr>
                <a:schemeClr val="tx2"/>
              </a:buClr>
              <a:buSzPct val="120000"/>
              <a:buFont typeface="Public Sans" pitchFamily="2" charset="0"/>
              <a:buNone/>
              <a:defRPr sz="2000" b="1" kern="1200">
                <a:solidFill>
                  <a:schemeClr val="tx2"/>
                </a:solidFill>
                <a:latin typeface="Public Sans" pitchFamily="2" charset="0"/>
                <a:ea typeface="+mn-ea"/>
                <a:cs typeface="+mn-cs"/>
              </a:defRPr>
            </a:lvl2pPr>
            <a:lvl3pPr marL="914377" indent="0" algn="ctr" defTabSz="914377" rtl="0" eaLnBrk="1" latinLnBrk="0" hangingPunct="1">
              <a:lnSpc>
                <a:spcPct val="101000"/>
              </a:lnSpc>
              <a:spcBef>
                <a:spcPts val="0"/>
              </a:spcBef>
              <a:buFont typeface="Arial" panose="020B0604020202020204" pitchFamily="34" charset="0"/>
              <a:buNone/>
              <a:defRPr sz="1800" kern="1200">
                <a:solidFill>
                  <a:schemeClr val="tx1"/>
                </a:solidFill>
                <a:latin typeface="Public Sans" pitchFamily="2" charset="0"/>
                <a:ea typeface="+mn-ea"/>
                <a:cs typeface="+mn-cs"/>
              </a:defRPr>
            </a:lvl3pPr>
            <a:lvl4pPr marL="1371566" indent="0" algn="ctr" defTabSz="914377" rtl="0" eaLnBrk="1" latinLnBrk="0" hangingPunct="1">
              <a:lnSpc>
                <a:spcPct val="101000"/>
              </a:lnSpc>
              <a:spcBef>
                <a:spcPts val="0"/>
              </a:spcBef>
              <a:buFont typeface="Arial" panose="020B0604020202020204" pitchFamily="34" charset="0"/>
              <a:buNone/>
              <a:defRPr sz="1600" kern="1200">
                <a:solidFill>
                  <a:schemeClr val="tx1"/>
                </a:solidFill>
                <a:latin typeface="+mn-lt"/>
                <a:ea typeface="+mn-ea"/>
                <a:cs typeface="+mn-cs"/>
              </a:defRPr>
            </a:lvl4pPr>
            <a:lvl5pPr marL="1828754" indent="0" algn="ctr" defTabSz="914377" rtl="0" eaLnBrk="1" latinLnBrk="0" hangingPunct="1">
              <a:lnSpc>
                <a:spcPct val="101000"/>
              </a:lnSpc>
              <a:spcBef>
                <a:spcPts val="0"/>
              </a:spcBef>
              <a:buFont typeface="Arial" panose="020B0604020202020204" pitchFamily="34" charset="0"/>
              <a:buNone/>
              <a:defRPr sz="1600" kern="1200">
                <a:solidFill>
                  <a:schemeClr val="tx2"/>
                </a:solidFill>
                <a:latin typeface="+mj-lt"/>
                <a:ea typeface="+mn-ea"/>
                <a:cs typeface="+mn-cs"/>
              </a:defRPr>
            </a:lvl5pPr>
            <a:lvl6pPr marL="2285943" indent="0" algn="ctr" defTabSz="914377" rtl="0" eaLnBrk="1" latinLnBrk="0" hangingPunct="1">
              <a:lnSpc>
                <a:spcPct val="101000"/>
              </a:lnSpc>
              <a:spcBef>
                <a:spcPts val="0"/>
              </a:spcBef>
              <a:buFont typeface="Arial" panose="020B0604020202020204" pitchFamily="34" charset="0"/>
              <a:buNone/>
              <a:defRPr sz="1600" i="1" kern="1200">
                <a:solidFill>
                  <a:schemeClr val="tx1"/>
                </a:solidFill>
                <a:latin typeface="Public Sans" pitchFamily="2" charset="0"/>
                <a:ea typeface="+mn-ea"/>
                <a:cs typeface="+mn-cs"/>
              </a:defRPr>
            </a:lvl6pPr>
            <a:lvl7pPr marL="2743131"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fr-FR" sz="1400" i="1" dirty="0" smtClean="0">
                <a:latin typeface="+mj-lt"/>
              </a:rPr>
              <a:t>25 avril 2024</a:t>
            </a:r>
            <a:endParaRPr lang="fr-FR" sz="1400" i="1" dirty="0">
              <a:latin typeface="+mj-lt"/>
            </a:endParaRPr>
          </a:p>
        </p:txBody>
      </p:sp>
    </p:spTree>
    <p:extLst>
      <p:ext uri="{BB962C8B-B14F-4D97-AF65-F5344CB8AC3E}">
        <p14:creationId xmlns:p14="http://schemas.microsoft.com/office/powerpoint/2010/main" val="129587518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3">
            <a:extLst>
              <a:ext uri="{FF2B5EF4-FFF2-40B4-BE49-F238E27FC236}">
                <a16:creationId xmlns:a16="http://schemas.microsoft.com/office/drawing/2014/main" id="{D6602FE0-0DCD-4DC3-9615-B9647A43F674}"/>
              </a:ext>
            </a:extLst>
          </p:cNvPr>
          <p:cNvSpPr>
            <a:spLocks noGrp="1"/>
          </p:cNvSpPr>
          <p:nvPr>
            <p:ph type="title"/>
          </p:nvPr>
        </p:nvSpPr>
        <p:spPr>
          <a:xfrm>
            <a:off x="219912" y="275260"/>
            <a:ext cx="11656769" cy="445956"/>
          </a:xfrm>
        </p:spPr>
        <p:txBody>
          <a:bodyPr vert="horz">
            <a:noAutofit/>
          </a:bodyPr>
          <a:lstStyle/>
          <a:p>
            <a:pPr algn="l" rtl="0"/>
            <a:r>
              <a:rPr lang="en-gb" sz="2800" b="1" i="0" u="none" baseline="0" dirty="0"/>
              <a:t>Enedis </a:t>
            </a:r>
            <a:r>
              <a:rPr lang="en-gb" sz="2800" b="1" i="0" u="none" baseline="0" dirty="0" smtClean="0"/>
              <a:t>a </a:t>
            </a:r>
            <a:r>
              <a:rPr lang="en-gb" sz="2800" b="1" i="0" u="none" baseline="0" dirty="0" err="1" smtClean="0"/>
              <a:t>mis</a:t>
            </a:r>
            <a:r>
              <a:rPr lang="en-gb" sz="2800" b="1" i="0" u="none" baseline="0" dirty="0" smtClean="0"/>
              <a:t> </a:t>
            </a:r>
            <a:r>
              <a:rPr lang="en-gb" sz="2800" b="1" i="0" u="none" baseline="0" dirty="0" err="1" smtClean="0"/>
              <a:t>en</a:t>
            </a:r>
            <a:r>
              <a:rPr lang="en-gb" sz="2800" b="1" i="0" u="none" baseline="0" dirty="0" smtClean="0"/>
              <a:t> place </a:t>
            </a:r>
            <a:r>
              <a:rPr lang="en-gb" sz="2800" b="1" i="0" u="none" baseline="0" dirty="0" err="1" smtClean="0"/>
              <a:t>une</a:t>
            </a:r>
            <a:r>
              <a:rPr lang="en-gb" sz="2800" b="1" i="0" u="none" baseline="0" dirty="0" smtClean="0"/>
              <a:t> organisation </a:t>
            </a:r>
            <a:r>
              <a:rPr lang="en-gb" sz="2800" b="1" i="0" u="none" baseline="0" dirty="0" err="1" smtClean="0"/>
              <a:t>dédiée</a:t>
            </a:r>
            <a:r>
              <a:rPr lang="en-gb" sz="2800" b="1" i="0" u="none" baseline="0" dirty="0" smtClean="0"/>
              <a:t> pour </a:t>
            </a:r>
            <a:r>
              <a:rPr lang="en-gb" sz="2800" b="1" i="0" u="none" baseline="0" dirty="0" err="1" smtClean="0"/>
              <a:t>ad</a:t>
            </a:r>
            <a:r>
              <a:rPr lang="en-GB" sz="2800" dirty="0" err="1" smtClean="0"/>
              <a:t>resser</a:t>
            </a:r>
            <a:r>
              <a:rPr lang="en-GB" sz="2800" dirty="0" smtClean="0"/>
              <a:t> les </a:t>
            </a:r>
            <a:r>
              <a:rPr lang="en-GB" sz="2800" dirty="0" err="1" smtClean="0"/>
              <a:t>enjeux</a:t>
            </a:r>
            <a:r>
              <a:rPr lang="en-GB" sz="2800" dirty="0" smtClean="0"/>
              <a:t> </a:t>
            </a:r>
            <a:r>
              <a:rPr lang="en-GB" sz="2800" dirty="0" err="1" smtClean="0"/>
              <a:t>liés</a:t>
            </a:r>
            <a:r>
              <a:rPr lang="en-GB" sz="2800" dirty="0" smtClean="0"/>
              <a:t> à la </a:t>
            </a:r>
            <a:r>
              <a:rPr lang="en-GB" sz="2800" dirty="0" err="1" smtClean="0"/>
              <a:t>mobilité</a:t>
            </a:r>
            <a:r>
              <a:rPr lang="en-GB" sz="2800" dirty="0" smtClean="0"/>
              <a:t> </a:t>
            </a:r>
            <a:r>
              <a:rPr lang="en-GB" sz="2800" dirty="0" err="1" smtClean="0"/>
              <a:t>électrique</a:t>
            </a:r>
            <a:endParaRPr lang="en-gb" sz="2800" b="1" i="0" u="none" baseline="0" dirty="0"/>
          </a:p>
        </p:txBody>
      </p:sp>
      <p:sp>
        <p:nvSpPr>
          <p:cNvPr id="71" name="Espace réservé du texte 8"/>
          <p:cNvSpPr txBox="1">
            <a:spLocks/>
          </p:cNvSpPr>
          <p:nvPr/>
        </p:nvSpPr>
        <p:spPr>
          <a:xfrm>
            <a:off x="4831471" y="2321559"/>
            <a:ext cx="2549676" cy="930646"/>
          </a:xfrm>
          <a:prstGeom prst="rect">
            <a:avLst/>
          </a:prstGeom>
          <a:solidFill>
            <a:schemeClr val="bg1"/>
          </a:solidFill>
          <a:ln w="57150">
            <a:solidFill>
              <a:schemeClr val="accent3"/>
            </a:solidFill>
          </a:ln>
          <a:effectLst>
            <a:outerShdw blurRad="50800" dist="76200" dir="2700000" algn="tl" rotWithShape="0">
              <a:prstClr val="black">
                <a:alpha val="40000"/>
              </a:prstClr>
            </a:outerShdw>
          </a:effectLst>
        </p:spPr>
        <p:txBody>
          <a:bodyPr wrap="square" anchor="ctr" anchorCtr="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tx1"/>
                </a:solidFill>
                <a:latin typeface="+mn-lt"/>
                <a:ea typeface="+mn-ea"/>
                <a:cs typeface="+mn-cs"/>
              </a:defRPr>
            </a:lvl1pPr>
            <a:lvl2pPr marL="216000" indent="-216000" algn="l" defTabSz="914377" rtl="0" eaLnBrk="1" latinLnBrk="0" hangingPunct="1">
              <a:lnSpc>
                <a:spcPct val="101000"/>
              </a:lnSpc>
              <a:spcBef>
                <a:spcPts val="0"/>
              </a:spcBef>
              <a:buClr>
                <a:schemeClr val="tx2"/>
              </a:buClr>
              <a:buSzPct val="120000"/>
              <a:buFont typeface="Public Sans" pitchFamily="2" charset="0"/>
              <a:buChar char="—"/>
              <a:defRPr sz="1200" b="1" kern="1200">
                <a:solidFill>
                  <a:schemeClr val="tx2"/>
                </a:solidFill>
                <a:latin typeface="Public Sans" pitchFamily="2" charset="0"/>
                <a:ea typeface="+mn-ea"/>
                <a:cs typeface="+mn-cs"/>
              </a:defRPr>
            </a:lvl2pPr>
            <a:lvl3pPr marL="576000" indent="-108000" algn="l" defTabSz="914377" rtl="0" eaLnBrk="1" latinLnBrk="0" hangingPunct="1">
              <a:lnSpc>
                <a:spcPct val="101000"/>
              </a:lnSpc>
              <a:spcBef>
                <a:spcPts val="0"/>
              </a:spcBef>
              <a:buFont typeface="Arial" panose="020B0604020202020204" pitchFamily="34" charset="0"/>
              <a:buChar char="-"/>
              <a:defRPr sz="1200" kern="1200">
                <a:solidFill>
                  <a:schemeClr val="tx1"/>
                </a:solidFill>
                <a:latin typeface="Public Sans" pitchFamily="2" charset="0"/>
                <a:ea typeface="+mn-ea"/>
                <a:cs typeface="+mn-cs"/>
              </a:defRPr>
            </a:lvl3pPr>
            <a:lvl4pPr marL="1152000" indent="-216000" algn="l" defTabSz="914377" rtl="0" eaLnBrk="1" latinLnBrk="0" hangingPunct="1">
              <a:lnSpc>
                <a:spcPct val="101000"/>
              </a:lnSpc>
              <a:spcBef>
                <a:spcPts val="0"/>
              </a:spcBef>
              <a:buFont typeface="Arial" panose="020B0604020202020204" pitchFamily="34" charset="0"/>
              <a:buChar char="•"/>
              <a:defRPr sz="1100" kern="1200">
                <a:solidFill>
                  <a:schemeClr val="tx1"/>
                </a:solidFill>
                <a:latin typeface="+mn-lt"/>
                <a:ea typeface="+mn-ea"/>
                <a:cs typeface="+mn-cs"/>
              </a:defRPr>
            </a:lvl4pPr>
            <a:lvl5pPr marL="0" indent="0" algn="l" defTabSz="914377" rtl="0" eaLnBrk="1" latinLnBrk="0" hangingPunct="1">
              <a:lnSpc>
                <a:spcPct val="101000"/>
              </a:lnSpc>
              <a:spcBef>
                <a:spcPts val="0"/>
              </a:spcBef>
              <a:buFont typeface="Arial" panose="020B0604020202020204" pitchFamily="34" charset="0"/>
              <a:buNone/>
              <a:defRPr sz="1600" kern="1200">
                <a:solidFill>
                  <a:schemeClr val="tx2"/>
                </a:solidFill>
                <a:latin typeface="+mj-lt"/>
                <a:ea typeface="+mn-ea"/>
                <a:cs typeface="+mn-cs"/>
              </a:defRPr>
            </a:lvl5pPr>
            <a:lvl6pPr marL="0" indent="0" algn="l" defTabSz="914377" rtl="0" eaLnBrk="1" latinLnBrk="0" hangingPunct="1">
              <a:lnSpc>
                <a:spcPct val="101000"/>
              </a:lnSpc>
              <a:spcBef>
                <a:spcPts val="0"/>
              </a:spcBef>
              <a:buFont typeface="Arial" panose="020B0604020202020204" pitchFamily="34" charset="0"/>
              <a:buNone/>
              <a:defRPr sz="600" i="1" kern="1200">
                <a:solidFill>
                  <a:schemeClr val="tx1"/>
                </a:solidFill>
                <a:latin typeface="Public Sans" pitchFamily="2" charset="0"/>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1000"/>
              </a:lnSpc>
              <a:spcBef>
                <a:spcPts val="0"/>
              </a:spcBef>
              <a:spcAft>
                <a:spcPts val="600"/>
              </a:spcAft>
              <a:buClr>
                <a:srgbClr val="1322DC"/>
              </a:buClr>
              <a:buSzTx/>
              <a:buFont typeface="Arial" panose="020B0604020202020204" pitchFamily="34" charset="0"/>
              <a:buNone/>
              <a:tabLst/>
              <a:defRPr/>
            </a:pPr>
            <a:r>
              <a:rPr kumimoji="0" lang="fr-FR" sz="2000" b="1" i="0" u="none" strike="noStrike" kern="1200" cap="none" spc="0" normalizeH="0" baseline="0" noProof="0" dirty="0" smtClean="0">
                <a:ln>
                  <a:noFill/>
                </a:ln>
                <a:solidFill>
                  <a:srgbClr val="1423DC"/>
                </a:solidFill>
                <a:effectLst/>
                <a:uLnTx/>
                <a:uFillTx/>
                <a:latin typeface="Enedis"/>
                <a:ea typeface="Times New Roman" panose="02020603050405020304" pitchFamily="18" charset="0"/>
                <a:cs typeface="Times New Roman" panose="02020603050405020304" pitchFamily="18" charset="0"/>
              </a:rPr>
              <a:t>Pôle Mobilité Electrique</a:t>
            </a:r>
            <a:endParaRPr kumimoji="0" lang="en-gb" sz="2000" b="0" i="0" u="none" strike="noStrike" kern="1200" cap="none" spc="0" normalizeH="0" baseline="0" noProof="0" dirty="0">
              <a:ln>
                <a:noFill/>
              </a:ln>
              <a:solidFill>
                <a:srgbClr val="1423DC"/>
              </a:solidFill>
              <a:effectLst/>
              <a:uLnTx/>
              <a:uFillTx/>
              <a:latin typeface="Enedis"/>
              <a:ea typeface="Times New Roman" panose="02020603050405020304" pitchFamily="18" charset="0"/>
              <a:cs typeface="Times New Roman" panose="02020603050405020304" pitchFamily="18" charset="0"/>
            </a:endParaRPr>
          </a:p>
        </p:txBody>
      </p:sp>
      <p:sp>
        <p:nvSpPr>
          <p:cNvPr id="72" name="Espace réservé du texte 8"/>
          <p:cNvSpPr txBox="1">
            <a:spLocks/>
          </p:cNvSpPr>
          <p:nvPr/>
        </p:nvSpPr>
        <p:spPr>
          <a:xfrm>
            <a:off x="687010" y="3770453"/>
            <a:ext cx="2549676" cy="1065769"/>
          </a:xfrm>
          <a:prstGeom prst="rect">
            <a:avLst/>
          </a:prstGeom>
          <a:solidFill>
            <a:schemeClr val="bg1"/>
          </a:solidFill>
          <a:ln w="28575">
            <a:solidFill>
              <a:schemeClr val="accent3"/>
            </a:solidFill>
          </a:ln>
          <a:effectLst>
            <a:outerShdw blurRad="50800" dist="76200" dir="2700000" algn="tl" rotWithShape="0">
              <a:prstClr val="black">
                <a:alpha val="40000"/>
              </a:prstClr>
            </a:outerShdw>
          </a:effectLst>
        </p:spPr>
        <p:txBody>
          <a:bodyPr wrap="square" anchor="ctr" anchorCtr="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tx1"/>
                </a:solidFill>
                <a:latin typeface="+mn-lt"/>
                <a:ea typeface="+mn-ea"/>
                <a:cs typeface="+mn-cs"/>
              </a:defRPr>
            </a:lvl1pPr>
            <a:lvl2pPr marL="216000" indent="-216000" algn="l" defTabSz="914377" rtl="0" eaLnBrk="1" latinLnBrk="0" hangingPunct="1">
              <a:lnSpc>
                <a:spcPct val="101000"/>
              </a:lnSpc>
              <a:spcBef>
                <a:spcPts val="0"/>
              </a:spcBef>
              <a:buClr>
                <a:schemeClr val="tx2"/>
              </a:buClr>
              <a:buSzPct val="120000"/>
              <a:buFont typeface="Public Sans" pitchFamily="2" charset="0"/>
              <a:buChar char="—"/>
              <a:defRPr sz="1200" b="1" kern="1200">
                <a:solidFill>
                  <a:schemeClr val="tx2"/>
                </a:solidFill>
                <a:latin typeface="Public Sans" pitchFamily="2" charset="0"/>
                <a:ea typeface="+mn-ea"/>
                <a:cs typeface="+mn-cs"/>
              </a:defRPr>
            </a:lvl2pPr>
            <a:lvl3pPr marL="576000" indent="-108000" algn="l" defTabSz="914377" rtl="0" eaLnBrk="1" latinLnBrk="0" hangingPunct="1">
              <a:lnSpc>
                <a:spcPct val="101000"/>
              </a:lnSpc>
              <a:spcBef>
                <a:spcPts val="0"/>
              </a:spcBef>
              <a:buFont typeface="Arial" panose="020B0604020202020204" pitchFamily="34" charset="0"/>
              <a:buChar char="-"/>
              <a:defRPr sz="1200" kern="1200">
                <a:solidFill>
                  <a:schemeClr val="tx1"/>
                </a:solidFill>
                <a:latin typeface="Public Sans" pitchFamily="2" charset="0"/>
                <a:ea typeface="+mn-ea"/>
                <a:cs typeface="+mn-cs"/>
              </a:defRPr>
            </a:lvl3pPr>
            <a:lvl4pPr marL="1152000" indent="-216000" algn="l" defTabSz="914377" rtl="0" eaLnBrk="1" latinLnBrk="0" hangingPunct="1">
              <a:lnSpc>
                <a:spcPct val="101000"/>
              </a:lnSpc>
              <a:spcBef>
                <a:spcPts val="0"/>
              </a:spcBef>
              <a:buFont typeface="Arial" panose="020B0604020202020204" pitchFamily="34" charset="0"/>
              <a:buChar char="•"/>
              <a:defRPr sz="1100" kern="1200">
                <a:solidFill>
                  <a:schemeClr val="tx1"/>
                </a:solidFill>
                <a:latin typeface="+mn-lt"/>
                <a:ea typeface="+mn-ea"/>
                <a:cs typeface="+mn-cs"/>
              </a:defRPr>
            </a:lvl4pPr>
            <a:lvl5pPr marL="0" indent="0" algn="l" defTabSz="914377" rtl="0" eaLnBrk="1" latinLnBrk="0" hangingPunct="1">
              <a:lnSpc>
                <a:spcPct val="101000"/>
              </a:lnSpc>
              <a:spcBef>
                <a:spcPts val="0"/>
              </a:spcBef>
              <a:buFont typeface="Arial" panose="020B0604020202020204" pitchFamily="34" charset="0"/>
              <a:buNone/>
              <a:defRPr sz="1600" kern="1200">
                <a:solidFill>
                  <a:schemeClr val="tx2"/>
                </a:solidFill>
                <a:latin typeface="+mj-lt"/>
                <a:ea typeface="+mn-ea"/>
                <a:cs typeface="+mn-cs"/>
              </a:defRPr>
            </a:lvl5pPr>
            <a:lvl6pPr marL="0" indent="0" algn="l" defTabSz="914377" rtl="0" eaLnBrk="1" latinLnBrk="0" hangingPunct="1">
              <a:lnSpc>
                <a:spcPct val="101000"/>
              </a:lnSpc>
              <a:spcBef>
                <a:spcPts val="0"/>
              </a:spcBef>
              <a:buFont typeface="Arial" panose="020B0604020202020204" pitchFamily="34" charset="0"/>
              <a:buNone/>
              <a:defRPr sz="600" i="1" kern="1200">
                <a:solidFill>
                  <a:schemeClr val="tx1"/>
                </a:solidFill>
                <a:latin typeface="Public Sans" pitchFamily="2" charset="0"/>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1000"/>
              </a:lnSpc>
              <a:spcBef>
                <a:spcPts val="0"/>
              </a:spcBef>
              <a:spcAft>
                <a:spcPts val="600"/>
              </a:spcAft>
              <a:buClr>
                <a:srgbClr val="1322DC"/>
              </a:buClr>
              <a:buSzTx/>
              <a:buFont typeface="Arial" panose="020B0604020202020204" pitchFamily="34" charset="0"/>
              <a:buNone/>
              <a:tabLst/>
              <a:defRPr/>
            </a:pPr>
            <a:r>
              <a:rPr kumimoji="0" lang="fr-FR" sz="1800" b="1" i="0" u="none" strike="noStrike" kern="1200" cap="none" spc="0" normalizeH="0" baseline="0" noProof="0" dirty="0" smtClean="0">
                <a:ln>
                  <a:noFill/>
                </a:ln>
                <a:solidFill>
                  <a:srgbClr val="1423DC"/>
                </a:solidFill>
                <a:effectLst/>
                <a:uLnTx/>
                <a:uFillTx/>
                <a:latin typeface="Enedis"/>
                <a:ea typeface="Times New Roman" panose="02020603050405020304" pitchFamily="18" charset="0"/>
                <a:cs typeface="Times New Roman" panose="02020603050405020304" pitchFamily="18" charset="0"/>
              </a:rPr>
              <a:t>Industrialisation </a:t>
            </a:r>
            <a:r>
              <a:rPr kumimoji="0" lang="fr-FR" sz="1800" b="0" i="0" u="none" strike="noStrike" kern="1200" cap="none" spc="0" normalizeH="0" baseline="0" noProof="0" dirty="0" smtClean="0">
                <a:ln>
                  <a:noFill/>
                </a:ln>
                <a:solidFill>
                  <a:srgbClr val="1423DC"/>
                </a:solidFill>
                <a:effectLst/>
                <a:uLnTx/>
                <a:uFillTx/>
                <a:latin typeface="Enedis"/>
                <a:ea typeface="Times New Roman" panose="02020603050405020304" pitchFamily="18" charset="0"/>
                <a:cs typeface="Times New Roman" panose="02020603050405020304" pitchFamily="18" charset="0"/>
              </a:rPr>
              <a:t>&amp; support aux Directions</a:t>
            </a:r>
            <a:r>
              <a:rPr kumimoji="0" lang="fr-FR" sz="1800" b="0" i="0" u="none" strike="noStrike" kern="1200" cap="none" spc="0" normalizeH="0" noProof="0" dirty="0" smtClean="0">
                <a:ln>
                  <a:noFill/>
                </a:ln>
                <a:solidFill>
                  <a:srgbClr val="1423DC"/>
                </a:solidFill>
                <a:effectLst/>
                <a:uLnTx/>
                <a:uFillTx/>
                <a:latin typeface="Enedis"/>
                <a:ea typeface="Times New Roman" panose="02020603050405020304" pitchFamily="18" charset="0"/>
                <a:cs typeface="Times New Roman" panose="02020603050405020304" pitchFamily="18" charset="0"/>
              </a:rPr>
              <a:t> Régionales</a:t>
            </a:r>
            <a:endParaRPr kumimoji="0" lang="en-gb" sz="1800" b="0" i="0" u="none" strike="noStrike" kern="1200" cap="none" spc="0" normalizeH="0" baseline="0" noProof="0" dirty="0">
              <a:ln>
                <a:noFill/>
              </a:ln>
              <a:solidFill>
                <a:srgbClr val="1423DC"/>
              </a:solidFill>
              <a:effectLst/>
              <a:uLnTx/>
              <a:uFillTx/>
              <a:latin typeface="Enedis"/>
              <a:ea typeface="Times New Roman" panose="02020603050405020304" pitchFamily="18" charset="0"/>
              <a:cs typeface="Times New Roman" panose="02020603050405020304" pitchFamily="18" charset="0"/>
            </a:endParaRPr>
          </a:p>
        </p:txBody>
      </p:sp>
      <p:sp>
        <p:nvSpPr>
          <p:cNvPr id="78" name="Espace réservé du texte 8"/>
          <p:cNvSpPr txBox="1">
            <a:spLocks/>
          </p:cNvSpPr>
          <p:nvPr/>
        </p:nvSpPr>
        <p:spPr>
          <a:xfrm>
            <a:off x="6233375" y="3770453"/>
            <a:ext cx="2549676" cy="1065770"/>
          </a:xfrm>
          <a:prstGeom prst="rect">
            <a:avLst/>
          </a:prstGeom>
          <a:solidFill>
            <a:schemeClr val="bg1"/>
          </a:solidFill>
          <a:ln w="28575">
            <a:solidFill>
              <a:schemeClr val="accent3"/>
            </a:solidFill>
          </a:ln>
          <a:effectLst>
            <a:outerShdw blurRad="50800" dist="76200" dir="2700000" algn="tl" rotWithShape="0">
              <a:prstClr val="black">
                <a:alpha val="40000"/>
              </a:prstClr>
            </a:outerShdw>
          </a:effectLst>
        </p:spPr>
        <p:txBody>
          <a:bodyPr wrap="square" anchor="ctr" anchorCtr="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tx1"/>
                </a:solidFill>
                <a:latin typeface="+mn-lt"/>
                <a:ea typeface="+mn-ea"/>
                <a:cs typeface="+mn-cs"/>
              </a:defRPr>
            </a:lvl1pPr>
            <a:lvl2pPr marL="216000" indent="-216000" algn="l" defTabSz="914377" rtl="0" eaLnBrk="1" latinLnBrk="0" hangingPunct="1">
              <a:lnSpc>
                <a:spcPct val="101000"/>
              </a:lnSpc>
              <a:spcBef>
                <a:spcPts val="0"/>
              </a:spcBef>
              <a:buClr>
                <a:schemeClr val="tx2"/>
              </a:buClr>
              <a:buSzPct val="120000"/>
              <a:buFont typeface="Public Sans" pitchFamily="2" charset="0"/>
              <a:buChar char="—"/>
              <a:defRPr sz="1200" b="1" kern="1200">
                <a:solidFill>
                  <a:schemeClr val="tx2"/>
                </a:solidFill>
                <a:latin typeface="Public Sans" pitchFamily="2" charset="0"/>
                <a:ea typeface="+mn-ea"/>
                <a:cs typeface="+mn-cs"/>
              </a:defRPr>
            </a:lvl2pPr>
            <a:lvl3pPr marL="576000" indent="-108000" algn="l" defTabSz="914377" rtl="0" eaLnBrk="1" latinLnBrk="0" hangingPunct="1">
              <a:lnSpc>
                <a:spcPct val="101000"/>
              </a:lnSpc>
              <a:spcBef>
                <a:spcPts val="0"/>
              </a:spcBef>
              <a:buFont typeface="Arial" panose="020B0604020202020204" pitchFamily="34" charset="0"/>
              <a:buChar char="-"/>
              <a:defRPr sz="1200" kern="1200">
                <a:solidFill>
                  <a:schemeClr val="tx1"/>
                </a:solidFill>
                <a:latin typeface="Public Sans" pitchFamily="2" charset="0"/>
                <a:ea typeface="+mn-ea"/>
                <a:cs typeface="+mn-cs"/>
              </a:defRPr>
            </a:lvl3pPr>
            <a:lvl4pPr marL="1152000" indent="-216000" algn="l" defTabSz="914377" rtl="0" eaLnBrk="1" latinLnBrk="0" hangingPunct="1">
              <a:lnSpc>
                <a:spcPct val="101000"/>
              </a:lnSpc>
              <a:spcBef>
                <a:spcPts val="0"/>
              </a:spcBef>
              <a:buFont typeface="Arial" panose="020B0604020202020204" pitchFamily="34" charset="0"/>
              <a:buChar char="•"/>
              <a:defRPr sz="1100" kern="1200">
                <a:solidFill>
                  <a:schemeClr val="tx1"/>
                </a:solidFill>
                <a:latin typeface="+mn-lt"/>
                <a:ea typeface="+mn-ea"/>
                <a:cs typeface="+mn-cs"/>
              </a:defRPr>
            </a:lvl4pPr>
            <a:lvl5pPr marL="0" indent="0" algn="l" defTabSz="914377" rtl="0" eaLnBrk="1" latinLnBrk="0" hangingPunct="1">
              <a:lnSpc>
                <a:spcPct val="101000"/>
              </a:lnSpc>
              <a:spcBef>
                <a:spcPts val="0"/>
              </a:spcBef>
              <a:buFont typeface="Arial" panose="020B0604020202020204" pitchFamily="34" charset="0"/>
              <a:buNone/>
              <a:defRPr sz="1600" kern="1200">
                <a:solidFill>
                  <a:schemeClr val="tx2"/>
                </a:solidFill>
                <a:latin typeface="+mj-lt"/>
                <a:ea typeface="+mn-ea"/>
                <a:cs typeface="+mn-cs"/>
              </a:defRPr>
            </a:lvl5pPr>
            <a:lvl6pPr marL="0" indent="0" algn="l" defTabSz="914377" rtl="0" eaLnBrk="1" latinLnBrk="0" hangingPunct="1">
              <a:lnSpc>
                <a:spcPct val="101000"/>
              </a:lnSpc>
              <a:spcBef>
                <a:spcPts val="0"/>
              </a:spcBef>
              <a:buFont typeface="Arial" panose="020B0604020202020204" pitchFamily="34" charset="0"/>
              <a:buNone/>
              <a:defRPr sz="600" i="1" kern="1200">
                <a:solidFill>
                  <a:schemeClr val="tx1"/>
                </a:solidFill>
                <a:latin typeface="Public Sans" pitchFamily="2" charset="0"/>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1000"/>
              </a:lnSpc>
              <a:spcBef>
                <a:spcPts val="0"/>
              </a:spcBef>
              <a:spcAft>
                <a:spcPts val="600"/>
              </a:spcAft>
              <a:buClr>
                <a:srgbClr val="1322DC"/>
              </a:buClr>
              <a:buSzTx/>
              <a:buFont typeface="Arial" panose="020B0604020202020204" pitchFamily="34" charset="0"/>
              <a:buNone/>
              <a:tabLst/>
              <a:defRPr/>
            </a:pPr>
            <a:r>
              <a:rPr kumimoji="0" lang="en-gb" sz="1800" b="1" i="0" u="none" strike="noStrike" kern="1200" cap="none" spc="0" normalizeH="0" baseline="0" noProof="0" dirty="0" smtClean="0">
                <a:ln>
                  <a:noFill/>
                </a:ln>
                <a:solidFill>
                  <a:srgbClr val="1423DC"/>
                </a:solidFill>
                <a:effectLst/>
                <a:uLnTx/>
                <a:uFillTx/>
                <a:latin typeface="Enedis"/>
                <a:ea typeface="Times New Roman" panose="02020603050405020304" pitchFamily="18" charset="0"/>
                <a:cs typeface="Times New Roman" panose="02020603050405020304" pitchFamily="18" charset="0"/>
              </a:rPr>
              <a:t>Etudes, </a:t>
            </a:r>
            <a:r>
              <a:rPr kumimoji="0" lang="en-gb" sz="1800" b="1" i="0" u="none" strike="noStrike" kern="1200" cap="none" spc="0" normalizeH="0" baseline="0" noProof="0" dirty="0" err="1" smtClean="0">
                <a:ln>
                  <a:noFill/>
                </a:ln>
                <a:solidFill>
                  <a:srgbClr val="1423DC"/>
                </a:solidFill>
                <a:effectLst/>
                <a:uLnTx/>
                <a:uFillTx/>
                <a:latin typeface="Enedis"/>
                <a:ea typeface="Times New Roman" panose="02020603050405020304" pitchFamily="18" charset="0"/>
                <a:cs typeface="Times New Roman" panose="02020603050405020304" pitchFamily="18" charset="0"/>
              </a:rPr>
              <a:t>pr</a:t>
            </a:r>
            <a:r>
              <a:rPr lang="en-GB" sz="1800" b="1" dirty="0">
                <a:solidFill>
                  <a:srgbClr val="1423DC"/>
                </a:solidFill>
                <a:latin typeface="Enedis"/>
                <a:ea typeface="Times New Roman" panose="02020603050405020304" pitchFamily="18" charset="0"/>
                <a:cs typeface="Times New Roman" panose="02020603050405020304" pitchFamily="18" charset="0"/>
              </a:rPr>
              <a:t>é</a:t>
            </a:r>
            <a:r>
              <a:rPr kumimoji="0" lang="en-gb" sz="1800" b="1" i="0" u="none" strike="noStrike" kern="1200" cap="none" spc="0" normalizeH="0" baseline="0" noProof="0" dirty="0" err="1" smtClean="0">
                <a:ln>
                  <a:noFill/>
                </a:ln>
                <a:solidFill>
                  <a:srgbClr val="1423DC"/>
                </a:solidFill>
                <a:effectLst/>
                <a:uLnTx/>
                <a:uFillTx/>
                <a:latin typeface="Enedis"/>
                <a:ea typeface="Times New Roman" panose="02020603050405020304" pitchFamily="18" charset="0"/>
                <a:cs typeface="Times New Roman" panose="02020603050405020304" pitchFamily="18" charset="0"/>
              </a:rPr>
              <a:t>paration</a:t>
            </a:r>
            <a:r>
              <a:rPr kumimoji="0" lang="en-gb" sz="1800" b="1" i="0" u="none" strike="noStrike" kern="1200" cap="none" spc="0" normalizeH="0" baseline="0" noProof="0" dirty="0" smtClean="0">
                <a:ln>
                  <a:noFill/>
                </a:ln>
                <a:solidFill>
                  <a:srgbClr val="1423DC"/>
                </a:solidFill>
                <a:effectLst/>
                <a:uLnTx/>
                <a:uFillTx/>
                <a:latin typeface="Enedis"/>
                <a:ea typeface="Times New Roman" panose="02020603050405020304" pitchFamily="18" charset="0"/>
                <a:cs typeface="Times New Roman" panose="02020603050405020304" pitchFamily="18" charset="0"/>
              </a:rPr>
              <a:t> de </a:t>
            </a:r>
            <a:r>
              <a:rPr kumimoji="0" lang="en-gb" sz="1800" b="1" i="0" u="none" strike="noStrike" kern="1200" cap="none" spc="0" normalizeH="0" baseline="0" noProof="0" dirty="0" err="1" smtClean="0">
                <a:ln>
                  <a:noFill/>
                </a:ln>
                <a:solidFill>
                  <a:srgbClr val="1423DC"/>
                </a:solidFill>
                <a:effectLst/>
                <a:uLnTx/>
                <a:uFillTx/>
                <a:latin typeface="Enedis"/>
                <a:ea typeface="Times New Roman" panose="02020603050405020304" pitchFamily="18" charset="0"/>
                <a:cs typeface="Times New Roman" panose="02020603050405020304" pitchFamily="18" charset="0"/>
              </a:rPr>
              <a:t>l’avenir</a:t>
            </a:r>
            <a:endParaRPr kumimoji="0" lang="en-gb" sz="1400" b="0" i="1" u="none" strike="noStrike" kern="1200" cap="none" spc="0" normalizeH="0" baseline="0" noProof="0" dirty="0">
              <a:ln>
                <a:noFill/>
              </a:ln>
              <a:solidFill>
                <a:srgbClr val="1423DC"/>
              </a:solidFill>
              <a:effectLst/>
              <a:uLnTx/>
              <a:uFillTx/>
              <a:latin typeface="Enedis"/>
              <a:ea typeface="Times New Roman" panose="02020603050405020304" pitchFamily="18" charset="0"/>
              <a:cs typeface="Times New Roman" panose="02020603050405020304" pitchFamily="18" charset="0"/>
            </a:endParaRPr>
          </a:p>
        </p:txBody>
      </p:sp>
      <p:sp>
        <p:nvSpPr>
          <p:cNvPr id="88" name="Espace réservé du texte 8"/>
          <p:cNvSpPr txBox="1">
            <a:spLocks/>
          </p:cNvSpPr>
          <p:nvPr/>
        </p:nvSpPr>
        <p:spPr>
          <a:xfrm>
            <a:off x="9006559" y="3770453"/>
            <a:ext cx="2549676" cy="1065770"/>
          </a:xfrm>
          <a:prstGeom prst="rect">
            <a:avLst/>
          </a:prstGeom>
          <a:solidFill>
            <a:schemeClr val="bg1"/>
          </a:solidFill>
          <a:ln w="28575">
            <a:solidFill>
              <a:schemeClr val="accent3"/>
            </a:solidFill>
          </a:ln>
          <a:effectLst>
            <a:outerShdw blurRad="50800" dist="76200" dir="2700000" algn="tl" rotWithShape="0">
              <a:prstClr val="black">
                <a:alpha val="40000"/>
              </a:prstClr>
            </a:outerShdw>
          </a:effectLst>
        </p:spPr>
        <p:txBody>
          <a:bodyPr wrap="square" anchor="ctr" anchorCtr="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tx1"/>
                </a:solidFill>
                <a:latin typeface="+mn-lt"/>
                <a:ea typeface="+mn-ea"/>
                <a:cs typeface="+mn-cs"/>
              </a:defRPr>
            </a:lvl1pPr>
            <a:lvl2pPr marL="216000" indent="-216000" algn="l" defTabSz="914377" rtl="0" eaLnBrk="1" latinLnBrk="0" hangingPunct="1">
              <a:lnSpc>
                <a:spcPct val="101000"/>
              </a:lnSpc>
              <a:spcBef>
                <a:spcPts val="0"/>
              </a:spcBef>
              <a:buClr>
                <a:schemeClr val="tx2"/>
              </a:buClr>
              <a:buSzPct val="120000"/>
              <a:buFont typeface="Public Sans" pitchFamily="2" charset="0"/>
              <a:buChar char="—"/>
              <a:defRPr sz="1200" b="1" kern="1200">
                <a:solidFill>
                  <a:schemeClr val="tx2"/>
                </a:solidFill>
                <a:latin typeface="Public Sans" pitchFamily="2" charset="0"/>
                <a:ea typeface="+mn-ea"/>
                <a:cs typeface="+mn-cs"/>
              </a:defRPr>
            </a:lvl2pPr>
            <a:lvl3pPr marL="576000" indent="-108000" algn="l" defTabSz="914377" rtl="0" eaLnBrk="1" latinLnBrk="0" hangingPunct="1">
              <a:lnSpc>
                <a:spcPct val="101000"/>
              </a:lnSpc>
              <a:spcBef>
                <a:spcPts val="0"/>
              </a:spcBef>
              <a:buFont typeface="Arial" panose="020B0604020202020204" pitchFamily="34" charset="0"/>
              <a:buChar char="-"/>
              <a:defRPr sz="1200" kern="1200">
                <a:solidFill>
                  <a:schemeClr val="tx1"/>
                </a:solidFill>
                <a:latin typeface="Public Sans" pitchFamily="2" charset="0"/>
                <a:ea typeface="+mn-ea"/>
                <a:cs typeface="+mn-cs"/>
              </a:defRPr>
            </a:lvl3pPr>
            <a:lvl4pPr marL="1152000" indent="-216000" algn="l" defTabSz="914377" rtl="0" eaLnBrk="1" latinLnBrk="0" hangingPunct="1">
              <a:lnSpc>
                <a:spcPct val="101000"/>
              </a:lnSpc>
              <a:spcBef>
                <a:spcPts val="0"/>
              </a:spcBef>
              <a:buFont typeface="Arial" panose="020B0604020202020204" pitchFamily="34" charset="0"/>
              <a:buChar char="•"/>
              <a:defRPr sz="1100" kern="1200">
                <a:solidFill>
                  <a:schemeClr val="tx1"/>
                </a:solidFill>
                <a:latin typeface="+mn-lt"/>
                <a:ea typeface="+mn-ea"/>
                <a:cs typeface="+mn-cs"/>
              </a:defRPr>
            </a:lvl4pPr>
            <a:lvl5pPr marL="0" indent="0" algn="l" defTabSz="914377" rtl="0" eaLnBrk="1" latinLnBrk="0" hangingPunct="1">
              <a:lnSpc>
                <a:spcPct val="101000"/>
              </a:lnSpc>
              <a:spcBef>
                <a:spcPts val="0"/>
              </a:spcBef>
              <a:buFont typeface="Arial" panose="020B0604020202020204" pitchFamily="34" charset="0"/>
              <a:buNone/>
              <a:defRPr sz="1600" kern="1200">
                <a:solidFill>
                  <a:schemeClr val="tx2"/>
                </a:solidFill>
                <a:latin typeface="+mj-lt"/>
                <a:ea typeface="+mn-ea"/>
                <a:cs typeface="+mn-cs"/>
              </a:defRPr>
            </a:lvl5pPr>
            <a:lvl6pPr marL="0" indent="0" algn="l" defTabSz="914377" rtl="0" eaLnBrk="1" latinLnBrk="0" hangingPunct="1">
              <a:lnSpc>
                <a:spcPct val="101000"/>
              </a:lnSpc>
              <a:spcBef>
                <a:spcPts val="0"/>
              </a:spcBef>
              <a:buFont typeface="Arial" panose="020B0604020202020204" pitchFamily="34" charset="0"/>
              <a:buNone/>
              <a:defRPr sz="600" i="1" kern="1200">
                <a:solidFill>
                  <a:schemeClr val="tx1"/>
                </a:solidFill>
                <a:latin typeface="Public Sans" pitchFamily="2" charset="0"/>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1000"/>
              </a:lnSpc>
              <a:spcBef>
                <a:spcPts val="0"/>
              </a:spcBef>
              <a:spcAft>
                <a:spcPts val="600"/>
              </a:spcAft>
              <a:buClr>
                <a:srgbClr val="1322DC"/>
              </a:buClr>
              <a:buSzTx/>
              <a:buFont typeface="Arial" panose="020B0604020202020204" pitchFamily="34" charset="0"/>
              <a:buNone/>
              <a:tabLst/>
              <a:defRPr/>
            </a:pPr>
            <a:r>
              <a:rPr kumimoji="0" lang="en-gb" sz="1800" b="1" i="0" u="none" strike="noStrike" kern="1200" cap="none" spc="0" normalizeH="0" baseline="0" noProof="0" dirty="0" smtClean="0">
                <a:ln>
                  <a:noFill/>
                </a:ln>
                <a:solidFill>
                  <a:srgbClr val="1423DC"/>
                </a:solidFill>
                <a:effectLst/>
                <a:uLnTx/>
                <a:uFillTx/>
                <a:latin typeface="Enedis"/>
                <a:ea typeface="Times New Roman" panose="02020603050405020304" pitchFamily="18" charset="0"/>
                <a:cs typeface="Times New Roman" panose="02020603050405020304" pitchFamily="18" charset="0"/>
              </a:rPr>
              <a:t>Electrification de la </a:t>
            </a:r>
            <a:r>
              <a:rPr kumimoji="0" lang="en-gb" sz="1800" b="1" i="0" u="none" strike="noStrike" kern="1200" cap="none" spc="0" normalizeH="0" baseline="0" noProof="0" dirty="0" err="1" smtClean="0">
                <a:ln>
                  <a:noFill/>
                </a:ln>
                <a:solidFill>
                  <a:srgbClr val="1423DC"/>
                </a:solidFill>
                <a:effectLst/>
                <a:uLnTx/>
                <a:uFillTx/>
                <a:latin typeface="Enedis"/>
                <a:ea typeface="Times New Roman" panose="02020603050405020304" pitchFamily="18" charset="0"/>
                <a:cs typeface="Times New Roman" panose="02020603050405020304" pitchFamily="18" charset="0"/>
              </a:rPr>
              <a:t>flotte</a:t>
            </a:r>
            <a:r>
              <a:rPr kumimoji="0" lang="en-gb" sz="1800" b="1" i="0" u="none" strike="noStrike" kern="1200" cap="none" spc="0" normalizeH="0" baseline="0" noProof="0" dirty="0" smtClean="0">
                <a:ln>
                  <a:noFill/>
                </a:ln>
                <a:solidFill>
                  <a:srgbClr val="1423DC"/>
                </a:solidFill>
                <a:effectLst/>
                <a:uLnTx/>
                <a:uFillTx/>
                <a:latin typeface="Enedis"/>
                <a:ea typeface="Times New Roman" panose="02020603050405020304" pitchFamily="18" charset="0"/>
                <a:cs typeface="Times New Roman" panose="02020603050405020304" pitchFamily="18" charset="0"/>
              </a:rPr>
              <a:t> prop</a:t>
            </a:r>
            <a:r>
              <a:rPr lang="en-GB" sz="1800" b="1" dirty="0" smtClean="0">
                <a:solidFill>
                  <a:srgbClr val="1423DC"/>
                </a:solidFill>
                <a:latin typeface="Enedis"/>
                <a:ea typeface="Times New Roman" panose="02020603050405020304" pitchFamily="18" charset="0"/>
                <a:cs typeface="Times New Roman" panose="02020603050405020304" pitchFamily="18" charset="0"/>
              </a:rPr>
              <a:t>re Enedis</a:t>
            </a:r>
            <a:endParaRPr kumimoji="0" lang="en-gb" sz="1800" b="0" i="0" u="none" strike="noStrike" kern="1200" cap="none" spc="0" normalizeH="0" baseline="0" noProof="0" dirty="0" smtClean="0">
              <a:ln>
                <a:noFill/>
              </a:ln>
              <a:solidFill>
                <a:srgbClr val="1423DC"/>
              </a:solidFill>
              <a:effectLst/>
              <a:uLnTx/>
              <a:uFillTx/>
              <a:latin typeface="Enedis"/>
              <a:ea typeface="Times New Roman" panose="02020603050405020304" pitchFamily="18" charset="0"/>
              <a:cs typeface="Times New Roman" panose="02020603050405020304" pitchFamily="18" charset="0"/>
            </a:endParaRPr>
          </a:p>
        </p:txBody>
      </p:sp>
      <p:sp>
        <p:nvSpPr>
          <p:cNvPr id="95" name="Espace réservé du texte 8"/>
          <p:cNvSpPr txBox="1">
            <a:spLocks/>
          </p:cNvSpPr>
          <p:nvPr/>
        </p:nvSpPr>
        <p:spPr>
          <a:xfrm>
            <a:off x="3460193" y="3770453"/>
            <a:ext cx="2549676" cy="1065770"/>
          </a:xfrm>
          <a:prstGeom prst="rect">
            <a:avLst/>
          </a:prstGeom>
          <a:solidFill>
            <a:schemeClr val="bg1"/>
          </a:solidFill>
          <a:ln w="28575">
            <a:solidFill>
              <a:schemeClr val="accent3"/>
            </a:solidFill>
          </a:ln>
          <a:effectLst>
            <a:outerShdw blurRad="50800" dist="76200" dir="2700000" algn="tl" rotWithShape="0">
              <a:prstClr val="black">
                <a:alpha val="40000"/>
              </a:prstClr>
            </a:outerShdw>
          </a:effectLst>
        </p:spPr>
        <p:txBody>
          <a:bodyPr wrap="square" anchor="ctr" anchorCtr="0">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tx1"/>
                </a:solidFill>
                <a:latin typeface="+mn-lt"/>
                <a:ea typeface="+mn-ea"/>
                <a:cs typeface="+mn-cs"/>
              </a:defRPr>
            </a:lvl1pPr>
            <a:lvl2pPr marL="216000" indent="-216000" algn="l" defTabSz="914377" rtl="0" eaLnBrk="1" latinLnBrk="0" hangingPunct="1">
              <a:lnSpc>
                <a:spcPct val="101000"/>
              </a:lnSpc>
              <a:spcBef>
                <a:spcPts val="0"/>
              </a:spcBef>
              <a:buClr>
                <a:schemeClr val="tx2"/>
              </a:buClr>
              <a:buSzPct val="120000"/>
              <a:buFont typeface="Public Sans" pitchFamily="2" charset="0"/>
              <a:buChar char="—"/>
              <a:defRPr sz="1200" b="1" kern="1200">
                <a:solidFill>
                  <a:schemeClr val="tx2"/>
                </a:solidFill>
                <a:latin typeface="Public Sans" pitchFamily="2" charset="0"/>
                <a:ea typeface="+mn-ea"/>
                <a:cs typeface="+mn-cs"/>
              </a:defRPr>
            </a:lvl2pPr>
            <a:lvl3pPr marL="576000" indent="-108000" algn="l" defTabSz="914377" rtl="0" eaLnBrk="1" latinLnBrk="0" hangingPunct="1">
              <a:lnSpc>
                <a:spcPct val="101000"/>
              </a:lnSpc>
              <a:spcBef>
                <a:spcPts val="0"/>
              </a:spcBef>
              <a:buFont typeface="Arial" panose="020B0604020202020204" pitchFamily="34" charset="0"/>
              <a:buChar char="-"/>
              <a:defRPr sz="1200" kern="1200">
                <a:solidFill>
                  <a:schemeClr val="tx1"/>
                </a:solidFill>
                <a:latin typeface="Public Sans" pitchFamily="2" charset="0"/>
                <a:ea typeface="+mn-ea"/>
                <a:cs typeface="+mn-cs"/>
              </a:defRPr>
            </a:lvl3pPr>
            <a:lvl4pPr marL="1152000" indent="-216000" algn="l" defTabSz="914377" rtl="0" eaLnBrk="1" latinLnBrk="0" hangingPunct="1">
              <a:lnSpc>
                <a:spcPct val="101000"/>
              </a:lnSpc>
              <a:spcBef>
                <a:spcPts val="0"/>
              </a:spcBef>
              <a:buFont typeface="Arial" panose="020B0604020202020204" pitchFamily="34" charset="0"/>
              <a:buChar char="•"/>
              <a:defRPr sz="1100" kern="1200">
                <a:solidFill>
                  <a:schemeClr val="tx1"/>
                </a:solidFill>
                <a:latin typeface="+mn-lt"/>
                <a:ea typeface="+mn-ea"/>
                <a:cs typeface="+mn-cs"/>
              </a:defRPr>
            </a:lvl4pPr>
            <a:lvl5pPr marL="0" indent="0" algn="l" defTabSz="914377" rtl="0" eaLnBrk="1" latinLnBrk="0" hangingPunct="1">
              <a:lnSpc>
                <a:spcPct val="101000"/>
              </a:lnSpc>
              <a:spcBef>
                <a:spcPts val="0"/>
              </a:spcBef>
              <a:buFont typeface="Arial" panose="020B0604020202020204" pitchFamily="34" charset="0"/>
              <a:buNone/>
              <a:defRPr sz="1600" kern="1200">
                <a:solidFill>
                  <a:schemeClr val="tx2"/>
                </a:solidFill>
                <a:latin typeface="+mj-lt"/>
                <a:ea typeface="+mn-ea"/>
                <a:cs typeface="+mn-cs"/>
              </a:defRPr>
            </a:lvl5pPr>
            <a:lvl6pPr marL="0" indent="0" algn="l" defTabSz="914377" rtl="0" eaLnBrk="1" latinLnBrk="0" hangingPunct="1">
              <a:lnSpc>
                <a:spcPct val="101000"/>
              </a:lnSpc>
              <a:spcBef>
                <a:spcPts val="0"/>
              </a:spcBef>
              <a:buFont typeface="Arial" panose="020B0604020202020204" pitchFamily="34" charset="0"/>
              <a:buNone/>
              <a:defRPr sz="600" i="1" kern="1200">
                <a:solidFill>
                  <a:schemeClr val="tx1"/>
                </a:solidFill>
                <a:latin typeface="Public Sans" pitchFamily="2" charset="0"/>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1000"/>
              </a:lnSpc>
              <a:spcBef>
                <a:spcPts val="0"/>
              </a:spcBef>
              <a:spcAft>
                <a:spcPts val="600"/>
              </a:spcAft>
              <a:buClr>
                <a:srgbClr val="1322DC"/>
              </a:buClr>
              <a:buSzTx/>
              <a:buFont typeface="Arial" panose="020B0604020202020204" pitchFamily="34" charset="0"/>
              <a:buNone/>
              <a:tabLst/>
              <a:defRPr/>
            </a:pPr>
            <a:r>
              <a:rPr kumimoji="0" lang="fr-FR" sz="1800" b="0" i="0" u="none" strike="noStrike" kern="1200" cap="none" spc="0" normalizeH="0" baseline="0" noProof="0" dirty="0" smtClean="0">
                <a:ln>
                  <a:noFill/>
                </a:ln>
                <a:solidFill>
                  <a:srgbClr val="1423DC"/>
                </a:solidFill>
                <a:effectLst/>
                <a:uLnTx/>
                <a:uFillTx/>
                <a:latin typeface="Enedis"/>
                <a:ea typeface="Times New Roman" panose="02020603050405020304" pitchFamily="18" charset="0"/>
                <a:cs typeface="Times New Roman" panose="02020603050405020304" pitchFamily="18" charset="0"/>
              </a:rPr>
              <a:t>Projet infrastructures de recharge en </a:t>
            </a:r>
            <a:r>
              <a:rPr kumimoji="0" lang="fr-FR" sz="1800" b="1" i="0" u="none" strike="noStrike" kern="1200" cap="none" spc="0" normalizeH="0" baseline="0" noProof="0" dirty="0" smtClean="0">
                <a:ln>
                  <a:noFill/>
                </a:ln>
                <a:solidFill>
                  <a:srgbClr val="1423DC"/>
                </a:solidFill>
                <a:effectLst/>
                <a:uLnTx/>
                <a:uFillTx/>
                <a:latin typeface="Enedis"/>
                <a:ea typeface="Times New Roman" panose="02020603050405020304" pitchFamily="18" charset="0"/>
                <a:cs typeface="Times New Roman" panose="02020603050405020304" pitchFamily="18" charset="0"/>
              </a:rPr>
              <a:t>Résidentiel Collectif</a:t>
            </a:r>
            <a:endParaRPr kumimoji="0" lang="en-gb" sz="1800" b="1" i="1" u="none" strike="noStrike" kern="1200" cap="none" spc="0" normalizeH="0" baseline="0" noProof="0" dirty="0">
              <a:ln>
                <a:noFill/>
              </a:ln>
              <a:solidFill>
                <a:srgbClr val="1423DC"/>
              </a:solidFill>
              <a:effectLst/>
              <a:uLnTx/>
              <a:uFillTx/>
              <a:latin typeface="Enedis"/>
              <a:ea typeface="Times New Roman" panose="02020603050405020304" pitchFamily="18" charset="0"/>
              <a:cs typeface="Times New Roman" panose="02020603050405020304" pitchFamily="18" charset="0"/>
            </a:endParaRPr>
          </a:p>
        </p:txBody>
      </p:sp>
      <p:cxnSp>
        <p:nvCxnSpPr>
          <p:cNvPr id="8" name="Connecteur en angle 7"/>
          <p:cNvCxnSpPr>
            <a:stCxn id="71" idx="2"/>
            <a:endCxn id="72" idx="0"/>
          </p:cNvCxnSpPr>
          <p:nvPr/>
        </p:nvCxnSpPr>
        <p:spPr>
          <a:xfrm rot="5400000">
            <a:off x="3774955" y="1439099"/>
            <a:ext cx="518249" cy="4144461"/>
          </a:xfrm>
          <a:prstGeom prst="bentConnector3">
            <a:avLst/>
          </a:prstGeom>
          <a:ln w="28575">
            <a:tailEnd type="triangle"/>
          </a:ln>
        </p:spPr>
        <p:style>
          <a:lnRef idx="1">
            <a:schemeClr val="accent3"/>
          </a:lnRef>
          <a:fillRef idx="0">
            <a:schemeClr val="accent3"/>
          </a:fillRef>
          <a:effectRef idx="0">
            <a:schemeClr val="accent3"/>
          </a:effectRef>
          <a:fontRef idx="minor">
            <a:schemeClr val="tx1"/>
          </a:fontRef>
        </p:style>
      </p:cxnSp>
      <p:cxnSp>
        <p:nvCxnSpPr>
          <p:cNvPr id="96" name="Connecteur en angle 95"/>
          <p:cNvCxnSpPr>
            <a:stCxn id="71" idx="2"/>
            <a:endCxn id="78" idx="0"/>
          </p:cNvCxnSpPr>
          <p:nvPr/>
        </p:nvCxnSpPr>
        <p:spPr>
          <a:xfrm rot="5400000">
            <a:off x="5161546" y="2825690"/>
            <a:ext cx="518248" cy="1371278"/>
          </a:xfrm>
          <a:prstGeom prst="bentConnector3">
            <a:avLst>
              <a:gd name="adj1" fmla="val 50000"/>
            </a:avLst>
          </a:prstGeom>
          <a:ln w="28575">
            <a:tailEnd type="triangle"/>
          </a:ln>
        </p:spPr>
        <p:style>
          <a:lnRef idx="1">
            <a:schemeClr val="accent3"/>
          </a:lnRef>
          <a:fillRef idx="0">
            <a:schemeClr val="accent3"/>
          </a:fillRef>
          <a:effectRef idx="0">
            <a:schemeClr val="accent3"/>
          </a:effectRef>
          <a:fontRef idx="minor">
            <a:schemeClr val="tx1"/>
          </a:fontRef>
        </p:style>
      </p:cxnSp>
      <p:cxnSp>
        <p:nvCxnSpPr>
          <p:cNvPr id="97" name="Connecteur en angle 96"/>
          <p:cNvCxnSpPr>
            <a:stCxn id="71" idx="2"/>
            <a:endCxn id="88" idx="0"/>
          </p:cNvCxnSpPr>
          <p:nvPr/>
        </p:nvCxnSpPr>
        <p:spPr>
          <a:xfrm rot="16200000" flipH="1">
            <a:off x="6548137" y="2810376"/>
            <a:ext cx="518248" cy="1401905"/>
          </a:xfrm>
          <a:prstGeom prst="bentConnector3">
            <a:avLst>
              <a:gd name="adj1" fmla="val 50000"/>
            </a:avLst>
          </a:prstGeom>
          <a:ln w="28575">
            <a:tailEnd type="triangle"/>
          </a:ln>
        </p:spPr>
        <p:style>
          <a:lnRef idx="1">
            <a:schemeClr val="accent3"/>
          </a:lnRef>
          <a:fillRef idx="0">
            <a:schemeClr val="accent3"/>
          </a:fillRef>
          <a:effectRef idx="0">
            <a:schemeClr val="accent3"/>
          </a:effectRef>
          <a:fontRef idx="minor">
            <a:schemeClr val="tx1"/>
          </a:fontRef>
        </p:style>
      </p:cxnSp>
      <p:cxnSp>
        <p:nvCxnSpPr>
          <p:cNvPr id="98" name="Connecteur en angle 97"/>
          <p:cNvCxnSpPr>
            <a:stCxn id="71" idx="2"/>
            <a:endCxn id="95" idx="0"/>
          </p:cNvCxnSpPr>
          <p:nvPr/>
        </p:nvCxnSpPr>
        <p:spPr>
          <a:xfrm rot="16200000" flipH="1">
            <a:off x="7934729" y="1423785"/>
            <a:ext cx="518248" cy="4175088"/>
          </a:xfrm>
          <a:prstGeom prst="bentConnector3">
            <a:avLst>
              <a:gd name="adj1" fmla="val 50000"/>
            </a:avLst>
          </a:prstGeom>
          <a:ln w="28575">
            <a:tailEnd type="triangle"/>
          </a:ln>
        </p:spPr>
        <p:style>
          <a:lnRef idx="1">
            <a:schemeClr val="accent3"/>
          </a:lnRef>
          <a:fillRef idx="0">
            <a:schemeClr val="accent3"/>
          </a:fillRef>
          <a:effectRef idx="0">
            <a:schemeClr val="accent3"/>
          </a:effectRef>
          <a:fontRef idx="minor">
            <a:schemeClr val="tx1"/>
          </a:fontRef>
        </p:style>
      </p:cxnSp>
      <p:sp>
        <p:nvSpPr>
          <p:cNvPr id="17" name="Slide Number Placeholder 3">
            <a:extLst>
              <a:ext uri="{FF2B5EF4-FFF2-40B4-BE49-F238E27FC236}">
                <a16:creationId xmlns:a16="http://schemas.microsoft.com/office/drawing/2014/main" id="{29869B0A-245E-6617-42EE-AD9F74932BA2}"/>
              </a:ext>
            </a:extLst>
          </p:cNvPr>
          <p:cNvSpPr txBox="1">
            <a:spLocks/>
          </p:cNvSpPr>
          <p:nvPr/>
        </p:nvSpPr>
        <p:spPr>
          <a:xfrm>
            <a:off x="11323660" y="6514468"/>
            <a:ext cx="465150" cy="154849"/>
          </a:xfrm>
          <a:prstGeom prst="rect">
            <a:avLst/>
          </a:prstGeom>
        </p:spPr>
        <p:txBody>
          <a:bodyPr vert="horz" lIns="0" tIns="0" rIns="0" bIns="0" rtlCol="0" anchor="ctr"/>
          <a:lstStyle>
            <a:defPPr>
              <a:defRPr lang="en-US"/>
            </a:defPPr>
            <a:lvl1pPr marL="0" algn="r" defTabSz="609585" rtl="0" eaLnBrk="1" latinLnBrk="0" hangingPunct="1">
              <a:defRPr sz="750" b="1" kern="1200">
                <a:solidFill>
                  <a:schemeClr val="tx2"/>
                </a:solidFill>
                <a:latin typeface="+mj-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Tx/>
              <a:buSzTx/>
              <a:buFontTx/>
              <a:buNone/>
              <a:tabLst/>
              <a:defRPr/>
            </a:pPr>
            <a:fld id="{6B54B0F7-55DD-40D6-B7F4-70B586885C0B}" type="slidenum">
              <a:rPr kumimoji="0" lang="fr-FR" sz="800" b="1" i="0" u="none" strike="noStrike" kern="1200" cap="none" spc="0" normalizeH="0" baseline="0" noProof="0" smtClean="0">
                <a:ln>
                  <a:noFill/>
                </a:ln>
                <a:solidFill>
                  <a:srgbClr val="1423DC"/>
                </a:solidFill>
                <a:effectLst/>
                <a:uLnTx/>
                <a:uFillTx/>
                <a:latin typeface="Enedis"/>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0</a:t>
            </a:fld>
            <a:endParaRPr kumimoji="0" lang="fr-FR" sz="800" b="1" i="0" u="none" strike="noStrike" kern="1200" cap="none" spc="0" normalizeH="0" baseline="0" noProof="0" dirty="0">
              <a:ln>
                <a:noFill/>
              </a:ln>
              <a:solidFill>
                <a:srgbClr val="1423DC"/>
              </a:solidFill>
              <a:effectLst/>
              <a:uLnTx/>
              <a:uFillTx/>
              <a:latin typeface="Enedis"/>
              <a:ea typeface="+mn-ea"/>
              <a:cs typeface="+mn-cs"/>
            </a:endParaRPr>
          </a:p>
        </p:txBody>
      </p:sp>
    </p:spTree>
    <p:custDataLst>
      <p:tags r:id="rId1"/>
    </p:custDataLst>
    <p:extLst>
      <p:ext uri="{BB962C8B-B14F-4D97-AF65-F5344CB8AC3E}">
        <p14:creationId xmlns:p14="http://schemas.microsoft.com/office/powerpoint/2010/main" val="12451851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3">
            <a:extLst>
              <a:ext uri="{FF2B5EF4-FFF2-40B4-BE49-F238E27FC236}">
                <a16:creationId xmlns:a16="http://schemas.microsoft.com/office/drawing/2014/main" id="{29869B0A-245E-6617-42EE-AD9F74932BA2}"/>
              </a:ext>
            </a:extLst>
          </p:cNvPr>
          <p:cNvSpPr txBox="1">
            <a:spLocks/>
          </p:cNvSpPr>
          <p:nvPr/>
        </p:nvSpPr>
        <p:spPr>
          <a:xfrm>
            <a:off x="11203781" y="6514718"/>
            <a:ext cx="465150" cy="154849"/>
          </a:xfrm>
          <a:prstGeom prst="rect">
            <a:avLst/>
          </a:prstGeom>
        </p:spPr>
        <p:txBody>
          <a:bodyPr vert="horz" lIns="0" tIns="0" rIns="0" bIns="0" rtlCol="0" anchor="ctr"/>
          <a:lstStyle>
            <a:defPPr>
              <a:defRPr lang="en-US"/>
            </a:defPPr>
            <a:lvl1pPr marL="0" algn="r" defTabSz="609585" rtl="0" eaLnBrk="1" latinLnBrk="0" hangingPunct="1">
              <a:defRPr sz="750" b="1" kern="1200">
                <a:solidFill>
                  <a:schemeClr val="tx2"/>
                </a:solidFill>
                <a:latin typeface="+mj-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6B54B0F7-55DD-40D6-B7F4-70B586885C0B}" type="slidenum">
              <a:rPr lang="fr-FR" sz="800" smtClean="0"/>
              <a:pPr/>
              <a:t>11</a:t>
            </a:fld>
            <a:endParaRPr lang="fr-FR" sz="800" dirty="0"/>
          </a:p>
        </p:txBody>
      </p:sp>
      <p:pic>
        <p:nvPicPr>
          <p:cNvPr id="10" name="Image 9"/>
          <p:cNvPicPr>
            <a:picLocks noChangeAspect="1"/>
          </p:cNvPicPr>
          <p:nvPr/>
        </p:nvPicPr>
        <p:blipFill>
          <a:blip r:embed="rId3"/>
          <a:stretch>
            <a:fillRect/>
          </a:stretch>
        </p:blipFill>
        <p:spPr>
          <a:xfrm>
            <a:off x="4203700" y="1282102"/>
            <a:ext cx="7350991" cy="5165630"/>
          </a:xfrm>
          <a:prstGeom prst="rect">
            <a:avLst/>
          </a:prstGeom>
          <a:effectLst>
            <a:outerShdw blurRad="50800" dist="76200" dir="2700000" algn="tl" rotWithShape="0">
              <a:prstClr val="black">
                <a:alpha val="40000"/>
              </a:prstClr>
            </a:outerShdw>
          </a:effectLst>
        </p:spPr>
      </p:pic>
      <p:sp>
        <p:nvSpPr>
          <p:cNvPr id="12" name="ZoneTexte 11"/>
          <p:cNvSpPr txBox="1"/>
          <p:nvPr/>
        </p:nvSpPr>
        <p:spPr>
          <a:xfrm>
            <a:off x="4288788" y="1329721"/>
            <a:ext cx="5470354" cy="651845"/>
          </a:xfrm>
          <a:prstGeom prst="rect">
            <a:avLst/>
          </a:prstGeom>
          <a:solidFill>
            <a:schemeClr val="bg1"/>
          </a:solidFill>
          <a:ln>
            <a:noFill/>
          </a:ln>
        </p:spPr>
        <p:txBody>
          <a:bodyPr wrap="square" rtlCol="0">
            <a:spAutoFit/>
          </a:bodyPr>
          <a:lstStyle/>
          <a:p>
            <a:pPr marL="0" marR="0" lvl="0" indent="0" algn="l" defTabSz="914377" rtl="0" eaLnBrk="1" fontAlgn="auto" latinLnBrk="0" hangingPunct="1">
              <a:lnSpc>
                <a:spcPct val="101000"/>
              </a:lnSpc>
              <a:spcBef>
                <a:spcPts val="0"/>
              </a:spcBef>
              <a:spcAft>
                <a:spcPts val="600"/>
              </a:spcAft>
              <a:buClr>
                <a:srgbClr val="1423DC"/>
              </a:buClr>
              <a:buSzTx/>
              <a:buFontTx/>
              <a:buNone/>
              <a:tabLst/>
              <a:defRPr/>
            </a:pPr>
            <a:r>
              <a:rPr kumimoji="0" lang="en-US" sz="1800" b="1" i="0" u="none" strike="noStrike" kern="1200" cap="none" spc="0" normalizeH="0" baseline="0" noProof="0" dirty="0" err="1" smtClean="0">
                <a:ln>
                  <a:noFill/>
                </a:ln>
                <a:solidFill>
                  <a:srgbClr val="EB6E3C"/>
                </a:solidFill>
                <a:effectLst/>
                <a:uLnTx/>
                <a:uFillTx/>
                <a:latin typeface="Enedis"/>
                <a:ea typeface="+mn-ea"/>
                <a:cs typeface="+mn-cs"/>
              </a:rPr>
              <a:t>Investissements</a:t>
            </a:r>
            <a:r>
              <a:rPr kumimoji="0" lang="en-US" sz="1800" b="1" i="0" u="none" strike="noStrike" kern="1200" cap="none" spc="0" normalizeH="0" noProof="0" dirty="0" smtClean="0">
                <a:ln>
                  <a:noFill/>
                </a:ln>
                <a:solidFill>
                  <a:srgbClr val="EB6E3C"/>
                </a:solidFill>
                <a:effectLst/>
                <a:uLnTx/>
                <a:uFillTx/>
                <a:latin typeface="Enedis"/>
                <a:ea typeface="+mn-ea"/>
                <a:cs typeface="+mn-cs"/>
              </a:rPr>
              <a:t> Enedis </a:t>
            </a:r>
            <a:r>
              <a:rPr kumimoji="0" lang="en-US" sz="1800" b="1" i="0" u="none" strike="noStrike" kern="1200" cap="none" spc="0" normalizeH="0" noProof="0" dirty="0" err="1" smtClean="0">
                <a:ln>
                  <a:noFill/>
                </a:ln>
                <a:solidFill>
                  <a:srgbClr val="EB6E3C"/>
                </a:solidFill>
                <a:effectLst/>
                <a:uLnTx/>
                <a:uFillTx/>
                <a:latin typeface="Enedis"/>
                <a:ea typeface="+mn-ea"/>
                <a:cs typeface="+mn-cs"/>
              </a:rPr>
              <a:t>cumulés</a:t>
            </a:r>
            <a:r>
              <a:rPr kumimoji="0" lang="en-US" sz="1800" b="1" i="0" u="none" strike="noStrike" kern="1200" cap="none" spc="0" normalizeH="0" noProof="0" dirty="0" smtClean="0">
                <a:ln>
                  <a:noFill/>
                </a:ln>
                <a:solidFill>
                  <a:srgbClr val="EB6E3C"/>
                </a:solidFill>
                <a:effectLst/>
                <a:uLnTx/>
                <a:uFillTx/>
                <a:latin typeface="Enedis"/>
                <a:ea typeface="+mn-ea"/>
                <a:cs typeface="+mn-cs"/>
              </a:rPr>
              <a:t> à </a:t>
            </a:r>
            <a:r>
              <a:rPr kumimoji="0" lang="en-US" sz="1800" b="1" i="0" u="none" strike="noStrike" kern="1200" cap="none" spc="0" normalizeH="0" noProof="0" dirty="0" smtClean="0">
                <a:ln>
                  <a:noFill/>
                </a:ln>
                <a:solidFill>
                  <a:srgbClr val="EB6E3C"/>
                </a:solidFill>
                <a:effectLst/>
                <a:uLnTx/>
                <a:uFillTx/>
                <a:latin typeface="Enedis"/>
                <a:ea typeface="+mn-ea"/>
                <a:cs typeface="+mn-cs"/>
              </a:rPr>
              <a:t>2035 pour les </a:t>
            </a:r>
            <a:r>
              <a:rPr kumimoji="0" lang="en-US" sz="1800" b="1" i="0" u="none" strike="noStrike" kern="1200" cap="none" spc="0" normalizeH="0" noProof="0" dirty="0" err="1" smtClean="0">
                <a:ln>
                  <a:noFill/>
                </a:ln>
                <a:solidFill>
                  <a:srgbClr val="EB6E3C"/>
                </a:solidFill>
                <a:effectLst/>
                <a:uLnTx/>
                <a:uFillTx/>
                <a:latin typeface="Enedis"/>
                <a:ea typeface="+mn-ea"/>
                <a:cs typeface="+mn-cs"/>
              </a:rPr>
              <a:t>raccordements</a:t>
            </a:r>
            <a:r>
              <a:rPr kumimoji="0" lang="en-US" sz="1800" b="1" i="0" u="none" strike="noStrike" kern="1200" cap="none" spc="0" normalizeH="0" noProof="0" dirty="0" smtClean="0">
                <a:ln>
                  <a:noFill/>
                </a:ln>
                <a:solidFill>
                  <a:srgbClr val="EB6E3C"/>
                </a:solidFill>
                <a:effectLst/>
                <a:uLnTx/>
                <a:uFillTx/>
                <a:latin typeface="Enedis"/>
                <a:ea typeface="+mn-ea"/>
                <a:cs typeface="+mn-cs"/>
              </a:rPr>
              <a:t> </a:t>
            </a:r>
            <a:r>
              <a:rPr kumimoji="0" lang="en-US" sz="1800" b="1" i="0" u="none" strike="noStrike" kern="1200" cap="none" spc="0" normalizeH="0" noProof="0" dirty="0" err="1" smtClean="0">
                <a:ln>
                  <a:noFill/>
                </a:ln>
                <a:solidFill>
                  <a:srgbClr val="EB6E3C"/>
                </a:solidFill>
                <a:effectLst/>
                <a:uLnTx/>
                <a:uFillTx/>
                <a:latin typeface="Enedis"/>
                <a:ea typeface="+mn-ea"/>
                <a:cs typeface="+mn-cs"/>
              </a:rPr>
              <a:t>associés</a:t>
            </a:r>
            <a:r>
              <a:rPr kumimoji="0" lang="en-US" sz="1800" b="1" i="0" u="none" strike="noStrike" kern="1200" cap="none" spc="0" normalizeH="0" noProof="0" dirty="0" smtClean="0">
                <a:ln>
                  <a:noFill/>
                </a:ln>
                <a:solidFill>
                  <a:srgbClr val="EB6E3C"/>
                </a:solidFill>
                <a:effectLst/>
                <a:uLnTx/>
                <a:uFillTx/>
                <a:latin typeface="Enedis"/>
                <a:ea typeface="+mn-ea"/>
                <a:cs typeface="+mn-cs"/>
              </a:rPr>
              <a:t> à la </a:t>
            </a:r>
            <a:r>
              <a:rPr kumimoji="0" lang="en-US" sz="1800" b="1" i="0" u="none" strike="noStrike" kern="1200" cap="none" spc="0" normalizeH="0" noProof="0" dirty="0" err="1" smtClean="0">
                <a:ln>
                  <a:noFill/>
                </a:ln>
                <a:solidFill>
                  <a:srgbClr val="EB6E3C"/>
                </a:solidFill>
                <a:effectLst/>
                <a:uLnTx/>
                <a:uFillTx/>
                <a:latin typeface="Enedis"/>
                <a:ea typeface="+mn-ea"/>
                <a:cs typeface="+mn-cs"/>
              </a:rPr>
              <a:t>mobilité</a:t>
            </a:r>
            <a:r>
              <a:rPr kumimoji="0" lang="en-US" sz="1800" b="1" i="0" u="none" strike="noStrike" kern="1200" cap="none" spc="0" normalizeH="0" noProof="0" dirty="0" smtClean="0">
                <a:ln>
                  <a:noFill/>
                </a:ln>
                <a:solidFill>
                  <a:srgbClr val="EB6E3C"/>
                </a:solidFill>
                <a:effectLst/>
                <a:uLnTx/>
                <a:uFillTx/>
                <a:latin typeface="Enedis"/>
                <a:ea typeface="+mn-ea"/>
                <a:cs typeface="+mn-cs"/>
              </a:rPr>
              <a:t> </a:t>
            </a:r>
            <a:r>
              <a:rPr kumimoji="0" lang="en-US" sz="1800" b="1" i="0" u="none" strike="noStrike" kern="1200" cap="none" spc="0" normalizeH="0" noProof="0" dirty="0" err="1" smtClean="0">
                <a:ln>
                  <a:noFill/>
                </a:ln>
                <a:solidFill>
                  <a:srgbClr val="EB6E3C"/>
                </a:solidFill>
                <a:effectLst/>
                <a:uLnTx/>
                <a:uFillTx/>
                <a:latin typeface="Enedis"/>
                <a:ea typeface="+mn-ea"/>
                <a:cs typeface="+mn-cs"/>
              </a:rPr>
              <a:t>électrique</a:t>
            </a:r>
            <a:endParaRPr kumimoji="0" lang="en-US" sz="1050" b="0" i="1" u="none" strike="noStrike" kern="1200" cap="none" spc="0" normalizeH="0" baseline="0" noProof="0" dirty="0">
              <a:ln>
                <a:noFill/>
              </a:ln>
              <a:solidFill>
                <a:prstClr val="black"/>
              </a:solidFill>
              <a:effectLst/>
              <a:uLnTx/>
              <a:uFillTx/>
              <a:latin typeface="Enedis"/>
              <a:ea typeface="+mn-ea"/>
              <a:cs typeface="+mn-cs"/>
            </a:endParaRPr>
          </a:p>
        </p:txBody>
      </p:sp>
      <p:sp>
        <p:nvSpPr>
          <p:cNvPr id="13" name="Rectangle à coins arrondis 12"/>
          <p:cNvSpPr/>
          <p:nvPr/>
        </p:nvSpPr>
        <p:spPr>
          <a:xfrm>
            <a:off x="9759142" y="1380939"/>
            <a:ext cx="1195551" cy="378011"/>
          </a:xfrm>
          <a:prstGeom prst="roundRect">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smtClean="0">
                <a:ln>
                  <a:noFill/>
                </a:ln>
                <a:solidFill>
                  <a:srgbClr val="EB6E3C"/>
                </a:solidFill>
                <a:effectLst/>
                <a:uLnTx/>
                <a:uFillTx/>
                <a:latin typeface="Enedis"/>
                <a:ea typeface="+mn-ea"/>
                <a:cs typeface="+mn-cs"/>
              </a:rPr>
              <a:t> 6.5 Md€</a:t>
            </a:r>
            <a:endParaRPr kumimoji="0" lang="fr-FR" sz="1800" b="1" i="0" u="none" strike="noStrike" kern="1200" cap="none" spc="0" normalizeH="0" baseline="0" noProof="0" dirty="0">
              <a:ln>
                <a:noFill/>
              </a:ln>
              <a:solidFill>
                <a:srgbClr val="EB6E3C"/>
              </a:solidFill>
              <a:effectLst/>
              <a:uLnTx/>
              <a:uFillTx/>
              <a:latin typeface="Enedis"/>
              <a:ea typeface="+mn-ea"/>
              <a:cs typeface="+mn-cs"/>
            </a:endParaRPr>
          </a:p>
        </p:txBody>
      </p:sp>
      <p:pic>
        <p:nvPicPr>
          <p:cNvPr id="14" name="Image 13"/>
          <p:cNvPicPr>
            <a:picLocks noChangeAspect="1"/>
          </p:cNvPicPr>
          <p:nvPr/>
        </p:nvPicPr>
        <p:blipFill>
          <a:blip r:embed="rId4"/>
          <a:stretch>
            <a:fillRect/>
          </a:stretch>
        </p:blipFill>
        <p:spPr>
          <a:xfrm>
            <a:off x="484216" y="2398341"/>
            <a:ext cx="5922800" cy="2975347"/>
          </a:xfrm>
          <a:prstGeom prst="rect">
            <a:avLst/>
          </a:prstGeom>
          <a:effectLst>
            <a:outerShdw blurRad="50800" dist="76200" dir="2700000" algn="tl" rotWithShape="0">
              <a:prstClr val="black">
                <a:alpha val="40000"/>
              </a:prstClr>
            </a:outerShdw>
          </a:effectLst>
        </p:spPr>
      </p:pic>
      <p:sp>
        <p:nvSpPr>
          <p:cNvPr id="15" name="ZoneTexte 14"/>
          <p:cNvSpPr txBox="1"/>
          <p:nvPr/>
        </p:nvSpPr>
        <p:spPr>
          <a:xfrm>
            <a:off x="1054740" y="2331355"/>
            <a:ext cx="3861919" cy="931602"/>
          </a:xfrm>
          <a:prstGeom prst="rect">
            <a:avLst/>
          </a:prstGeom>
          <a:solidFill>
            <a:schemeClr val="bg1"/>
          </a:solidFill>
          <a:ln>
            <a:noFill/>
          </a:ln>
        </p:spPr>
        <p:txBody>
          <a:bodyPr wrap="square" rtlCol="0">
            <a:spAutoFit/>
          </a:bodyPr>
          <a:lstStyle/>
          <a:p>
            <a:pPr marL="0" marR="0" lvl="0" indent="0" algn="l" defTabSz="914377" rtl="0" eaLnBrk="1" fontAlgn="auto" latinLnBrk="0" hangingPunct="1">
              <a:lnSpc>
                <a:spcPct val="101000"/>
              </a:lnSpc>
              <a:spcBef>
                <a:spcPts val="0"/>
              </a:spcBef>
              <a:spcAft>
                <a:spcPts val="600"/>
              </a:spcAft>
              <a:buClr>
                <a:srgbClr val="1423DC"/>
              </a:buClr>
              <a:buSzTx/>
              <a:buFontTx/>
              <a:buNone/>
              <a:tabLst/>
              <a:defRPr/>
            </a:pPr>
            <a:r>
              <a:rPr kumimoji="0" lang="en-US" sz="1800" b="1" i="0" u="none" strike="noStrike" kern="1200" cap="none" spc="0" normalizeH="0" baseline="0" noProof="0" dirty="0" smtClean="0">
                <a:ln>
                  <a:noFill/>
                </a:ln>
                <a:solidFill>
                  <a:srgbClr val="EB6E3C"/>
                </a:solidFill>
                <a:effectLst/>
                <a:uLnTx/>
                <a:uFillTx/>
                <a:latin typeface="Enedis"/>
                <a:ea typeface="+mn-ea"/>
                <a:cs typeface="+mn-cs"/>
              </a:rPr>
              <a:t>Flux </a:t>
            </a:r>
            <a:r>
              <a:rPr kumimoji="0" lang="en-US" sz="1800" b="1" i="0" u="sng" strike="noStrike" kern="1200" cap="none" spc="0" normalizeH="0" baseline="0" noProof="0" dirty="0" err="1" smtClean="0">
                <a:ln>
                  <a:noFill/>
                </a:ln>
                <a:solidFill>
                  <a:srgbClr val="EB6E3C"/>
                </a:solidFill>
                <a:effectLst/>
                <a:uLnTx/>
                <a:uFillTx/>
                <a:latin typeface="Enedis"/>
              </a:rPr>
              <a:t>annuel</a:t>
            </a:r>
            <a:r>
              <a:rPr lang="en-US" sz="1800" b="1" u="sng" dirty="0" smtClean="0">
                <a:solidFill>
                  <a:srgbClr val="EB6E3C"/>
                </a:solidFill>
                <a:latin typeface="Enedis"/>
              </a:rPr>
              <a:t>s</a:t>
            </a:r>
            <a:r>
              <a:rPr lang="en-US" sz="1800" b="1" dirty="0" smtClean="0">
                <a:solidFill>
                  <a:srgbClr val="EB6E3C"/>
                </a:solidFill>
                <a:latin typeface="Enedis"/>
              </a:rPr>
              <a:t> des </a:t>
            </a:r>
            <a:r>
              <a:rPr lang="en-US" sz="1800" b="1" dirty="0" err="1" smtClean="0">
                <a:solidFill>
                  <a:srgbClr val="EB6E3C"/>
                </a:solidFill>
                <a:latin typeface="Enedis"/>
              </a:rPr>
              <a:t>demandes</a:t>
            </a:r>
            <a:r>
              <a:rPr kumimoji="0" lang="en-US" sz="1800" b="1" i="0" u="none" strike="noStrike" kern="1200" cap="none" spc="0" normalizeH="0" noProof="0" dirty="0" smtClean="0">
                <a:ln>
                  <a:noFill/>
                </a:ln>
                <a:solidFill>
                  <a:srgbClr val="EB6E3C"/>
                </a:solidFill>
                <a:effectLst/>
                <a:uLnTx/>
                <a:uFillTx/>
                <a:latin typeface="Enedis"/>
                <a:ea typeface="+mn-ea"/>
                <a:cs typeface="+mn-cs"/>
              </a:rPr>
              <a:t> de </a:t>
            </a:r>
            <a:r>
              <a:rPr kumimoji="0" lang="en-US" sz="1800" b="1" i="0" u="none" strike="noStrike" kern="1200" cap="none" spc="0" normalizeH="0" noProof="0" dirty="0" err="1" smtClean="0">
                <a:ln>
                  <a:noFill/>
                </a:ln>
                <a:solidFill>
                  <a:srgbClr val="EB6E3C"/>
                </a:solidFill>
                <a:effectLst/>
                <a:uLnTx/>
                <a:uFillTx/>
                <a:latin typeface="Enedis"/>
                <a:ea typeface="+mn-ea"/>
                <a:cs typeface="+mn-cs"/>
              </a:rPr>
              <a:t>raccordements</a:t>
            </a:r>
            <a:r>
              <a:rPr kumimoji="0" lang="en-US" sz="1800" b="1" i="0" u="none" strike="noStrike" kern="1200" cap="none" spc="0" normalizeH="0" noProof="0" dirty="0" smtClean="0">
                <a:ln>
                  <a:noFill/>
                </a:ln>
                <a:solidFill>
                  <a:srgbClr val="EB6E3C"/>
                </a:solidFill>
                <a:effectLst/>
                <a:uLnTx/>
                <a:uFillTx/>
                <a:latin typeface="Enedis"/>
                <a:ea typeface="+mn-ea"/>
                <a:cs typeface="+mn-cs"/>
              </a:rPr>
              <a:t> pour </a:t>
            </a:r>
            <a:r>
              <a:rPr kumimoji="0" lang="en-US" sz="1800" b="1" i="0" u="none" strike="noStrike" kern="1200" cap="none" spc="0" normalizeH="0" noProof="0" dirty="0" smtClean="0">
                <a:ln>
                  <a:noFill/>
                </a:ln>
                <a:solidFill>
                  <a:srgbClr val="EB6E3C"/>
                </a:solidFill>
                <a:effectLst/>
                <a:uLnTx/>
                <a:uFillTx/>
                <a:latin typeface="Enedis"/>
                <a:ea typeface="+mn-ea"/>
                <a:cs typeface="+mn-cs"/>
              </a:rPr>
              <a:t>les nouveaux points de charge </a:t>
            </a:r>
            <a:r>
              <a:rPr kumimoji="0" lang="en-US" sz="1800" b="1" i="0" u="none" strike="noStrike" kern="1200" cap="none" spc="0" normalizeH="0" baseline="0" noProof="0" dirty="0" smtClean="0">
                <a:ln>
                  <a:noFill/>
                </a:ln>
                <a:solidFill>
                  <a:srgbClr val="EB6E3C"/>
                </a:solidFill>
                <a:effectLst/>
                <a:uLnTx/>
                <a:uFillTx/>
                <a:latin typeface="Enedis"/>
                <a:ea typeface="+mn-ea"/>
                <a:cs typeface="+mn-cs"/>
              </a:rPr>
              <a:t>: x5 </a:t>
            </a:r>
            <a:r>
              <a:rPr kumimoji="0" lang="en-US" sz="1800" b="1" i="0" u="none" strike="noStrike" kern="1200" cap="none" spc="0" normalizeH="0" baseline="0" noProof="0" dirty="0" err="1" smtClean="0">
                <a:ln>
                  <a:noFill/>
                </a:ln>
                <a:solidFill>
                  <a:srgbClr val="EB6E3C"/>
                </a:solidFill>
                <a:effectLst/>
                <a:uLnTx/>
                <a:uFillTx/>
                <a:latin typeface="Enedis"/>
                <a:ea typeface="+mn-ea"/>
                <a:cs typeface="+mn-cs"/>
              </a:rPr>
              <a:t>en</a:t>
            </a:r>
            <a:r>
              <a:rPr kumimoji="0" lang="en-US" sz="1800" b="1" i="0" u="none" strike="noStrike" kern="1200" cap="none" spc="0" normalizeH="0" baseline="0" noProof="0" dirty="0" smtClean="0">
                <a:ln>
                  <a:noFill/>
                </a:ln>
                <a:solidFill>
                  <a:srgbClr val="EB6E3C"/>
                </a:solidFill>
                <a:effectLst/>
                <a:uLnTx/>
                <a:uFillTx/>
                <a:latin typeface="Enedis"/>
                <a:ea typeface="+mn-ea"/>
                <a:cs typeface="+mn-cs"/>
              </a:rPr>
              <a:t> 5 </a:t>
            </a:r>
            <a:r>
              <a:rPr kumimoji="0" lang="en-US" sz="1800" b="1" i="0" u="none" strike="noStrike" kern="1200" cap="none" spc="0" normalizeH="0" baseline="0" noProof="0" dirty="0" err="1" smtClean="0">
                <a:ln>
                  <a:noFill/>
                </a:ln>
                <a:solidFill>
                  <a:srgbClr val="EB6E3C"/>
                </a:solidFill>
                <a:effectLst/>
                <a:uLnTx/>
                <a:uFillTx/>
                <a:latin typeface="Enedis"/>
                <a:ea typeface="+mn-ea"/>
                <a:cs typeface="+mn-cs"/>
              </a:rPr>
              <a:t>ans</a:t>
            </a:r>
            <a:endParaRPr kumimoji="0" lang="en-US" sz="1800" b="0" i="1" u="none" strike="noStrike" kern="1200" cap="none" spc="0" normalizeH="0" baseline="0" noProof="0" dirty="0">
              <a:ln>
                <a:noFill/>
              </a:ln>
              <a:solidFill>
                <a:prstClr val="black"/>
              </a:solidFill>
              <a:effectLst/>
              <a:uLnTx/>
              <a:uFillTx/>
              <a:latin typeface="Enedis"/>
              <a:ea typeface="+mn-ea"/>
              <a:cs typeface="+mn-cs"/>
            </a:endParaRPr>
          </a:p>
        </p:txBody>
      </p:sp>
      <p:sp>
        <p:nvSpPr>
          <p:cNvPr id="16" name="Titre 3"/>
          <p:cNvSpPr txBox="1">
            <a:spLocks/>
          </p:cNvSpPr>
          <p:nvPr/>
        </p:nvSpPr>
        <p:spPr>
          <a:xfrm>
            <a:off x="484216" y="239313"/>
            <a:ext cx="11175540" cy="723916"/>
          </a:xfrm>
          <a:prstGeom prst="rect">
            <a:avLst/>
          </a:prstGeom>
        </p:spPr>
        <p:txBody>
          <a:bodyPr vert="horz" wrap="square" lIns="0" tIns="0" rIns="0" bIns="0" rtlCol="0" anchor="t">
            <a:spAutoFit/>
          </a:bodyPr>
          <a:lstStyle>
            <a:lvl1pPr algn="l" defTabSz="914377" rtl="0" eaLnBrk="1" latinLnBrk="0" hangingPunct="1">
              <a:lnSpc>
                <a:spcPct val="84000"/>
              </a:lnSpc>
              <a:spcBef>
                <a:spcPct val="0"/>
              </a:spcBef>
              <a:buNone/>
              <a:defRPr sz="3450" b="1" kern="1200">
                <a:solidFill>
                  <a:schemeClr val="tx2"/>
                </a:solidFill>
                <a:latin typeface="+mj-lt"/>
                <a:ea typeface="+mj-ea"/>
                <a:cs typeface="+mj-cs"/>
              </a:defRPr>
            </a:lvl1pPr>
          </a:lstStyle>
          <a:p>
            <a:r>
              <a:rPr lang="fr-FR" sz="2800" dirty="0" smtClean="0"/>
              <a:t>La mobilité électrique est l’un des deux principaux facteurs de développement de l’activité d’Enedis sur les 15 ans qui viennent</a:t>
            </a:r>
            <a:endParaRPr lang="fr-FR" sz="2800" dirty="0"/>
          </a:p>
        </p:txBody>
      </p:sp>
      <p:sp>
        <p:nvSpPr>
          <p:cNvPr id="2" name="Rectangle 1"/>
          <p:cNvSpPr/>
          <p:nvPr/>
        </p:nvSpPr>
        <p:spPr>
          <a:xfrm>
            <a:off x="4577751" y="6142008"/>
            <a:ext cx="5548749" cy="305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Tree>
    <p:extLst>
      <p:ext uri="{BB962C8B-B14F-4D97-AF65-F5344CB8AC3E}">
        <p14:creationId xmlns:p14="http://schemas.microsoft.com/office/powerpoint/2010/main" val="50590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aphique 6"/>
          <p:cNvGraphicFramePr>
            <a:graphicFrameLocks/>
          </p:cNvGraphicFramePr>
          <p:nvPr>
            <p:extLst>
              <p:ext uri="{D42A27DB-BD31-4B8C-83A1-F6EECF244321}">
                <p14:modId xmlns:p14="http://schemas.microsoft.com/office/powerpoint/2010/main" val="3368926928"/>
              </p:ext>
            </p:extLst>
          </p:nvPr>
        </p:nvGraphicFramePr>
        <p:xfrm>
          <a:off x="1963260" y="1547489"/>
          <a:ext cx="7431951" cy="3850329"/>
        </p:xfrm>
        <a:graphic>
          <a:graphicData uri="http://schemas.openxmlformats.org/drawingml/2006/chart">
            <c:chart xmlns:c="http://schemas.openxmlformats.org/drawingml/2006/chart" xmlns:r="http://schemas.openxmlformats.org/officeDocument/2006/relationships" r:id="rId3"/>
          </a:graphicData>
        </a:graphic>
      </p:graphicFrame>
      <p:pic>
        <p:nvPicPr>
          <p:cNvPr id="12" name="Image 11"/>
          <p:cNvPicPr>
            <a:picLocks noChangeAspect="1"/>
          </p:cNvPicPr>
          <p:nvPr/>
        </p:nvPicPr>
        <p:blipFill rotWithShape="1">
          <a:blip r:embed="rId4" cstate="email">
            <a:extLst>
              <a:ext uri="{28A0092B-C50C-407E-A947-70E740481C1C}">
                <a14:useLocalDpi xmlns:a14="http://schemas.microsoft.com/office/drawing/2010/main"/>
              </a:ext>
            </a:extLst>
          </a:blip>
          <a:srcRect l="1" t="30511" r="-720" b="25334"/>
          <a:stretch/>
        </p:blipFill>
        <p:spPr>
          <a:xfrm>
            <a:off x="9883457" y="2427338"/>
            <a:ext cx="618477" cy="271143"/>
          </a:xfrm>
          <a:prstGeom prst="rect">
            <a:avLst/>
          </a:prstGeom>
        </p:spPr>
      </p:pic>
      <p:pic>
        <p:nvPicPr>
          <p:cNvPr id="13" name="Image 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785542" y="1873393"/>
            <a:ext cx="814306" cy="433591"/>
          </a:xfrm>
          <a:prstGeom prst="rect">
            <a:avLst/>
          </a:prstGeom>
        </p:spPr>
      </p:pic>
      <p:pic>
        <p:nvPicPr>
          <p:cNvPr id="15" name="Image 14"/>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786027" y="2818835"/>
            <a:ext cx="813336" cy="162019"/>
          </a:xfrm>
          <a:prstGeom prst="rect">
            <a:avLst/>
          </a:prstGeom>
        </p:spPr>
      </p:pic>
      <p:pic>
        <p:nvPicPr>
          <p:cNvPr id="16" name="Image 15"/>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009610" y="3913681"/>
            <a:ext cx="366170" cy="465533"/>
          </a:xfrm>
          <a:prstGeom prst="rect">
            <a:avLst/>
          </a:prstGeom>
        </p:spPr>
      </p:pic>
      <p:pic>
        <p:nvPicPr>
          <p:cNvPr id="17" name="Image 16"/>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918563" y="3101208"/>
            <a:ext cx="548265" cy="336218"/>
          </a:xfrm>
          <a:prstGeom prst="rect">
            <a:avLst/>
          </a:prstGeom>
        </p:spPr>
      </p:pic>
      <p:pic>
        <p:nvPicPr>
          <p:cNvPr id="19" name="Image 18"/>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9701173" y="1378225"/>
            <a:ext cx="983044" cy="374814"/>
          </a:xfrm>
          <a:prstGeom prst="rect">
            <a:avLst/>
          </a:prstGeom>
        </p:spPr>
      </p:pic>
      <p:pic>
        <p:nvPicPr>
          <p:cNvPr id="20" name="Image 19"/>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024868" y="4499568"/>
            <a:ext cx="335654" cy="335654"/>
          </a:xfrm>
          <a:prstGeom prst="rect">
            <a:avLst/>
          </a:prstGeom>
        </p:spPr>
      </p:pic>
      <p:pic>
        <p:nvPicPr>
          <p:cNvPr id="21" name="Image 2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942975" y="4955576"/>
            <a:ext cx="499441" cy="399950"/>
          </a:xfrm>
          <a:prstGeom prst="rect">
            <a:avLst/>
          </a:prstGeom>
        </p:spPr>
      </p:pic>
      <p:pic>
        <p:nvPicPr>
          <p:cNvPr id="22" name="Image 21"/>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206916" y="5888551"/>
            <a:ext cx="805399" cy="230663"/>
          </a:xfrm>
          <a:prstGeom prst="rect">
            <a:avLst/>
          </a:prstGeom>
        </p:spPr>
      </p:pic>
      <p:pic>
        <p:nvPicPr>
          <p:cNvPr id="23" name="Image 2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4593097" y="5828829"/>
            <a:ext cx="726193" cy="350108"/>
          </a:xfrm>
          <a:prstGeom prst="rect">
            <a:avLst/>
          </a:prstGeom>
        </p:spPr>
      </p:pic>
      <p:pic>
        <p:nvPicPr>
          <p:cNvPr id="24" name="Image 23"/>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3329271" y="5874971"/>
            <a:ext cx="629914" cy="257825"/>
          </a:xfrm>
          <a:prstGeom prst="rect">
            <a:avLst/>
          </a:prstGeom>
        </p:spPr>
      </p:pic>
      <p:pic>
        <p:nvPicPr>
          <p:cNvPr id="3" name="Image 2"/>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9800116" y="3557780"/>
            <a:ext cx="785158" cy="235547"/>
          </a:xfrm>
          <a:prstGeom prst="rect">
            <a:avLst/>
          </a:prstGeom>
        </p:spPr>
      </p:pic>
      <p:pic>
        <p:nvPicPr>
          <p:cNvPr id="28" name="Image 27"/>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7274479" y="5869959"/>
            <a:ext cx="776672" cy="251124"/>
          </a:xfrm>
          <a:prstGeom prst="rect">
            <a:avLst/>
          </a:prstGeom>
        </p:spPr>
      </p:pic>
      <p:pic>
        <p:nvPicPr>
          <p:cNvPr id="29" name="Image 28"/>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5815116" y="5841758"/>
            <a:ext cx="1136807" cy="324248"/>
          </a:xfrm>
          <a:prstGeom prst="rect">
            <a:avLst/>
          </a:prstGeom>
        </p:spPr>
      </p:pic>
      <p:pic>
        <p:nvPicPr>
          <p:cNvPr id="31" name="Image 30"/>
          <p:cNvPicPr>
            <a:picLocks noChangeAspect="1"/>
          </p:cNvPicPr>
          <p:nvPr/>
        </p:nvPicPr>
        <p:blipFill>
          <a:blip r:embed="rId18"/>
          <a:stretch>
            <a:fillRect/>
          </a:stretch>
        </p:blipFill>
        <p:spPr>
          <a:xfrm>
            <a:off x="8373707" y="5843805"/>
            <a:ext cx="1154109" cy="314443"/>
          </a:xfrm>
          <a:prstGeom prst="rect">
            <a:avLst/>
          </a:prstGeom>
        </p:spPr>
      </p:pic>
      <p:sp>
        <p:nvSpPr>
          <p:cNvPr id="32" name="Slide Number Placeholder 3">
            <a:extLst>
              <a:ext uri="{FF2B5EF4-FFF2-40B4-BE49-F238E27FC236}">
                <a16:creationId xmlns:a16="http://schemas.microsoft.com/office/drawing/2014/main" id="{29869B0A-245E-6617-42EE-AD9F74932BA2}"/>
              </a:ext>
            </a:extLst>
          </p:cNvPr>
          <p:cNvSpPr txBox="1">
            <a:spLocks/>
          </p:cNvSpPr>
          <p:nvPr/>
        </p:nvSpPr>
        <p:spPr>
          <a:xfrm>
            <a:off x="11268286" y="6499954"/>
            <a:ext cx="465150" cy="154849"/>
          </a:xfrm>
          <a:prstGeom prst="rect">
            <a:avLst/>
          </a:prstGeom>
        </p:spPr>
        <p:txBody>
          <a:bodyPr vert="horz" lIns="0" tIns="0" rIns="0" bIns="0" rtlCol="0" anchor="ctr"/>
          <a:lstStyle>
            <a:defPPr>
              <a:defRPr lang="en-US"/>
            </a:defPPr>
            <a:lvl1pPr marL="0" algn="r" defTabSz="609585" rtl="0" eaLnBrk="1" latinLnBrk="0" hangingPunct="1">
              <a:defRPr sz="750" b="1" kern="1200">
                <a:solidFill>
                  <a:schemeClr val="tx2"/>
                </a:solidFill>
                <a:latin typeface="+mj-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Tx/>
              <a:buSzTx/>
              <a:buFontTx/>
              <a:buNone/>
              <a:tabLst/>
              <a:defRPr/>
            </a:pPr>
            <a:fld id="{6B54B0F7-55DD-40D6-B7F4-70B586885C0B}" type="slidenum">
              <a:rPr kumimoji="0" lang="fr-FR" sz="800" b="1" i="0" u="none" strike="noStrike" kern="1200" cap="none" spc="0" normalizeH="0" baseline="0" noProof="0" smtClean="0">
                <a:ln>
                  <a:noFill/>
                </a:ln>
                <a:solidFill>
                  <a:srgbClr val="1423DC"/>
                </a:solidFill>
                <a:effectLst/>
                <a:uLnTx/>
                <a:uFillTx/>
                <a:latin typeface="Enedis"/>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2</a:t>
            </a:fld>
            <a:endParaRPr kumimoji="0" lang="fr-FR" sz="800" b="1" i="0" u="none" strike="noStrike" kern="1200" cap="none" spc="0" normalizeH="0" baseline="0" noProof="0" dirty="0">
              <a:ln>
                <a:noFill/>
              </a:ln>
              <a:solidFill>
                <a:srgbClr val="1423DC"/>
              </a:solidFill>
              <a:effectLst/>
              <a:uLnTx/>
              <a:uFillTx/>
              <a:latin typeface="Enedis"/>
              <a:ea typeface="+mn-ea"/>
              <a:cs typeface="+mn-cs"/>
            </a:endParaRPr>
          </a:p>
        </p:txBody>
      </p:sp>
      <p:sp>
        <p:nvSpPr>
          <p:cNvPr id="25" name="Titre 1"/>
          <p:cNvSpPr>
            <a:spLocks noGrp="1"/>
          </p:cNvSpPr>
          <p:nvPr>
            <p:ph type="title"/>
          </p:nvPr>
        </p:nvSpPr>
        <p:spPr>
          <a:xfrm>
            <a:off x="383845" y="273020"/>
            <a:ext cx="10300372" cy="484748"/>
          </a:xfrm>
        </p:spPr>
        <p:txBody>
          <a:bodyPr/>
          <a:lstStyle/>
          <a:p>
            <a:r>
              <a:rPr lang="fr-FR" dirty="0" smtClean="0"/>
              <a:t>La dynamique des « grands comptes » s’accélère</a:t>
            </a:r>
            <a:endParaRPr lang="fr-FR" dirty="0"/>
          </a:p>
        </p:txBody>
      </p:sp>
    </p:spTree>
    <p:extLst>
      <p:ext uri="{BB962C8B-B14F-4D97-AF65-F5344CB8AC3E}">
        <p14:creationId xmlns:p14="http://schemas.microsoft.com/office/powerpoint/2010/main" val="788287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4345" y="233091"/>
            <a:ext cx="11388567" cy="723916"/>
          </a:xfrm>
        </p:spPr>
        <p:txBody>
          <a:bodyPr/>
          <a:lstStyle/>
          <a:p>
            <a:r>
              <a:rPr lang="fr-FR" sz="2800" dirty="0"/>
              <a:t>P</a:t>
            </a:r>
            <a:r>
              <a:rPr lang="fr-FR" sz="2800" dirty="0" smtClean="0"/>
              <a:t>ilotage de la recharge : un enjeu majeur pour le système électrique</a:t>
            </a:r>
            <a:endParaRPr lang="fr-FR" sz="2800" dirty="0"/>
          </a:p>
        </p:txBody>
      </p:sp>
      <p:pic>
        <p:nvPicPr>
          <p:cNvPr id="21" name="Image 20"/>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4858916" y="1037541"/>
            <a:ext cx="6885917" cy="5358602"/>
          </a:xfrm>
          <a:prstGeom prst="rect">
            <a:avLst/>
          </a:prstGeom>
          <a:effectLst>
            <a:outerShdw blurRad="50800" dist="76200" dir="2700000" algn="tl" rotWithShape="0">
              <a:prstClr val="black">
                <a:alpha val="40000"/>
              </a:prstClr>
            </a:outerShdw>
          </a:effectLst>
        </p:spPr>
      </p:pic>
      <p:sp>
        <p:nvSpPr>
          <p:cNvPr id="11" name="Rectangle 10"/>
          <p:cNvSpPr/>
          <p:nvPr/>
        </p:nvSpPr>
        <p:spPr>
          <a:xfrm>
            <a:off x="354858" y="1037541"/>
            <a:ext cx="4335309" cy="5236738"/>
          </a:xfrm>
          <a:prstGeom prst="rect">
            <a:avLst/>
          </a:prstGeom>
          <a:solidFill>
            <a:schemeClr val="bg1"/>
          </a:solidFill>
          <a:effectLst>
            <a:outerShdw blurRad="50800" dist="76200" dir="2700000" algn="tl" rotWithShape="0">
              <a:prstClr val="black">
                <a:alpha val="40000"/>
              </a:prstClr>
            </a:outerShdw>
          </a:effectLst>
        </p:spPr>
        <p:txBody>
          <a:bodyPr wrap="square" anchor="ctr" anchorCtr="1">
            <a:noAutofit/>
          </a:bodyPr>
          <a:lstStyle/>
          <a:p>
            <a:pPr marL="285750" indent="-285750" defTabSz="914377">
              <a:lnSpc>
                <a:spcPct val="101000"/>
              </a:lnSpc>
              <a:spcAft>
                <a:spcPts val="600"/>
              </a:spcAft>
              <a:buClr>
                <a:schemeClr val="tx2"/>
              </a:buClr>
              <a:buFont typeface="Wingdings" panose="05000000000000000000" pitchFamily="2" charset="2"/>
              <a:buChar char="q"/>
            </a:pPr>
            <a:r>
              <a:rPr lang="fr-FR" sz="1400" dirty="0" smtClean="0">
                <a:latin typeface="+mj-lt"/>
              </a:rPr>
              <a:t>Le </a:t>
            </a:r>
            <a:r>
              <a:rPr lang="fr-FR" sz="1400" b="1" dirty="0" smtClean="0">
                <a:latin typeface="+mj-lt"/>
              </a:rPr>
              <a:t>pilotage de la recharge </a:t>
            </a:r>
            <a:r>
              <a:rPr lang="fr-FR" sz="1400" dirty="0" smtClean="0">
                <a:latin typeface="+mj-lt"/>
              </a:rPr>
              <a:t>présente un enjeu important pour le système électrique : quand il y aura des millions de véhicules électriques connectés au réseau, il est essentiel que leur recharge intervienne dans les </a:t>
            </a:r>
            <a:r>
              <a:rPr lang="fr-FR" sz="1400" b="1" dirty="0" smtClean="0">
                <a:latin typeface="+mj-lt"/>
              </a:rPr>
              <a:t>creux de la courbe de charge</a:t>
            </a:r>
          </a:p>
          <a:p>
            <a:pPr marL="285750" indent="-285750" defTabSz="914377">
              <a:lnSpc>
                <a:spcPct val="101000"/>
              </a:lnSpc>
              <a:spcAft>
                <a:spcPts val="600"/>
              </a:spcAft>
              <a:buClr>
                <a:schemeClr val="tx2"/>
              </a:buClr>
              <a:buFont typeface="Wingdings" panose="05000000000000000000" pitchFamily="2" charset="2"/>
              <a:buChar char="q"/>
            </a:pPr>
            <a:r>
              <a:rPr lang="fr-FR" sz="1400" dirty="0" smtClean="0">
                <a:latin typeface="+mj-lt"/>
              </a:rPr>
              <a:t>Compte tenu du fait que plus de </a:t>
            </a:r>
            <a:r>
              <a:rPr lang="fr-FR" sz="1400" b="1" dirty="0" smtClean="0">
                <a:latin typeface="+mj-lt"/>
              </a:rPr>
              <a:t>80% de la recharge </a:t>
            </a:r>
            <a:r>
              <a:rPr lang="fr-FR" sz="1400" dirty="0" smtClean="0">
                <a:latin typeface="+mj-lt"/>
              </a:rPr>
              <a:t>des véhicules légers se fera </a:t>
            </a:r>
            <a:r>
              <a:rPr lang="fr-FR" sz="1400" b="1" dirty="0" smtClean="0">
                <a:latin typeface="+mj-lt"/>
              </a:rPr>
              <a:t>à domicile</a:t>
            </a:r>
            <a:r>
              <a:rPr lang="fr-FR" sz="1400" dirty="0" smtClean="0">
                <a:latin typeface="+mj-lt"/>
              </a:rPr>
              <a:t>, le </a:t>
            </a:r>
            <a:r>
              <a:rPr lang="fr-FR" sz="1400" b="1" dirty="0" smtClean="0">
                <a:latin typeface="+mj-lt"/>
              </a:rPr>
              <a:t>segment résidentiel </a:t>
            </a:r>
            <a:r>
              <a:rPr lang="fr-FR" sz="1400" dirty="0" smtClean="0">
                <a:latin typeface="+mj-lt"/>
              </a:rPr>
              <a:t>est particulièrement </a:t>
            </a:r>
            <a:r>
              <a:rPr lang="fr-FR" sz="1400" b="1" dirty="0" smtClean="0">
                <a:latin typeface="+mj-lt"/>
              </a:rPr>
              <a:t>important</a:t>
            </a:r>
          </a:p>
          <a:p>
            <a:pPr marL="285750" indent="-285750" defTabSz="914377">
              <a:lnSpc>
                <a:spcPct val="101000"/>
              </a:lnSpc>
              <a:spcAft>
                <a:spcPts val="600"/>
              </a:spcAft>
              <a:buClr>
                <a:schemeClr val="tx2"/>
              </a:buClr>
              <a:buFont typeface="Wingdings" panose="05000000000000000000" pitchFamily="2" charset="2"/>
              <a:buChar char="q"/>
            </a:pPr>
            <a:r>
              <a:rPr lang="fr-FR" sz="1400" dirty="0" smtClean="0">
                <a:latin typeface="+mj-lt"/>
              </a:rPr>
              <a:t>On estime qu’un </a:t>
            </a:r>
            <a:r>
              <a:rPr lang="fr-FR" sz="1400" b="1" dirty="0" smtClean="0">
                <a:latin typeface="+mj-lt"/>
              </a:rPr>
              <a:t>pilotage de la charge simple</a:t>
            </a:r>
            <a:r>
              <a:rPr lang="fr-FR" sz="1400" dirty="0" smtClean="0">
                <a:latin typeface="+mj-lt"/>
              </a:rPr>
              <a:t>, qui permette de s’assurer que les </a:t>
            </a:r>
            <a:r>
              <a:rPr lang="fr-FR" sz="1400" b="1" dirty="0" smtClean="0">
                <a:latin typeface="+mj-lt"/>
              </a:rPr>
              <a:t>recharges </a:t>
            </a:r>
            <a:r>
              <a:rPr lang="fr-FR" sz="1400" dirty="0" smtClean="0">
                <a:latin typeface="+mj-lt"/>
              </a:rPr>
              <a:t>se font </a:t>
            </a:r>
            <a:r>
              <a:rPr lang="fr-FR" sz="1400" b="1" dirty="0" smtClean="0">
                <a:latin typeface="+mj-lt"/>
              </a:rPr>
              <a:t>dans les heures creuses </a:t>
            </a:r>
            <a:r>
              <a:rPr lang="fr-FR" sz="1400" dirty="0" smtClean="0">
                <a:latin typeface="+mj-lt"/>
              </a:rPr>
              <a:t>permettra un </a:t>
            </a:r>
            <a:r>
              <a:rPr lang="fr-FR" sz="1400" b="1" dirty="0" smtClean="0">
                <a:latin typeface="+mj-lt"/>
              </a:rPr>
              <a:t>gain de l’ordre</a:t>
            </a:r>
            <a:r>
              <a:rPr lang="fr-FR" sz="1400" dirty="0" smtClean="0">
                <a:latin typeface="+mj-lt"/>
              </a:rPr>
              <a:t> de </a:t>
            </a:r>
            <a:r>
              <a:rPr lang="fr-FR" sz="1400" b="1" dirty="0" smtClean="0">
                <a:latin typeface="+mj-lt"/>
              </a:rPr>
              <a:t>10 GW </a:t>
            </a:r>
            <a:r>
              <a:rPr lang="fr-FR" sz="1400" dirty="0" smtClean="0">
                <a:latin typeface="+mj-lt"/>
              </a:rPr>
              <a:t>sur le pic de la courbe de charge</a:t>
            </a:r>
          </a:p>
          <a:p>
            <a:pPr marL="285750" indent="-285750" defTabSz="914377">
              <a:lnSpc>
                <a:spcPct val="101000"/>
              </a:lnSpc>
              <a:spcAft>
                <a:spcPts val="600"/>
              </a:spcAft>
              <a:buClr>
                <a:schemeClr val="tx2"/>
              </a:buClr>
              <a:buFont typeface="Wingdings" panose="05000000000000000000" pitchFamily="2" charset="2"/>
              <a:buChar char="q"/>
            </a:pPr>
            <a:r>
              <a:rPr lang="fr-FR" sz="1400" dirty="0" smtClean="0">
                <a:latin typeface="+mj-lt"/>
              </a:rPr>
              <a:t>Le </a:t>
            </a:r>
            <a:r>
              <a:rPr lang="fr-FR" sz="1400" dirty="0">
                <a:latin typeface="+mj-lt"/>
              </a:rPr>
              <a:t>lien au compteur est un levier puissant : c’est grâce à cela qu’Enedis a pu cet hiver </a:t>
            </a:r>
            <a:r>
              <a:rPr lang="fr-FR" sz="1400" b="1" dirty="0">
                <a:latin typeface="+mj-lt"/>
              </a:rPr>
              <a:t>décaler le déclenchement de la période de chauffe de 4 millions de ballons d’eau chaude</a:t>
            </a:r>
            <a:r>
              <a:rPr lang="fr-FR" sz="1400" dirty="0">
                <a:latin typeface="+mj-lt"/>
              </a:rPr>
              <a:t> des heures creuses méridiennes aux heures creuses de nuit</a:t>
            </a:r>
            <a:r>
              <a:rPr lang="fr-FR" sz="1400" dirty="0" smtClean="0">
                <a:latin typeface="+mj-lt"/>
              </a:rPr>
              <a:t>.</a:t>
            </a:r>
            <a:endParaRPr lang="fr-FR" sz="1400" dirty="0">
              <a:latin typeface="+mj-lt"/>
            </a:endParaRPr>
          </a:p>
        </p:txBody>
      </p:sp>
      <p:sp>
        <p:nvSpPr>
          <p:cNvPr id="5" name="Ellipse 4"/>
          <p:cNvSpPr/>
          <p:nvPr/>
        </p:nvSpPr>
        <p:spPr>
          <a:xfrm>
            <a:off x="10184921" y="4008407"/>
            <a:ext cx="500332" cy="396815"/>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6" name="Slide Number Placeholder 3">
            <a:extLst>
              <a:ext uri="{FF2B5EF4-FFF2-40B4-BE49-F238E27FC236}">
                <a16:creationId xmlns:a16="http://schemas.microsoft.com/office/drawing/2014/main" id="{29869B0A-245E-6617-42EE-AD9F74932BA2}"/>
              </a:ext>
            </a:extLst>
          </p:cNvPr>
          <p:cNvSpPr txBox="1">
            <a:spLocks/>
          </p:cNvSpPr>
          <p:nvPr/>
        </p:nvSpPr>
        <p:spPr>
          <a:xfrm>
            <a:off x="11330390" y="6592090"/>
            <a:ext cx="465150" cy="154849"/>
          </a:xfrm>
          <a:prstGeom prst="rect">
            <a:avLst/>
          </a:prstGeom>
        </p:spPr>
        <p:txBody>
          <a:bodyPr vert="horz" lIns="0" tIns="0" rIns="0" bIns="0" rtlCol="0" anchor="ctr"/>
          <a:lstStyle>
            <a:defPPr>
              <a:defRPr lang="en-US"/>
            </a:defPPr>
            <a:lvl1pPr marL="0" algn="r" defTabSz="609585" rtl="0" eaLnBrk="1" latinLnBrk="0" hangingPunct="1">
              <a:defRPr sz="750" b="1" kern="1200">
                <a:solidFill>
                  <a:schemeClr val="tx2"/>
                </a:solidFill>
                <a:latin typeface="+mj-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6B54B0F7-55DD-40D6-B7F4-70B586885C0B}" type="slidenum">
              <a:rPr lang="fr-FR" sz="800" smtClean="0"/>
              <a:pPr/>
              <a:t>13</a:t>
            </a:fld>
            <a:endParaRPr lang="fr-FR" sz="800" dirty="0"/>
          </a:p>
        </p:txBody>
      </p:sp>
    </p:spTree>
    <p:extLst>
      <p:ext uri="{BB962C8B-B14F-4D97-AF65-F5344CB8AC3E}">
        <p14:creationId xmlns:p14="http://schemas.microsoft.com/office/powerpoint/2010/main" val="337524699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84895" y="135404"/>
            <a:ext cx="11155964" cy="886397"/>
          </a:xfrm>
        </p:spPr>
        <p:txBody>
          <a:bodyPr/>
          <a:lstStyle/>
          <a:p>
            <a:r>
              <a:rPr lang="fr-FR" sz="3200" dirty="0" smtClean="0"/>
              <a:t>Enedis accompagne les collectivités locales dans </a:t>
            </a:r>
            <a:r>
              <a:rPr lang="fr-FR" sz="3200" dirty="0" smtClean="0"/>
              <a:t>l’établissement </a:t>
            </a:r>
            <a:r>
              <a:rPr lang="fr-FR" sz="3200" dirty="0" smtClean="0"/>
              <a:t>des Schémas </a:t>
            </a:r>
            <a:r>
              <a:rPr lang="fr-FR" sz="3200" dirty="0" smtClean="0"/>
              <a:t>Directeurs </a:t>
            </a:r>
            <a:r>
              <a:rPr lang="fr-FR" sz="3200" dirty="0" smtClean="0"/>
              <a:t>IRVE</a:t>
            </a:r>
            <a:endParaRPr lang="fr-FR" sz="3200" dirty="0"/>
          </a:p>
        </p:txBody>
      </p:sp>
      <p:pic>
        <p:nvPicPr>
          <p:cNvPr id="5" name="Image 4"/>
          <p:cNvPicPr>
            <a:picLocks noChangeAspect="1"/>
          </p:cNvPicPr>
          <p:nvPr/>
        </p:nvPicPr>
        <p:blipFill>
          <a:blip r:embed="rId2"/>
          <a:stretch>
            <a:fillRect/>
          </a:stretch>
        </p:blipFill>
        <p:spPr>
          <a:xfrm>
            <a:off x="5487089" y="1190445"/>
            <a:ext cx="6273589" cy="3303627"/>
          </a:xfrm>
          <a:prstGeom prst="rect">
            <a:avLst/>
          </a:prstGeom>
        </p:spPr>
      </p:pic>
      <p:pic>
        <p:nvPicPr>
          <p:cNvPr id="8" name="Image 7"/>
          <p:cNvPicPr>
            <a:picLocks noChangeAspect="1"/>
          </p:cNvPicPr>
          <p:nvPr/>
        </p:nvPicPr>
        <p:blipFill>
          <a:blip r:embed="rId3"/>
          <a:stretch>
            <a:fillRect/>
          </a:stretch>
        </p:blipFill>
        <p:spPr>
          <a:xfrm>
            <a:off x="369418" y="1125538"/>
            <a:ext cx="4755640" cy="2727594"/>
          </a:xfrm>
          <a:prstGeom prst="rect">
            <a:avLst/>
          </a:prstGeom>
        </p:spPr>
      </p:pic>
      <p:pic>
        <p:nvPicPr>
          <p:cNvPr id="10" name="Image 9"/>
          <p:cNvPicPr>
            <a:picLocks noChangeAspect="1"/>
          </p:cNvPicPr>
          <p:nvPr/>
        </p:nvPicPr>
        <p:blipFill>
          <a:blip r:embed="rId4"/>
          <a:stretch>
            <a:fillRect/>
          </a:stretch>
        </p:blipFill>
        <p:spPr>
          <a:xfrm>
            <a:off x="232788" y="4094673"/>
            <a:ext cx="9072491" cy="2367236"/>
          </a:xfrm>
          <a:prstGeom prst="rect">
            <a:avLst/>
          </a:prstGeom>
        </p:spPr>
      </p:pic>
      <p:sp>
        <p:nvSpPr>
          <p:cNvPr id="6" name="Espace réservé du numéro de diapositive 2"/>
          <p:cNvSpPr txBox="1">
            <a:spLocks/>
          </p:cNvSpPr>
          <p:nvPr/>
        </p:nvSpPr>
        <p:spPr>
          <a:xfrm>
            <a:off x="11488261" y="6514718"/>
            <a:ext cx="465150" cy="154849"/>
          </a:xfrm>
          <a:prstGeom prst="rect">
            <a:avLst/>
          </a:prstGeom>
        </p:spPr>
        <p:txBody>
          <a:bodyPr vert="horz" lIns="0" tIns="0" rIns="0" bIns="0" rtlCol="0" anchor="ctr"/>
          <a:lstStyle>
            <a:defPPr>
              <a:defRPr lang="en-US"/>
            </a:defPPr>
            <a:lvl1pPr algn="r">
              <a:defRPr sz="800" b="1">
                <a:solidFill>
                  <a:schemeClr val="tx2"/>
                </a:solidFill>
                <a:latin typeface="+mj-lt"/>
              </a:defRPr>
            </a:lvl1pPr>
          </a:lstStyle>
          <a:p>
            <a:fld id="{6B54B0F7-55DD-40D6-B7F4-70B586885C0B}" type="slidenum">
              <a:rPr lang="fr-FR"/>
              <a:pPr/>
              <a:t>14</a:t>
            </a:fld>
            <a:endParaRPr lang="fr-FR" dirty="0"/>
          </a:p>
        </p:txBody>
      </p:sp>
    </p:spTree>
    <p:extLst>
      <p:ext uri="{BB962C8B-B14F-4D97-AF65-F5344CB8AC3E}">
        <p14:creationId xmlns:p14="http://schemas.microsoft.com/office/powerpoint/2010/main" val="228043692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701905" y="3022020"/>
            <a:ext cx="9334200" cy="783290"/>
          </a:xfrm>
        </p:spPr>
        <p:txBody>
          <a:bodyPr/>
          <a:lstStyle/>
          <a:p>
            <a:pPr algn="ctr"/>
            <a:r>
              <a:rPr lang="fr-FR" sz="5400" dirty="0" smtClean="0"/>
              <a:t>Question du « financement » </a:t>
            </a:r>
            <a:endParaRPr lang="fr-FR" sz="5400" dirty="0"/>
          </a:p>
        </p:txBody>
      </p:sp>
    </p:spTree>
    <p:extLst>
      <p:ext uri="{BB962C8B-B14F-4D97-AF65-F5344CB8AC3E}">
        <p14:creationId xmlns:p14="http://schemas.microsoft.com/office/powerpoint/2010/main" val="17222704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Espace réservé du texte 8"/>
          <p:cNvSpPr txBox="1">
            <a:spLocks/>
          </p:cNvSpPr>
          <p:nvPr/>
        </p:nvSpPr>
        <p:spPr>
          <a:xfrm>
            <a:off x="4812177" y="2054976"/>
            <a:ext cx="3029325" cy="3384898"/>
          </a:xfrm>
          <a:prstGeom prst="rect">
            <a:avLst/>
          </a:prstGeom>
          <a:solidFill>
            <a:schemeClr val="bg1"/>
          </a:solidFill>
          <a:effectLst>
            <a:outerShdw blurRad="50800" dist="76200" dir="2700000" algn="tl" rotWithShape="0">
              <a:prstClr val="black">
                <a:alpha val="40000"/>
              </a:prstClr>
            </a:outerShdw>
          </a:effectLst>
        </p:spPr>
        <p:txBody>
          <a:bodyPr wrap="square" anchor="ctr" anchorCtr="1">
            <a:noAutofit/>
          </a:bodyPr>
          <a:lstStyle>
            <a:defPPr>
              <a:defRPr lang="en-US"/>
            </a:defPPr>
            <a:lvl1pPr marL="285750" indent="-285750" defTabSz="914377">
              <a:lnSpc>
                <a:spcPct val="101000"/>
              </a:lnSpc>
              <a:spcBef>
                <a:spcPts val="0"/>
              </a:spcBef>
              <a:spcAft>
                <a:spcPts val="600"/>
              </a:spcAft>
              <a:buClr>
                <a:schemeClr val="tx2"/>
              </a:buClr>
              <a:buFont typeface="Wingdings" panose="05000000000000000000" pitchFamily="2" charset="2"/>
              <a:buChar char="q"/>
              <a:defRPr sz="1200">
                <a:latin typeface="+mj-lt"/>
              </a:defRPr>
            </a:lvl1pPr>
            <a:lvl2pPr marL="216000" indent="-216000" defTabSz="914377">
              <a:lnSpc>
                <a:spcPct val="101000"/>
              </a:lnSpc>
              <a:spcBef>
                <a:spcPts val="0"/>
              </a:spcBef>
              <a:buClr>
                <a:schemeClr val="tx2"/>
              </a:buClr>
              <a:buSzPct val="120000"/>
              <a:buFont typeface="Public Sans" pitchFamily="2" charset="0"/>
              <a:buChar char="—"/>
              <a:defRPr sz="1200" b="1">
                <a:solidFill>
                  <a:schemeClr val="tx2"/>
                </a:solidFill>
                <a:latin typeface="Public Sans" pitchFamily="2" charset="0"/>
              </a:defRPr>
            </a:lvl2pPr>
            <a:lvl3pPr marL="576000" indent="-108000" defTabSz="914377">
              <a:lnSpc>
                <a:spcPct val="101000"/>
              </a:lnSpc>
              <a:spcBef>
                <a:spcPts val="0"/>
              </a:spcBef>
              <a:buFont typeface="Arial" panose="020B0604020202020204" pitchFamily="34" charset="0"/>
              <a:buChar char="-"/>
              <a:defRPr sz="1200">
                <a:latin typeface="Public Sans" pitchFamily="2" charset="0"/>
              </a:defRPr>
            </a:lvl3pPr>
            <a:lvl4pPr marL="1152000" indent="-216000" defTabSz="914377">
              <a:lnSpc>
                <a:spcPct val="101000"/>
              </a:lnSpc>
              <a:spcBef>
                <a:spcPts val="0"/>
              </a:spcBef>
              <a:buFont typeface="Arial" panose="020B0604020202020204" pitchFamily="34" charset="0"/>
              <a:buChar char="•"/>
              <a:defRPr sz="1100"/>
            </a:lvl4pPr>
            <a:lvl5pPr marL="0" indent="0" defTabSz="914377">
              <a:lnSpc>
                <a:spcPct val="101000"/>
              </a:lnSpc>
              <a:spcBef>
                <a:spcPts val="0"/>
              </a:spcBef>
              <a:buFont typeface="Arial" panose="020B0604020202020204" pitchFamily="34" charset="0"/>
              <a:buNone/>
              <a:defRPr sz="1600">
                <a:solidFill>
                  <a:schemeClr val="tx2"/>
                </a:solidFill>
                <a:latin typeface="+mj-lt"/>
              </a:defRPr>
            </a:lvl5pPr>
            <a:lvl6pPr marL="0" indent="0" defTabSz="914377">
              <a:lnSpc>
                <a:spcPct val="101000"/>
              </a:lnSpc>
              <a:spcBef>
                <a:spcPts val="0"/>
              </a:spcBef>
              <a:buFont typeface="Arial" panose="020B0604020202020204" pitchFamily="34" charset="0"/>
              <a:buNone/>
              <a:defRPr sz="600" i="1">
                <a:latin typeface="Public Sans" pitchFamily="2" charset="0"/>
              </a:defRPr>
            </a:lvl6pPr>
            <a:lvl7pPr marL="2971726" indent="-228594" defTabSz="914377">
              <a:lnSpc>
                <a:spcPct val="90000"/>
              </a:lnSpc>
              <a:spcBef>
                <a:spcPts val="500"/>
              </a:spcBef>
              <a:buFont typeface="Arial" panose="020B0604020202020204" pitchFamily="34" charset="0"/>
              <a:buChar char="•"/>
              <a:defRPr sz="1800"/>
            </a:lvl7pPr>
            <a:lvl8pPr marL="3428914" indent="-228594" defTabSz="914377">
              <a:lnSpc>
                <a:spcPct val="90000"/>
              </a:lnSpc>
              <a:spcBef>
                <a:spcPts val="500"/>
              </a:spcBef>
              <a:buFont typeface="Arial" panose="020B0604020202020204" pitchFamily="34" charset="0"/>
              <a:buChar char="•"/>
              <a:defRPr sz="1800"/>
            </a:lvl8pPr>
            <a:lvl9pPr marL="3886103" indent="-228594" defTabSz="914377">
              <a:lnSpc>
                <a:spcPct val="90000"/>
              </a:lnSpc>
              <a:spcBef>
                <a:spcPts val="500"/>
              </a:spcBef>
              <a:buFont typeface="Arial" panose="020B0604020202020204" pitchFamily="34" charset="0"/>
              <a:buChar char="•"/>
              <a:defRPr sz="1800"/>
            </a:lvl9pPr>
          </a:lstStyle>
          <a:p>
            <a:endParaRPr lang="fr-FR" b="1" dirty="0" smtClean="0"/>
          </a:p>
        </p:txBody>
      </p:sp>
      <p:sp>
        <p:nvSpPr>
          <p:cNvPr id="19" name="Espace réservé du texte 8"/>
          <p:cNvSpPr txBox="1">
            <a:spLocks/>
          </p:cNvSpPr>
          <p:nvPr/>
        </p:nvSpPr>
        <p:spPr>
          <a:xfrm>
            <a:off x="8404921" y="2045138"/>
            <a:ext cx="2925469" cy="3384898"/>
          </a:xfrm>
          <a:prstGeom prst="rect">
            <a:avLst/>
          </a:prstGeom>
          <a:solidFill>
            <a:schemeClr val="bg1"/>
          </a:solidFill>
          <a:effectLst>
            <a:outerShdw blurRad="50800" dist="76200" dir="2700000" algn="tl" rotWithShape="0">
              <a:prstClr val="black">
                <a:alpha val="40000"/>
              </a:prstClr>
            </a:outerShdw>
          </a:effectLst>
        </p:spPr>
        <p:txBody>
          <a:bodyPr wrap="square" anchor="ctr" anchorCtr="1">
            <a:noAutofit/>
          </a:bodyPr>
          <a:lstStyle>
            <a:defPPr>
              <a:defRPr lang="en-US"/>
            </a:defPPr>
            <a:lvl1pPr marL="285750" indent="-285750" defTabSz="914377">
              <a:lnSpc>
                <a:spcPct val="101000"/>
              </a:lnSpc>
              <a:spcBef>
                <a:spcPts val="0"/>
              </a:spcBef>
              <a:spcAft>
                <a:spcPts val="600"/>
              </a:spcAft>
              <a:buClr>
                <a:schemeClr val="tx2"/>
              </a:buClr>
              <a:buFont typeface="Wingdings" panose="05000000000000000000" pitchFamily="2" charset="2"/>
              <a:buChar char="q"/>
              <a:defRPr sz="1200">
                <a:latin typeface="+mj-lt"/>
              </a:defRPr>
            </a:lvl1pPr>
            <a:lvl2pPr marL="216000" indent="-216000" defTabSz="914377">
              <a:lnSpc>
                <a:spcPct val="101000"/>
              </a:lnSpc>
              <a:spcBef>
                <a:spcPts val="0"/>
              </a:spcBef>
              <a:buClr>
                <a:schemeClr val="tx2"/>
              </a:buClr>
              <a:buSzPct val="120000"/>
              <a:buFont typeface="Public Sans" pitchFamily="2" charset="0"/>
              <a:buChar char="—"/>
              <a:defRPr sz="1200" b="1">
                <a:solidFill>
                  <a:schemeClr val="tx2"/>
                </a:solidFill>
                <a:latin typeface="Public Sans" pitchFamily="2" charset="0"/>
              </a:defRPr>
            </a:lvl2pPr>
            <a:lvl3pPr marL="576000" indent="-108000" defTabSz="914377">
              <a:lnSpc>
                <a:spcPct val="101000"/>
              </a:lnSpc>
              <a:spcBef>
                <a:spcPts val="0"/>
              </a:spcBef>
              <a:buFont typeface="Arial" panose="020B0604020202020204" pitchFamily="34" charset="0"/>
              <a:buChar char="-"/>
              <a:defRPr sz="1200">
                <a:latin typeface="Public Sans" pitchFamily="2" charset="0"/>
              </a:defRPr>
            </a:lvl3pPr>
            <a:lvl4pPr marL="1152000" indent="-216000" defTabSz="914377">
              <a:lnSpc>
                <a:spcPct val="101000"/>
              </a:lnSpc>
              <a:spcBef>
                <a:spcPts val="0"/>
              </a:spcBef>
              <a:buFont typeface="Arial" panose="020B0604020202020204" pitchFamily="34" charset="0"/>
              <a:buChar char="•"/>
              <a:defRPr sz="1100"/>
            </a:lvl4pPr>
            <a:lvl5pPr marL="0" indent="0" defTabSz="914377">
              <a:lnSpc>
                <a:spcPct val="101000"/>
              </a:lnSpc>
              <a:spcBef>
                <a:spcPts val="0"/>
              </a:spcBef>
              <a:buFont typeface="Arial" panose="020B0604020202020204" pitchFamily="34" charset="0"/>
              <a:buNone/>
              <a:defRPr sz="1600">
                <a:solidFill>
                  <a:schemeClr val="tx2"/>
                </a:solidFill>
                <a:latin typeface="+mj-lt"/>
              </a:defRPr>
            </a:lvl5pPr>
            <a:lvl6pPr marL="0" indent="0" defTabSz="914377">
              <a:lnSpc>
                <a:spcPct val="101000"/>
              </a:lnSpc>
              <a:spcBef>
                <a:spcPts val="0"/>
              </a:spcBef>
              <a:buFont typeface="Arial" panose="020B0604020202020204" pitchFamily="34" charset="0"/>
              <a:buNone/>
              <a:defRPr sz="600" i="1">
                <a:latin typeface="Public Sans" pitchFamily="2" charset="0"/>
              </a:defRPr>
            </a:lvl6pPr>
            <a:lvl7pPr marL="2971726" indent="-228594" defTabSz="914377">
              <a:lnSpc>
                <a:spcPct val="90000"/>
              </a:lnSpc>
              <a:spcBef>
                <a:spcPts val="500"/>
              </a:spcBef>
              <a:buFont typeface="Arial" panose="020B0604020202020204" pitchFamily="34" charset="0"/>
              <a:buChar char="•"/>
              <a:defRPr sz="1800"/>
            </a:lvl7pPr>
            <a:lvl8pPr marL="3428914" indent="-228594" defTabSz="914377">
              <a:lnSpc>
                <a:spcPct val="90000"/>
              </a:lnSpc>
              <a:spcBef>
                <a:spcPts val="500"/>
              </a:spcBef>
              <a:buFont typeface="Arial" panose="020B0604020202020204" pitchFamily="34" charset="0"/>
              <a:buChar char="•"/>
              <a:defRPr sz="1800"/>
            </a:lvl8pPr>
            <a:lvl9pPr marL="3886103" indent="-228594" defTabSz="914377">
              <a:lnSpc>
                <a:spcPct val="90000"/>
              </a:lnSpc>
              <a:spcBef>
                <a:spcPts val="500"/>
              </a:spcBef>
              <a:buFont typeface="Arial" panose="020B0604020202020204" pitchFamily="34" charset="0"/>
              <a:buChar char="•"/>
              <a:defRPr sz="1800"/>
            </a:lvl9pPr>
          </a:lstStyle>
          <a:p>
            <a:endParaRPr lang="fr-FR" b="1" dirty="0" smtClean="0"/>
          </a:p>
        </p:txBody>
      </p:sp>
      <p:sp>
        <p:nvSpPr>
          <p:cNvPr id="5" name="Titre 4">
            <a:extLst>
              <a:ext uri="{FF2B5EF4-FFF2-40B4-BE49-F238E27FC236}">
                <a16:creationId xmlns:a16="http://schemas.microsoft.com/office/drawing/2014/main" id="{50DAC62C-A706-DD49-A8C0-9135F1BC95FF}"/>
              </a:ext>
            </a:extLst>
          </p:cNvPr>
          <p:cNvSpPr>
            <a:spLocks noGrp="1"/>
          </p:cNvSpPr>
          <p:nvPr>
            <p:ph type="title"/>
          </p:nvPr>
        </p:nvSpPr>
        <p:spPr>
          <a:xfrm>
            <a:off x="196436" y="215844"/>
            <a:ext cx="11527469" cy="1085875"/>
          </a:xfrm>
        </p:spPr>
        <p:txBody>
          <a:bodyPr/>
          <a:lstStyle/>
          <a:p>
            <a:pPr>
              <a:spcAft>
                <a:spcPts val="300"/>
              </a:spcAft>
              <a:buClr>
                <a:schemeClr val="accent4">
                  <a:lumMod val="75000"/>
                </a:schemeClr>
              </a:buClr>
              <a:buSzPct val="110000"/>
              <a:tabLst>
                <a:tab pos="542925" algn="l"/>
              </a:tabLst>
              <a:defRPr/>
            </a:pPr>
            <a:r>
              <a:rPr lang="fr-FR" sz="2800" dirty="0" smtClean="0">
                <a:cs typeface="Calibri" panose="020F0502020204030204" pitchFamily="34" charset="0"/>
              </a:rPr>
              <a:t>L’équipement </a:t>
            </a:r>
            <a:r>
              <a:rPr lang="fr-FR" sz="2800" dirty="0">
                <a:cs typeface="Calibri" panose="020F0502020204030204" pitchFamily="34" charset="0"/>
              </a:rPr>
              <a:t>de </a:t>
            </a:r>
            <a:r>
              <a:rPr lang="fr-FR" sz="2800" dirty="0" smtClean="0">
                <a:cs typeface="Calibri" panose="020F0502020204030204" pitchFamily="34" charset="0"/>
              </a:rPr>
              <a:t>solutions de recharge </a:t>
            </a:r>
            <a:r>
              <a:rPr lang="fr-FR" sz="2800" dirty="0">
                <a:cs typeface="Calibri" panose="020F0502020204030204" pitchFamily="34" charset="0"/>
              </a:rPr>
              <a:t>de VE dans l’habitat </a:t>
            </a:r>
            <a:r>
              <a:rPr lang="fr-FR" sz="2800" dirty="0" smtClean="0">
                <a:cs typeface="Calibri" panose="020F0502020204030204" pitchFamily="34" charset="0"/>
              </a:rPr>
              <a:t>collectif est un enjeu majeur, avec un parc à installer de 236 000 résidences</a:t>
            </a:r>
            <a:endParaRPr lang="fr-FR" sz="2800" dirty="0">
              <a:cs typeface="Calibri" panose="020F0502020204030204" pitchFamily="34" charset="0"/>
            </a:endParaRPr>
          </a:p>
        </p:txBody>
      </p:sp>
      <p:sp>
        <p:nvSpPr>
          <p:cNvPr id="7" name="Espace réservé pour une image  6"/>
          <p:cNvSpPr>
            <a:spLocks noGrp="1"/>
          </p:cNvSpPr>
          <p:nvPr>
            <p:ph type="pic" sz="quarter" idx="51"/>
          </p:nvPr>
        </p:nvSpPr>
        <p:spPr>
          <a:xfrm>
            <a:off x="5187701" y="3236743"/>
            <a:ext cx="752727" cy="684039"/>
          </a:xfrm>
        </p:spPr>
      </p:sp>
      <p:pic>
        <p:nvPicPr>
          <p:cNvPr id="35" name="Image 3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331195" y="2292206"/>
            <a:ext cx="2310393" cy="2358242"/>
          </a:xfrm>
          <a:prstGeom prst="rect">
            <a:avLst/>
          </a:prstGeom>
        </p:spPr>
      </p:pic>
      <p:pic>
        <p:nvPicPr>
          <p:cNvPr id="36" name="Image 35">
            <a:extLst>
              <a:ext uri="{FF2B5EF4-FFF2-40B4-BE49-F238E27FC236}">
                <a16:creationId xmlns:a16="http://schemas.microsoft.com/office/drawing/2014/main" id="{66F9A9CA-C1C7-3A0C-25DF-8C6212BA960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508915" y="2107245"/>
            <a:ext cx="1747344" cy="176754"/>
          </a:xfrm>
          <a:prstGeom prst="rect">
            <a:avLst/>
          </a:prstGeom>
        </p:spPr>
      </p:pic>
      <p:pic>
        <p:nvPicPr>
          <p:cNvPr id="41" name="Image 40"/>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701405" y="2348882"/>
            <a:ext cx="2332499" cy="2358242"/>
          </a:xfrm>
          <a:prstGeom prst="rect">
            <a:avLst/>
          </a:prstGeom>
        </p:spPr>
      </p:pic>
      <p:pic>
        <p:nvPicPr>
          <p:cNvPr id="42" name="Image 41">
            <a:extLst>
              <a:ext uri="{FF2B5EF4-FFF2-40B4-BE49-F238E27FC236}">
                <a16:creationId xmlns:a16="http://schemas.microsoft.com/office/drawing/2014/main" id="{4F896938-5BB7-1928-1727-66A986C0C88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097715" y="2129601"/>
            <a:ext cx="1539877" cy="185847"/>
          </a:xfrm>
          <a:prstGeom prst="rect">
            <a:avLst/>
          </a:prstGeom>
        </p:spPr>
      </p:pic>
      <p:sp>
        <p:nvSpPr>
          <p:cNvPr id="43" name="Rectangle 42"/>
          <p:cNvSpPr/>
          <p:nvPr/>
        </p:nvSpPr>
        <p:spPr>
          <a:xfrm>
            <a:off x="8796185" y="4707124"/>
            <a:ext cx="2142938" cy="738664"/>
          </a:xfrm>
          <a:prstGeom prst="rect">
            <a:avLst/>
          </a:prstGeom>
        </p:spPr>
        <p:txBody>
          <a:bodyPr wrap="square">
            <a:spAutoFit/>
          </a:bodyPr>
          <a:lstStyle/>
          <a:p>
            <a:pPr algn="ctr"/>
            <a:r>
              <a:rPr lang="fr-FR" sz="1050" dirty="0">
                <a:solidFill>
                  <a:schemeClr val="tx1">
                    <a:lumMod val="75000"/>
                    <a:lumOff val="25000"/>
                  </a:schemeClr>
                </a:solidFill>
                <a:latin typeface="+mj-lt"/>
              </a:rPr>
              <a:t>Installation du réseau public d’électricité dans le parking. </a:t>
            </a:r>
            <a:r>
              <a:rPr lang="fr-FR" sz="1050" dirty="0" err="1">
                <a:solidFill>
                  <a:schemeClr val="tx1">
                    <a:lumMod val="75000"/>
                    <a:lumOff val="25000"/>
                  </a:schemeClr>
                </a:solidFill>
                <a:latin typeface="+mj-lt"/>
              </a:rPr>
              <a:t>Enedis</a:t>
            </a:r>
            <a:r>
              <a:rPr lang="fr-FR" sz="1050" dirty="0">
                <a:solidFill>
                  <a:schemeClr val="tx1">
                    <a:lumMod val="75000"/>
                    <a:lumOff val="25000"/>
                  </a:schemeClr>
                </a:solidFill>
                <a:latin typeface="+mj-lt"/>
              </a:rPr>
              <a:t> </a:t>
            </a:r>
            <a:r>
              <a:rPr lang="fr-FR" sz="1050" b="1" dirty="0">
                <a:solidFill>
                  <a:schemeClr val="tx2"/>
                </a:solidFill>
                <a:latin typeface="+mj-lt"/>
              </a:rPr>
              <a:t>installe</a:t>
            </a:r>
            <a:r>
              <a:rPr lang="fr-FR" sz="1050" dirty="0">
                <a:solidFill>
                  <a:schemeClr val="tx1">
                    <a:lumMod val="50000"/>
                    <a:lumOff val="50000"/>
                  </a:schemeClr>
                </a:solidFill>
                <a:latin typeface="+mj-lt"/>
              </a:rPr>
              <a:t> </a:t>
            </a:r>
            <a:r>
              <a:rPr lang="fr-FR" sz="1050" b="1" dirty="0">
                <a:solidFill>
                  <a:schemeClr val="tx2"/>
                </a:solidFill>
                <a:latin typeface="+mj-lt"/>
              </a:rPr>
              <a:t>l’ensemble</a:t>
            </a:r>
            <a:r>
              <a:rPr lang="fr-FR" sz="1050" dirty="0">
                <a:solidFill>
                  <a:schemeClr val="tx1">
                    <a:lumMod val="50000"/>
                    <a:lumOff val="50000"/>
                  </a:schemeClr>
                </a:solidFill>
                <a:latin typeface="+mj-lt"/>
              </a:rPr>
              <a:t> </a:t>
            </a:r>
            <a:r>
              <a:rPr lang="fr-FR" sz="1050" dirty="0">
                <a:solidFill>
                  <a:schemeClr val="tx1">
                    <a:lumMod val="75000"/>
                    <a:lumOff val="25000"/>
                  </a:schemeClr>
                </a:solidFill>
                <a:latin typeface="+mj-lt"/>
              </a:rPr>
              <a:t>de la structure collective</a:t>
            </a:r>
          </a:p>
        </p:txBody>
      </p:sp>
      <p:sp>
        <p:nvSpPr>
          <p:cNvPr id="44" name="Rectangle 43"/>
          <p:cNvSpPr/>
          <p:nvPr/>
        </p:nvSpPr>
        <p:spPr>
          <a:xfrm>
            <a:off x="5112134" y="4658655"/>
            <a:ext cx="2540907" cy="738664"/>
          </a:xfrm>
          <a:prstGeom prst="rect">
            <a:avLst/>
          </a:prstGeom>
        </p:spPr>
        <p:txBody>
          <a:bodyPr wrap="square">
            <a:spAutoFit/>
          </a:bodyPr>
          <a:lstStyle/>
          <a:p>
            <a:pPr algn="ctr"/>
            <a:r>
              <a:rPr lang="fr-FR" sz="1050" dirty="0">
                <a:solidFill>
                  <a:schemeClr val="tx1">
                    <a:lumMod val="75000"/>
                    <a:lumOff val="25000"/>
                  </a:schemeClr>
                </a:solidFill>
                <a:latin typeface="+mj-lt"/>
              </a:rPr>
              <a:t>Service de recharge proposé par un opérateur de recharge. </a:t>
            </a:r>
            <a:r>
              <a:rPr lang="fr-FR" sz="1050" dirty="0" err="1">
                <a:solidFill>
                  <a:schemeClr val="tx1">
                    <a:lumMod val="75000"/>
                    <a:lumOff val="25000"/>
                  </a:schemeClr>
                </a:solidFill>
                <a:latin typeface="+mj-lt"/>
              </a:rPr>
              <a:t>Enedis</a:t>
            </a:r>
            <a:r>
              <a:rPr lang="fr-FR" sz="1050" dirty="0">
                <a:solidFill>
                  <a:schemeClr val="tx1">
                    <a:lumMod val="75000"/>
                    <a:lumOff val="25000"/>
                  </a:schemeClr>
                </a:solidFill>
                <a:latin typeface="+mj-lt"/>
              </a:rPr>
              <a:t> </a:t>
            </a:r>
            <a:r>
              <a:rPr lang="fr-FR" sz="1050" b="1" dirty="0">
                <a:solidFill>
                  <a:schemeClr val="tx2"/>
                </a:solidFill>
                <a:latin typeface="+mj-lt"/>
              </a:rPr>
              <a:t>installe le point de livraison </a:t>
            </a:r>
            <a:r>
              <a:rPr lang="fr-FR" sz="1050" dirty="0">
                <a:solidFill>
                  <a:schemeClr val="tx1">
                    <a:lumMod val="50000"/>
                    <a:lumOff val="50000"/>
                  </a:schemeClr>
                </a:solidFill>
                <a:latin typeface="+mj-lt"/>
              </a:rPr>
              <a:t>et </a:t>
            </a:r>
            <a:r>
              <a:rPr lang="fr-FR" sz="1050" dirty="0">
                <a:solidFill>
                  <a:schemeClr val="tx1">
                    <a:lumMod val="75000"/>
                    <a:lumOff val="25000"/>
                  </a:schemeClr>
                </a:solidFill>
                <a:latin typeface="+mj-lt"/>
              </a:rPr>
              <a:t>l’opérateur le reste de l’installation</a:t>
            </a:r>
          </a:p>
        </p:txBody>
      </p:sp>
      <p:sp>
        <p:nvSpPr>
          <p:cNvPr id="17" name="Slide Number Placeholder 3">
            <a:extLst>
              <a:ext uri="{FF2B5EF4-FFF2-40B4-BE49-F238E27FC236}">
                <a16:creationId xmlns:a16="http://schemas.microsoft.com/office/drawing/2014/main" id="{29869B0A-245E-6617-42EE-AD9F74932BA2}"/>
              </a:ext>
            </a:extLst>
          </p:cNvPr>
          <p:cNvSpPr txBox="1">
            <a:spLocks/>
          </p:cNvSpPr>
          <p:nvPr/>
        </p:nvSpPr>
        <p:spPr>
          <a:xfrm>
            <a:off x="11330390" y="6592090"/>
            <a:ext cx="465150" cy="154849"/>
          </a:xfrm>
          <a:prstGeom prst="rect">
            <a:avLst/>
          </a:prstGeom>
        </p:spPr>
        <p:txBody>
          <a:bodyPr vert="horz" lIns="0" tIns="0" rIns="0" bIns="0" rtlCol="0" anchor="ctr"/>
          <a:lstStyle>
            <a:defPPr>
              <a:defRPr lang="en-US"/>
            </a:defPPr>
            <a:lvl1pPr marL="0" algn="r" defTabSz="609585" rtl="0" eaLnBrk="1" latinLnBrk="0" hangingPunct="1">
              <a:defRPr sz="750" b="1" kern="1200">
                <a:solidFill>
                  <a:schemeClr val="tx2"/>
                </a:solidFill>
                <a:latin typeface="+mj-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6B54B0F7-55DD-40D6-B7F4-70B586885C0B}" type="slidenum">
              <a:rPr lang="fr-FR" sz="800" smtClean="0"/>
              <a:pPr/>
              <a:t>16</a:t>
            </a:fld>
            <a:endParaRPr lang="fr-FR" sz="800" dirty="0"/>
          </a:p>
        </p:txBody>
      </p:sp>
      <p:cxnSp>
        <p:nvCxnSpPr>
          <p:cNvPr id="3" name="Connecteur droit 2"/>
          <p:cNvCxnSpPr/>
          <p:nvPr/>
        </p:nvCxnSpPr>
        <p:spPr>
          <a:xfrm>
            <a:off x="5231996" y="2781239"/>
            <a:ext cx="235789"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5" name="Connecteur droit 24"/>
          <p:cNvCxnSpPr/>
          <p:nvPr/>
        </p:nvCxnSpPr>
        <p:spPr>
          <a:xfrm>
            <a:off x="5225365" y="3141548"/>
            <a:ext cx="235789"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
        <p:nvSpPr>
          <p:cNvPr id="8" name="ZoneTexte 7"/>
          <p:cNvSpPr txBox="1"/>
          <p:nvPr/>
        </p:nvSpPr>
        <p:spPr>
          <a:xfrm>
            <a:off x="5151210" y="2812870"/>
            <a:ext cx="431528" cy="200055"/>
          </a:xfrm>
          <a:prstGeom prst="rect">
            <a:avLst/>
          </a:prstGeom>
          <a:noFill/>
        </p:spPr>
        <p:txBody>
          <a:bodyPr wrap="none" rtlCol="0">
            <a:spAutoFit/>
          </a:bodyPr>
          <a:lstStyle/>
          <a:p>
            <a:r>
              <a:rPr lang="fr-FR" sz="700" dirty="0" smtClean="0">
                <a:latin typeface="+mj-lt"/>
              </a:rPr>
              <a:t>public</a:t>
            </a:r>
            <a:endParaRPr lang="fr-FR" sz="700" dirty="0">
              <a:latin typeface="+mj-lt"/>
            </a:endParaRPr>
          </a:p>
        </p:txBody>
      </p:sp>
      <p:sp>
        <p:nvSpPr>
          <p:cNvPr id="28" name="ZoneTexte 27"/>
          <p:cNvSpPr txBox="1"/>
          <p:nvPr/>
        </p:nvSpPr>
        <p:spPr>
          <a:xfrm>
            <a:off x="5139708" y="3167428"/>
            <a:ext cx="389850" cy="200055"/>
          </a:xfrm>
          <a:prstGeom prst="rect">
            <a:avLst/>
          </a:prstGeom>
          <a:solidFill>
            <a:schemeClr val="bg1"/>
          </a:solidFill>
        </p:spPr>
        <p:txBody>
          <a:bodyPr wrap="none" rtlCol="0">
            <a:spAutoFit/>
          </a:bodyPr>
          <a:lstStyle/>
          <a:p>
            <a:r>
              <a:rPr lang="fr-FR" sz="700" dirty="0" smtClean="0">
                <a:latin typeface="+mj-lt"/>
              </a:rPr>
              <a:t>privé</a:t>
            </a:r>
            <a:endParaRPr lang="fr-FR" sz="700" dirty="0">
              <a:latin typeface="+mj-lt"/>
            </a:endParaRPr>
          </a:p>
        </p:txBody>
      </p:sp>
      <p:cxnSp>
        <p:nvCxnSpPr>
          <p:cNvPr id="29" name="Connecteur droit 28"/>
          <p:cNvCxnSpPr/>
          <p:nvPr/>
        </p:nvCxnSpPr>
        <p:spPr>
          <a:xfrm>
            <a:off x="10804145" y="2804261"/>
            <a:ext cx="235789"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0" name="Connecteur droit 29"/>
          <p:cNvCxnSpPr/>
          <p:nvPr/>
        </p:nvCxnSpPr>
        <p:spPr>
          <a:xfrm>
            <a:off x="10797514" y="3164570"/>
            <a:ext cx="235789"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
        <p:nvSpPr>
          <p:cNvPr id="31" name="ZoneTexte 30"/>
          <p:cNvSpPr txBox="1"/>
          <p:nvPr/>
        </p:nvSpPr>
        <p:spPr>
          <a:xfrm>
            <a:off x="10723359" y="2835892"/>
            <a:ext cx="431528" cy="200055"/>
          </a:xfrm>
          <a:prstGeom prst="rect">
            <a:avLst/>
          </a:prstGeom>
          <a:noFill/>
        </p:spPr>
        <p:txBody>
          <a:bodyPr wrap="none" rtlCol="0">
            <a:spAutoFit/>
          </a:bodyPr>
          <a:lstStyle/>
          <a:p>
            <a:r>
              <a:rPr lang="fr-FR" sz="700" dirty="0" smtClean="0">
                <a:latin typeface="+mj-lt"/>
              </a:rPr>
              <a:t>public</a:t>
            </a:r>
            <a:endParaRPr lang="fr-FR" sz="700" dirty="0">
              <a:latin typeface="+mj-lt"/>
            </a:endParaRPr>
          </a:p>
        </p:txBody>
      </p:sp>
      <p:sp>
        <p:nvSpPr>
          <p:cNvPr id="32" name="ZoneTexte 31"/>
          <p:cNvSpPr txBox="1"/>
          <p:nvPr/>
        </p:nvSpPr>
        <p:spPr>
          <a:xfrm>
            <a:off x="10711857" y="3190450"/>
            <a:ext cx="389850" cy="200055"/>
          </a:xfrm>
          <a:prstGeom prst="rect">
            <a:avLst/>
          </a:prstGeom>
          <a:solidFill>
            <a:schemeClr val="bg1"/>
          </a:solidFill>
        </p:spPr>
        <p:txBody>
          <a:bodyPr wrap="none" rtlCol="0">
            <a:spAutoFit/>
          </a:bodyPr>
          <a:lstStyle/>
          <a:p>
            <a:r>
              <a:rPr lang="fr-FR" sz="700" dirty="0" smtClean="0">
                <a:latin typeface="+mj-lt"/>
              </a:rPr>
              <a:t>privé</a:t>
            </a:r>
            <a:endParaRPr lang="fr-FR" sz="700" dirty="0">
              <a:latin typeface="+mj-lt"/>
            </a:endParaRPr>
          </a:p>
        </p:txBody>
      </p:sp>
      <p:sp>
        <p:nvSpPr>
          <p:cNvPr id="9" name="Rectangle 8"/>
          <p:cNvSpPr/>
          <p:nvPr/>
        </p:nvSpPr>
        <p:spPr>
          <a:xfrm>
            <a:off x="5112134" y="3367483"/>
            <a:ext cx="219061" cy="6271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4" name="Rectangle 33"/>
          <p:cNvSpPr/>
          <p:nvPr/>
        </p:nvSpPr>
        <p:spPr>
          <a:xfrm>
            <a:off x="8627453" y="3164570"/>
            <a:ext cx="364599" cy="2055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9" name="ZoneTexte 38">
            <a:extLst>
              <a:ext uri="{FF2B5EF4-FFF2-40B4-BE49-F238E27FC236}">
                <a16:creationId xmlns:a16="http://schemas.microsoft.com/office/drawing/2014/main" id="{B36C45BC-66BB-4ED3-86AB-627C6DCC756A}"/>
              </a:ext>
            </a:extLst>
          </p:cNvPr>
          <p:cNvSpPr txBox="1"/>
          <p:nvPr/>
        </p:nvSpPr>
        <p:spPr>
          <a:xfrm>
            <a:off x="4812177" y="1364753"/>
            <a:ext cx="6518213" cy="543238"/>
          </a:xfrm>
          <a:prstGeom prst="rect">
            <a:avLst/>
          </a:prstGeom>
          <a:solidFill>
            <a:schemeClr val="bg1"/>
          </a:solidFill>
          <a:effectLst>
            <a:outerShdw blurRad="50800" dist="38100" dir="2700000" algn="tl" rotWithShape="0">
              <a:prstClr val="black">
                <a:alpha val="40000"/>
              </a:prstClr>
            </a:outerShdw>
          </a:effectLst>
        </p:spPr>
        <p:txBody>
          <a:bodyPr wrap="square" anchor="ctr" anchorCtr="1">
            <a:noAutofit/>
          </a:bodyPr>
          <a:lstStyle>
            <a:defPPr>
              <a:defRPr lang="en-US"/>
            </a:defPPr>
            <a:lvl1pPr marL="285750" indent="-285750" defTabSz="914377">
              <a:lnSpc>
                <a:spcPct val="101000"/>
              </a:lnSpc>
              <a:spcBef>
                <a:spcPts val="0"/>
              </a:spcBef>
              <a:spcAft>
                <a:spcPts val="600"/>
              </a:spcAft>
              <a:buClr>
                <a:schemeClr val="tx2"/>
              </a:buClr>
              <a:buFont typeface="Wingdings" panose="05000000000000000000" pitchFamily="2" charset="2"/>
              <a:buChar char="q"/>
              <a:defRPr sz="1200" b="1">
                <a:latin typeface="+mj-lt"/>
              </a:defRPr>
            </a:lvl1pPr>
            <a:lvl2pPr marL="216000" indent="-216000" defTabSz="914377">
              <a:lnSpc>
                <a:spcPct val="101000"/>
              </a:lnSpc>
              <a:spcBef>
                <a:spcPts val="0"/>
              </a:spcBef>
              <a:buClr>
                <a:schemeClr val="tx2"/>
              </a:buClr>
              <a:buSzPct val="120000"/>
              <a:buFont typeface="Public Sans" pitchFamily="2" charset="0"/>
              <a:buChar char="—"/>
              <a:defRPr sz="1200" b="1">
                <a:solidFill>
                  <a:schemeClr val="tx2"/>
                </a:solidFill>
                <a:latin typeface="Public Sans" pitchFamily="2" charset="0"/>
              </a:defRPr>
            </a:lvl2pPr>
            <a:lvl3pPr marL="576000" indent="-108000" defTabSz="914377">
              <a:lnSpc>
                <a:spcPct val="101000"/>
              </a:lnSpc>
              <a:spcBef>
                <a:spcPts val="0"/>
              </a:spcBef>
              <a:buFont typeface="Arial" panose="020B0604020202020204" pitchFamily="34" charset="0"/>
              <a:buChar char="-"/>
              <a:defRPr sz="1200">
                <a:latin typeface="Public Sans" pitchFamily="2" charset="0"/>
              </a:defRPr>
            </a:lvl3pPr>
            <a:lvl4pPr marL="1152000" indent="-216000" defTabSz="914377">
              <a:lnSpc>
                <a:spcPct val="101000"/>
              </a:lnSpc>
              <a:spcBef>
                <a:spcPts val="0"/>
              </a:spcBef>
              <a:buFont typeface="Arial" panose="020B0604020202020204" pitchFamily="34" charset="0"/>
              <a:buChar char="•"/>
              <a:defRPr sz="1100"/>
            </a:lvl4pPr>
            <a:lvl5pPr marL="0" indent="0" defTabSz="914377">
              <a:lnSpc>
                <a:spcPct val="101000"/>
              </a:lnSpc>
              <a:spcBef>
                <a:spcPts val="0"/>
              </a:spcBef>
              <a:buFont typeface="Arial" panose="020B0604020202020204" pitchFamily="34" charset="0"/>
              <a:buNone/>
              <a:defRPr sz="1600">
                <a:solidFill>
                  <a:schemeClr val="tx2"/>
                </a:solidFill>
                <a:latin typeface="+mj-lt"/>
              </a:defRPr>
            </a:lvl5pPr>
            <a:lvl6pPr marL="0" indent="0" defTabSz="914377">
              <a:lnSpc>
                <a:spcPct val="101000"/>
              </a:lnSpc>
              <a:spcBef>
                <a:spcPts val="0"/>
              </a:spcBef>
              <a:buFont typeface="Arial" panose="020B0604020202020204" pitchFamily="34" charset="0"/>
              <a:buNone/>
              <a:defRPr sz="600" i="1">
                <a:latin typeface="Public Sans" pitchFamily="2" charset="0"/>
              </a:defRPr>
            </a:lvl6pPr>
            <a:lvl7pPr marL="2971726" indent="-228594" defTabSz="914377">
              <a:lnSpc>
                <a:spcPct val="90000"/>
              </a:lnSpc>
              <a:spcBef>
                <a:spcPts val="500"/>
              </a:spcBef>
              <a:buFont typeface="Arial" panose="020B0604020202020204" pitchFamily="34" charset="0"/>
              <a:buChar char="•"/>
              <a:defRPr sz="1800"/>
            </a:lvl7pPr>
            <a:lvl8pPr marL="3428914" indent="-228594" defTabSz="914377">
              <a:lnSpc>
                <a:spcPct val="90000"/>
              </a:lnSpc>
              <a:spcBef>
                <a:spcPts val="500"/>
              </a:spcBef>
              <a:buFont typeface="Arial" panose="020B0604020202020204" pitchFamily="34" charset="0"/>
              <a:buChar char="•"/>
              <a:defRPr sz="1800"/>
            </a:lvl8pPr>
            <a:lvl9pPr marL="3886103" indent="-228594" defTabSz="914377">
              <a:lnSpc>
                <a:spcPct val="90000"/>
              </a:lnSpc>
              <a:spcBef>
                <a:spcPts val="500"/>
              </a:spcBef>
              <a:buFont typeface="Arial" panose="020B0604020202020204" pitchFamily="34" charset="0"/>
              <a:buChar char="•"/>
              <a:defRPr sz="1800"/>
            </a:lvl9pPr>
          </a:lstStyle>
          <a:p>
            <a:pPr marL="0" indent="0" algn="ctr">
              <a:buNone/>
            </a:pPr>
            <a:r>
              <a:rPr lang="fr-FR" sz="1400" dirty="0">
                <a:solidFill>
                  <a:schemeClr val="tx2"/>
                </a:solidFill>
              </a:rPr>
              <a:t>Les deux solutions </a:t>
            </a:r>
            <a:r>
              <a:rPr lang="fr-FR" sz="1400" dirty="0" smtClean="0">
                <a:solidFill>
                  <a:schemeClr val="tx2"/>
                </a:solidFill>
              </a:rPr>
              <a:t>collectives déployées </a:t>
            </a:r>
            <a:r>
              <a:rPr lang="fr-FR" sz="1400" dirty="0">
                <a:solidFill>
                  <a:schemeClr val="tx2"/>
                </a:solidFill>
              </a:rPr>
              <a:t>en résidentiel collectif pour les copropriétés et </a:t>
            </a:r>
            <a:r>
              <a:rPr lang="fr-FR" sz="1400" dirty="0" smtClean="0">
                <a:solidFill>
                  <a:schemeClr val="tx2"/>
                </a:solidFill>
              </a:rPr>
              <a:t>bailleurs, en parking intérieur et extérieur</a:t>
            </a:r>
            <a:endParaRPr lang="fr-FR" sz="1400" dirty="0">
              <a:solidFill>
                <a:schemeClr val="tx2"/>
              </a:solidFill>
            </a:endParaRPr>
          </a:p>
        </p:txBody>
      </p:sp>
      <p:pic>
        <p:nvPicPr>
          <p:cNvPr id="2" name="Image 1"/>
          <p:cNvPicPr>
            <a:picLocks noChangeAspect="1"/>
          </p:cNvPicPr>
          <p:nvPr/>
        </p:nvPicPr>
        <p:blipFill>
          <a:blip r:embed="rId7"/>
          <a:stretch>
            <a:fillRect/>
          </a:stretch>
        </p:blipFill>
        <p:spPr>
          <a:xfrm>
            <a:off x="291178" y="1301719"/>
            <a:ext cx="2181272" cy="4859930"/>
          </a:xfrm>
          <a:prstGeom prst="rect">
            <a:avLst/>
          </a:prstGeom>
        </p:spPr>
      </p:pic>
      <p:sp>
        <p:nvSpPr>
          <p:cNvPr id="27" name="Google Shape;435;p12"/>
          <p:cNvSpPr/>
          <p:nvPr/>
        </p:nvSpPr>
        <p:spPr>
          <a:xfrm>
            <a:off x="2492813" y="1364753"/>
            <a:ext cx="2250031" cy="4075121"/>
          </a:xfrm>
          <a:prstGeom prst="rect">
            <a:avLst/>
          </a:prstGeom>
          <a:solidFill>
            <a:schemeClr val="tx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fr-FR" sz="2000" b="1" dirty="0" smtClean="0">
                <a:solidFill>
                  <a:schemeClr val="bg1"/>
                </a:solidFill>
                <a:latin typeface="Enedis" pitchFamily="2" charset="0"/>
                <a:sym typeface="Arial"/>
              </a:rPr>
              <a:t>Le sujet principal </a:t>
            </a:r>
            <a:r>
              <a:rPr lang="fr-FR" sz="2000" dirty="0" smtClean="0">
                <a:solidFill>
                  <a:schemeClr val="bg1"/>
                </a:solidFill>
                <a:latin typeface="Enedis" pitchFamily="2" charset="0"/>
                <a:sym typeface="Arial"/>
              </a:rPr>
              <a:t>n’est pas la prise en charge des coûts mais le </a:t>
            </a:r>
            <a:r>
              <a:rPr lang="fr-FR" sz="2000" b="1" dirty="0" smtClean="0">
                <a:solidFill>
                  <a:schemeClr val="bg1"/>
                </a:solidFill>
                <a:latin typeface="Enedis" pitchFamily="2" charset="0"/>
                <a:sym typeface="Arial"/>
              </a:rPr>
              <a:t>déclenchement de la décision en AG :</a:t>
            </a:r>
          </a:p>
          <a:p>
            <a:pPr marL="342900" marR="0" lvl="0" indent="-342900" algn="l" rtl="0">
              <a:spcBef>
                <a:spcPts val="0"/>
              </a:spcBef>
              <a:spcAft>
                <a:spcPts val="0"/>
              </a:spcAft>
              <a:buFont typeface="Wingdings" panose="05000000000000000000" pitchFamily="2" charset="2"/>
              <a:buChar char="Ø"/>
            </a:pPr>
            <a:r>
              <a:rPr lang="fr-FR" sz="2000" dirty="0" smtClean="0">
                <a:solidFill>
                  <a:schemeClr val="bg1"/>
                </a:solidFill>
                <a:latin typeface="Enedis" pitchFamily="2" charset="0"/>
                <a:sym typeface="Arial"/>
              </a:rPr>
              <a:t>un mécanisme </a:t>
            </a:r>
            <a:r>
              <a:rPr lang="fr-FR" sz="2000" b="1" dirty="0" smtClean="0">
                <a:solidFill>
                  <a:schemeClr val="bg1"/>
                </a:solidFill>
                <a:latin typeface="Enedis" pitchFamily="2" charset="0"/>
                <a:sym typeface="Arial"/>
              </a:rPr>
              <a:t>de </a:t>
            </a:r>
            <a:r>
              <a:rPr lang="fr-FR" sz="2000" b="1" dirty="0" err="1" smtClean="0">
                <a:solidFill>
                  <a:schemeClr val="bg1"/>
                </a:solidFill>
                <a:latin typeface="Enedis" pitchFamily="2" charset="0"/>
                <a:sym typeface="Arial"/>
              </a:rPr>
              <a:t>pré-financement</a:t>
            </a:r>
            <a:r>
              <a:rPr lang="fr-FR" sz="2000" b="1" dirty="0" smtClean="0">
                <a:solidFill>
                  <a:schemeClr val="bg1"/>
                </a:solidFill>
                <a:latin typeface="Enedis" pitchFamily="2" charset="0"/>
                <a:sym typeface="Arial"/>
              </a:rPr>
              <a:t/>
            </a:r>
            <a:br>
              <a:rPr lang="fr-FR" sz="2000" b="1" dirty="0" smtClean="0">
                <a:solidFill>
                  <a:schemeClr val="bg1"/>
                </a:solidFill>
                <a:latin typeface="Enedis" pitchFamily="2" charset="0"/>
                <a:sym typeface="Arial"/>
              </a:rPr>
            </a:br>
            <a:r>
              <a:rPr lang="fr-FR" sz="2000" b="1" dirty="0" smtClean="0">
                <a:solidFill>
                  <a:schemeClr val="bg1"/>
                </a:solidFill>
                <a:latin typeface="Enedis" pitchFamily="2" charset="0"/>
                <a:sym typeface="Arial"/>
              </a:rPr>
              <a:t>y répond</a:t>
            </a:r>
            <a:endParaRPr sz="2000" b="1" dirty="0">
              <a:solidFill>
                <a:schemeClr val="bg1"/>
              </a:solidFill>
              <a:latin typeface="Enedis" pitchFamily="2" charset="0"/>
              <a:sym typeface="Arial"/>
            </a:endParaRPr>
          </a:p>
        </p:txBody>
      </p:sp>
      <p:sp>
        <p:nvSpPr>
          <p:cNvPr id="33" name="Google Shape;441;p12"/>
          <p:cNvSpPr txBox="1"/>
          <p:nvPr/>
        </p:nvSpPr>
        <p:spPr>
          <a:xfrm>
            <a:off x="2492813" y="5522812"/>
            <a:ext cx="8837577" cy="570019"/>
          </a:xfrm>
          <a:prstGeom prst="rect">
            <a:avLst/>
          </a:prstGeom>
          <a:solidFill>
            <a:schemeClr val="bg1"/>
          </a:solidFill>
          <a:ln w="38100">
            <a:solidFill>
              <a:srgbClr val="FF0000"/>
            </a:solidFill>
          </a:ln>
          <a:effectLst>
            <a:outerShdw blurRad="50800" dist="76200" dir="2700000" algn="tl" rotWithShape="0">
              <a:prstClr val="black">
                <a:alpha val="40000"/>
              </a:prstClr>
            </a:outerShdw>
          </a:effectLst>
        </p:spPr>
        <p:txBody>
          <a:bodyPr spcFirstLastPara="1" wrap="square" lIns="90000" tIns="36000" rIns="90000" bIns="36000" anchor="t" anchorCtr="0">
            <a:spAutoFit/>
          </a:bodyPr>
          <a:lstStyle/>
          <a:p>
            <a:pPr marL="0" marR="0" lvl="0" indent="0" rtl="0">
              <a:lnSpc>
                <a:spcPct val="101000"/>
              </a:lnSpc>
              <a:spcBef>
                <a:spcPts val="0"/>
              </a:spcBef>
              <a:spcAft>
                <a:spcPts val="0"/>
              </a:spcAft>
              <a:buClr>
                <a:srgbClr val="7F7F7F"/>
              </a:buClr>
              <a:buSzPts val="1200"/>
              <a:buFont typeface="Arial"/>
              <a:buNone/>
            </a:pPr>
            <a:r>
              <a:rPr lang="fr-FR" sz="1600" b="1" dirty="0">
                <a:solidFill>
                  <a:schemeClr val="tx1"/>
                </a:solidFill>
                <a:latin typeface="Enedis" pitchFamily="2" charset="0"/>
                <a:sym typeface="Arial"/>
              </a:rPr>
              <a:t>Les deux solutions disposent aujourd’hui de dispositifs de </a:t>
            </a:r>
            <a:r>
              <a:rPr lang="fr-FR" sz="1600" b="1" dirty="0" err="1" smtClean="0">
                <a:solidFill>
                  <a:schemeClr val="tx1"/>
                </a:solidFill>
                <a:latin typeface="Enedis" pitchFamily="2" charset="0"/>
                <a:sym typeface="Arial"/>
              </a:rPr>
              <a:t>pré-financement</a:t>
            </a:r>
            <a:r>
              <a:rPr lang="fr-FR" sz="1600" b="1" dirty="0" smtClean="0">
                <a:solidFill>
                  <a:schemeClr val="tx1"/>
                </a:solidFill>
                <a:latin typeface="Enedis" pitchFamily="2" charset="0"/>
                <a:sym typeface="Arial"/>
              </a:rPr>
              <a:t> </a:t>
            </a:r>
            <a:r>
              <a:rPr lang="fr-FR" sz="1600" b="1" dirty="0">
                <a:solidFill>
                  <a:schemeClr val="tx1"/>
                </a:solidFill>
                <a:latin typeface="Enedis" pitchFamily="2" charset="0"/>
                <a:sym typeface="Arial"/>
              </a:rPr>
              <a:t>introduits par la loi Climat et résilience, permettant à la copropriété d’avoir un </a:t>
            </a:r>
            <a:r>
              <a:rPr lang="fr-FR" sz="1600" b="1" dirty="0">
                <a:solidFill>
                  <a:schemeClr val="tx2"/>
                </a:solidFill>
                <a:latin typeface="Enedis" pitchFamily="2" charset="0"/>
                <a:sym typeface="Arial"/>
              </a:rPr>
              <a:t>reste à charge nul</a:t>
            </a:r>
            <a:r>
              <a:rPr lang="fr-FR" sz="1600" b="1" dirty="0">
                <a:solidFill>
                  <a:schemeClr val="tx1"/>
                </a:solidFill>
                <a:latin typeface="Enedis" pitchFamily="2" charset="0"/>
                <a:sym typeface="Arial"/>
              </a:rPr>
              <a:t>. </a:t>
            </a:r>
            <a:endParaRPr sz="1600" b="1" dirty="0">
              <a:solidFill>
                <a:schemeClr val="tx1"/>
              </a:solidFill>
              <a:latin typeface="Enedis" pitchFamily="2" charset="0"/>
              <a:ea typeface="Public Sans Light"/>
              <a:cs typeface="Public Sans Light"/>
              <a:sym typeface="Public Sans Light"/>
            </a:endParaRPr>
          </a:p>
        </p:txBody>
      </p:sp>
      <p:sp>
        <p:nvSpPr>
          <p:cNvPr id="4" name="ZoneTexte 3"/>
          <p:cNvSpPr txBox="1"/>
          <p:nvPr/>
        </p:nvSpPr>
        <p:spPr>
          <a:xfrm>
            <a:off x="544128" y="1500146"/>
            <a:ext cx="259686" cy="492443"/>
          </a:xfrm>
          <a:prstGeom prst="rect">
            <a:avLst/>
          </a:prstGeom>
          <a:solidFill>
            <a:schemeClr val="accent1"/>
          </a:solidFill>
        </p:spPr>
        <p:txBody>
          <a:bodyPr wrap="none" lIns="0" tIns="0" rIns="0" bIns="0" rtlCol="0" anchor="ctr" anchorCtr="0">
            <a:spAutoFit/>
          </a:bodyPr>
          <a:lstStyle/>
          <a:p>
            <a:r>
              <a:rPr lang="fr-FR" sz="3200" b="1" dirty="0" smtClean="0">
                <a:solidFill>
                  <a:schemeClr val="bg1"/>
                </a:solidFill>
                <a:latin typeface="+mj-lt"/>
              </a:rPr>
              <a:t>8</a:t>
            </a:r>
            <a:endParaRPr lang="fr-FR" sz="3200" b="1" dirty="0">
              <a:solidFill>
                <a:schemeClr val="bg1"/>
              </a:solidFill>
              <a:latin typeface="+mj-lt"/>
            </a:endParaRPr>
          </a:p>
        </p:txBody>
      </p:sp>
      <p:sp>
        <p:nvSpPr>
          <p:cNvPr id="37" name="ZoneTexte 36"/>
          <p:cNvSpPr txBox="1"/>
          <p:nvPr/>
        </p:nvSpPr>
        <p:spPr>
          <a:xfrm>
            <a:off x="637686" y="2491454"/>
            <a:ext cx="750205" cy="492443"/>
          </a:xfrm>
          <a:prstGeom prst="rect">
            <a:avLst/>
          </a:prstGeom>
          <a:solidFill>
            <a:schemeClr val="accent1"/>
          </a:solidFill>
        </p:spPr>
        <p:txBody>
          <a:bodyPr wrap="none" lIns="0" tIns="0" rIns="0" bIns="0" rtlCol="0" anchor="ctr" anchorCtr="0">
            <a:spAutoFit/>
          </a:bodyPr>
          <a:lstStyle/>
          <a:p>
            <a:r>
              <a:rPr lang="fr-FR" sz="3200" b="1" dirty="0" smtClean="0">
                <a:solidFill>
                  <a:schemeClr val="bg1"/>
                </a:solidFill>
                <a:latin typeface="+mj-lt"/>
              </a:rPr>
              <a:t>,5%</a:t>
            </a:r>
            <a:endParaRPr lang="fr-FR" sz="3200" b="1" dirty="0">
              <a:solidFill>
                <a:schemeClr val="bg1"/>
              </a:solidFill>
              <a:latin typeface="+mj-lt"/>
            </a:endParaRPr>
          </a:p>
        </p:txBody>
      </p:sp>
    </p:spTree>
    <p:extLst>
      <p:ext uri="{BB962C8B-B14F-4D97-AF65-F5344CB8AC3E}">
        <p14:creationId xmlns:p14="http://schemas.microsoft.com/office/powerpoint/2010/main" val="261972836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0" y="1963609"/>
            <a:ext cx="622636" cy="735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mj-lt"/>
            </a:endParaRPr>
          </a:p>
        </p:txBody>
      </p:sp>
      <p:pic>
        <p:nvPicPr>
          <p:cNvPr id="18" name="Image 17">
            <a:extLst>
              <a:ext uri="{FF2B5EF4-FFF2-40B4-BE49-F238E27FC236}">
                <a16:creationId xmlns:a16="http://schemas.microsoft.com/office/drawing/2014/main" id="{4F896938-5BB7-1928-1727-66A986C0C88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16128" y="181254"/>
            <a:ext cx="3786385" cy="456977"/>
          </a:xfrm>
          <a:prstGeom prst="rect">
            <a:avLst/>
          </a:prstGeom>
        </p:spPr>
      </p:pic>
      <p:sp>
        <p:nvSpPr>
          <p:cNvPr id="17" name="Google Shape;19848;p126"/>
          <p:cNvSpPr txBox="1"/>
          <p:nvPr/>
        </p:nvSpPr>
        <p:spPr>
          <a:xfrm>
            <a:off x="4578509" y="5298044"/>
            <a:ext cx="7705855" cy="1559956"/>
          </a:xfrm>
          <a:prstGeom prst="rect">
            <a:avLst/>
          </a:prstGeom>
          <a:noFill/>
          <a:ln>
            <a:noFill/>
          </a:ln>
        </p:spPr>
        <p:txBody>
          <a:bodyPr spcFirstLastPara="1" wrap="square" lIns="0" tIns="16933" rIns="0" bIns="0" anchor="t" anchorCtr="0">
            <a:noAutofit/>
          </a:bodyPr>
          <a:lstStyle/>
          <a:p>
            <a:pPr marL="355600" marR="6773" lvl="0" algn="just" defTabSz="1219170" rtl="0" eaLnBrk="1" fontAlgn="auto" latinLnBrk="0" hangingPunct="1">
              <a:lnSpc>
                <a:spcPct val="100000"/>
              </a:lnSpc>
              <a:spcBef>
                <a:spcPts val="0"/>
              </a:spcBef>
              <a:spcAft>
                <a:spcPts val="0"/>
              </a:spcAft>
              <a:buClr>
                <a:srgbClr val="1423DC"/>
              </a:buClr>
              <a:buSzTx/>
              <a:tabLst/>
              <a:defRPr/>
            </a:pPr>
            <a:endParaRPr kumimoji="0" lang="fr-FR" sz="1400" b="0" i="0" u="none" strike="noStrike" kern="0" cap="none" spc="0" normalizeH="0" baseline="0" noProof="0" dirty="0">
              <a:ln>
                <a:noFill/>
              </a:ln>
              <a:solidFill>
                <a:srgbClr val="1A1A1A"/>
              </a:solidFill>
              <a:effectLst/>
              <a:uLnTx/>
              <a:uFillTx/>
              <a:latin typeface="+mj-lt"/>
              <a:ea typeface="Arial"/>
              <a:cs typeface="Arial"/>
              <a:sym typeface="Arial"/>
            </a:endParaRPr>
          </a:p>
        </p:txBody>
      </p:sp>
      <p:pic>
        <p:nvPicPr>
          <p:cNvPr id="3" name="Image 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9830" y="1212556"/>
            <a:ext cx="4173870" cy="4878991"/>
          </a:xfrm>
          <a:prstGeom prst="rect">
            <a:avLst/>
          </a:prstGeom>
        </p:spPr>
      </p:pic>
      <p:sp>
        <p:nvSpPr>
          <p:cNvPr id="13" name="Espace réservé du numéro de diapositive 1">
            <a:extLst>
              <a:ext uri="{FF2B5EF4-FFF2-40B4-BE49-F238E27FC236}">
                <a16:creationId xmlns:a16="http://schemas.microsoft.com/office/drawing/2014/main" id="{72041299-8BA0-1A48-8E8E-1F850AA5D953}"/>
              </a:ext>
            </a:extLst>
          </p:cNvPr>
          <p:cNvSpPr txBox="1">
            <a:spLocks/>
          </p:cNvSpPr>
          <p:nvPr/>
        </p:nvSpPr>
        <p:spPr>
          <a:xfrm>
            <a:off x="11616357" y="6590603"/>
            <a:ext cx="465150" cy="15484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r">
              <a:buClrTx/>
              <a:buFontTx/>
              <a:buNone/>
              <a:defRPr/>
            </a:pPr>
            <a:fld id="{6B54B0F7-55DD-40D6-B7F4-70B586885C0B}" type="slidenum">
              <a:rPr lang="fr-FR" sz="750" b="1" kern="1200" smtClean="0">
                <a:solidFill>
                  <a:srgbClr val="1423DC"/>
                </a:solidFill>
                <a:latin typeface="Enedis"/>
                <a:ea typeface="+mn-ea"/>
                <a:cs typeface="+mn-cs"/>
              </a:rPr>
              <a:pPr algn="r">
                <a:buClrTx/>
                <a:buFontTx/>
                <a:buNone/>
                <a:defRPr/>
              </a:pPr>
              <a:t>17</a:t>
            </a:fld>
            <a:endParaRPr lang="fr-FR" sz="750" b="1" kern="1200" dirty="0">
              <a:solidFill>
                <a:srgbClr val="1423DC"/>
              </a:solidFill>
              <a:latin typeface="Enedis"/>
              <a:ea typeface="+mn-ea"/>
              <a:cs typeface="+mn-cs"/>
            </a:endParaRPr>
          </a:p>
        </p:txBody>
      </p:sp>
      <p:sp>
        <p:nvSpPr>
          <p:cNvPr id="19" name="Google Shape;19848;p126"/>
          <p:cNvSpPr txBox="1"/>
          <p:nvPr/>
        </p:nvSpPr>
        <p:spPr>
          <a:xfrm>
            <a:off x="4323389" y="1425301"/>
            <a:ext cx="7459784" cy="5052754"/>
          </a:xfrm>
          <a:prstGeom prst="rect">
            <a:avLst/>
          </a:prstGeom>
          <a:noFill/>
          <a:ln>
            <a:noFill/>
          </a:ln>
        </p:spPr>
        <p:txBody>
          <a:bodyPr spcFirstLastPara="1" wrap="square" lIns="0" tIns="16933" rIns="0" bIns="0" anchor="t" anchorCtr="0">
            <a:noAutofit/>
          </a:bodyPr>
          <a:lstStyle/>
          <a:p>
            <a:pPr marL="16933" marR="6773" defTabSz="1219170">
              <a:buClr>
                <a:srgbClr val="000000"/>
              </a:buClr>
              <a:defRPr/>
            </a:pPr>
            <a:r>
              <a:rPr lang="fr-FR" sz="1600" b="1" kern="0" dirty="0">
                <a:solidFill>
                  <a:srgbClr val="1423DC"/>
                </a:solidFill>
                <a:latin typeface="Enedis"/>
                <a:ea typeface="Arial"/>
                <a:cs typeface="Arial"/>
                <a:sym typeface="Arial"/>
              </a:rPr>
              <a:t>L’installation dans votre parking comprend :</a:t>
            </a:r>
            <a:br>
              <a:rPr lang="fr-FR" sz="1600" b="1" kern="0" dirty="0">
                <a:solidFill>
                  <a:srgbClr val="1423DC"/>
                </a:solidFill>
                <a:latin typeface="Enedis"/>
                <a:ea typeface="Arial"/>
                <a:cs typeface="Arial"/>
                <a:sym typeface="Arial"/>
              </a:rPr>
            </a:br>
            <a:endParaRPr lang="fr-FR" sz="1600" b="1" kern="0" dirty="0">
              <a:solidFill>
                <a:srgbClr val="1423DC"/>
              </a:solidFill>
              <a:latin typeface="Enedis"/>
              <a:ea typeface="Arial"/>
              <a:cs typeface="Arial"/>
              <a:sym typeface="Arial"/>
            </a:endParaRPr>
          </a:p>
          <a:p>
            <a:pPr marL="533400" marR="6773" indent="-177800" defTabSz="1219170">
              <a:buClr>
                <a:srgbClr val="1423DC"/>
              </a:buClr>
              <a:buFont typeface="Wingdings" panose="05000000000000000000" pitchFamily="2" charset="2"/>
              <a:buChar char="§"/>
              <a:defRPr/>
            </a:pPr>
            <a:r>
              <a:rPr lang="fr-FR" sz="1400" b="1" kern="0" dirty="0" smtClean="0">
                <a:solidFill>
                  <a:srgbClr val="96CD32"/>
                </a:solidFill>
                <a:latin typeface="Enedis"/>
                <a:ea typeface="Arial"/>
                <a:cs typeface="Arial"/>
                <a:sym typeface="Arial"/>
              </a:rPr>
              <a:t>L’infrastructure collective </a:t>
            </a:r>
            <a:r>
              <a:rPr lang="fr-FR" sz="1400" kern="0" dirty="0" smtClean="0">
                <a:solidFill>
                  <a:prstClr val="black">
                    <a:lumMod val="75000"/>
                    <a:lumOff val="25000"/>
                  </a:prstClr>
                </a:solidFill>
                <a:latin typeface="Enedis"/>
                <a:ea typeface="Arial"/>
                <a:cs typeface="Arial"/>
                <a:sym typeface="Arial"/>
              </a:rPr>
              <a:t>: l’ouvrage </a:t>
            </a:r>
            <a:r>
              <a:rPr lang="fr-FR" sz="1400" kern="0" dirty="0">
                <a:solidFill>
                  <a:prstClr val="black">
                    <a:lumMod val="75000"/>
                    <a:lumOff val="25000"/>
                  </a:prstClr>
                </a:solidFill>
                <a:latin typeface="Enedis"/>
                <a:ea typeface="Arial"/>
                <a:cs typeface="Arial"/>
                <a:sym typeface="Arial"/>
              </a:rPr>
              <a:t>de distribution publique, </a:t>
            </a:r>
            <a:r>
              <a:rPr lang="fr-FR" sz="1400" kern="0" dirty="0" smtClean="0">
                <a:solidFill>
                  <a:prstClr val="black">
                    <a:lumMod val="75000"/>
                    <a:lumOff val="25000"/>
                  </a:prstClr>
                </a:solidFill>
                <a:latin typeface="Enedis"/>
                <a:ea typeface="Arial"/>
                <a:cs typeface="Arial"/>
                <a:sym typeface="Arial"/>
              </a:rPr>
              <a:t>réalisé </a:t>
            </a:r>
            <a:r>
              <a:rPr lang="fr-FR" sz="1400" kern="0" dirty="0">
                <a:solidFill>
                  <a:prstClr val="black">
                    <a:lumMod val="75000"/>
                    <a:lumOff val="25000"/>
                  </a:prstClr>
                </a:solidFill>
                <a:latin typeface="Enedis"/>
                <a:ea typeface="Arial"/>
                <a:cs typeface="Arial"/>
                <a:sym typeface="Arial"/>
              </a:rPr>
              <a:t>(puis </a:t>
            </a:r>
            <a:r>
              <a:rPr lang="fr-FR" sz="1400" kern="0" dirty="0" smtClean="0">
                <a:solidFill>
                  <a:prstClr val="black">
                    <a:lumMod val="75000"/>
                    <a:lumOff val="25000"/>
                  </a:prstClr>
                </a:solidFill>
                <a:latin typeface="Enedis"/>
                <a:ea typeface="Arial"/>
                <a:cs typeface="Arial"/>
                <a:sym typeface="Arial"/>
              </a:rPr>
              <a:t>entretenu) </a:t>
            </a:r>
            <a:r>
              <a:rPr lang="fr-FR" sz="1400" kern="0" dirty="0">
                <a:solidFill>
                  <a:prstClr val="black">
                    <a:lumMod val="75000"/>
                    <a:lumOff val="25000"/>
                  </a:prstClr>
                </a:solidFill>
                <a:latin typeface="Enedis"/>
                <a:ea typeface="Arial"/>
                <a:cs typeface="Arial"/>
                <a:sym typeface="Arial"/>
              </a:rPr>
              <a:t>par </a:t>
            </a:r>
            <a:r>
              <a:rPr lang="fr-FR" sz="1400" kern="0" dirty="0" smtClean="0">
                <a:solidFill>
                  <a:prstClr val="black">
                    <a:lumMod val="75000"/>
                    <a:lumOff val="25000"/>
                  </a:prstClr>
                </a:solidFill>
                <a:latin typeface="Enedis"/>
                <a:ea typeface="Arial"/>
                <a:cs typeface="Arial"/>
                <a:sym typeface="Arial"/>
              </a:rPr>
              <a:t>Enedis</a:t>
            </a:r>
          </a:p>
          <a:p>
            <a:pPr marL="533400" marR="6773" indent="-177800" defTabSz="1219170">
              <a:buClr>
                <a:srgbClr val="1423DC"/>
              </a:buClr>
              <a:buFont typeface="Wingdings" panose="05000000000000000000" pitchFamily="2" charset="2"/>
              <a:buChar char="§"/>
              <a:defRPr/>
            </a:pPr>
            <a:r>
              <a:rPr lang="fr-FR" sz="1400" kern="0" dirty="0" smtClean="0">
                <a:solidFill>
                  <a:prstClr val="black">
                    <a:lumMod val="75000"/>
                    <a:lumOff val="25000"/>
                  </a:prstClr>
                </a:solidFill>
                <a:latin typeface="Enedis"/>
                <a:cs typeface="Arial"/>
                <a:sym typeface="Arial"/>
              </a:rPr>
              <a:t>Un </a:t>
            </a:r>
            <a:r>
              <a:rPr lang="fr-FR" sz="1400" b="1" kern="0" dirty="0" smtClean="0">
                <a:solidFill>
                  <a:srgbClr val="4BC3C3"/>
                </a:solidFill>
                <a:latin typeface="Enedis"/>
                <a:cs typeface="Arial"/>
                <a:sym typeface="Arial"/>
              </a:rPr>
              <a:t>compteur </a:t>
            </a:r>
            <a:r>
              <a:rPr lang="fr-FR" sz="1400" b="1" kern="0" dirty="0" err="1" smtClean="0">
                <a:solidFill>
                  <a:srgbClr val="4BC3C3"/>
                </a:solidFill>
                <a:latin typeface="Enedis"/>
                <a:cs typeface="Arial"/>
                <a:sym typeface="Arial"/>
              </a:rPr>
              <a:t>Linky</a:t>
            </a:r>
            <a:r>
              <a:rPr lang="fr-FR" sz="1400" kern="0" dirty="0" smtClean="0">
                <a:solidFill>
                  <a:srgbClr val="1423DC"/>
                </a:solidFill>
                <a:latin typeface="Enedis"/>
                <a:cs typeface="Arial"/>
                <a:sym typeface="Arial"/>
              </a:rPr>
              <a:t> </a:t>
            </a:r>
            <a:r>
              <a:rPr lang="fr-FR" sz="1400" kern="0" dirty="0">
                <a:solidFill>
                  <a:prstClr val="black">
                    <a:lumMod val="75000"/>
                    <a:lumOff val="25000"/>
                  </a:prstClr>
                </a:solidFill>
                <a:latin typeface="Enedis"/>
                <a:cs typeface="Arial"/>
                <a:sym typeface="Arial"/>
              </a:rPr>
              <a:t>par place de </a:t>
            </a:r>
            <a:r>
              <a:rPr lang="fr-FR" sz="1400" kern="0" dirty="0" smtClean="0">
                <a:solidFill>
                  <a:prstClr val="black">
                    <a:lumMod val="75000"/>
                    <a:lumOff val="25000"/>
                  </a:prstClr>
                </a:solidFill>
                <a:latin typeface="Enedis"/>
                <a:cs typeface="Arial"/>
                <a:sym typeface="Arial"/>
              </a:rPr>
              <a:t>parking, installé par Enedis</a:t>
            </a:r>
            <a:endParaRPr lang="fr-FR" sz="1400" kern="0" dirty="0">
              <a:solidFill>
                <a:prstClr val="black">
                  <a:lumMod val="75000"/>
                  <a:lumOff val="25000"/>
                </a:prstClr>
              </a:solidFill>
              <a:latin typeface="Enedis"/>
              <a:cs typeface="Arial"/>
              <a:sym typeface="Arial"/>
            </a:endParaRPr>
          </a:p>
          <a:p>
            <a:pPr marL="533400" marR="6773" indent="-177800" defTabSz="1219170">
              <a:buClr>
                <a:srgbClr val="1423DC"/>
              </a:buClr>
              <a:buFont typeface="Wingdings" panose="05000000000000000000" pitchFamily="2" charset="2"/>
              <a:buChar char="§"/>
              <a:defRPr/>
            </a:pPr>
            <a:r>
              <a:rPr lang="fr-FR" sz="1400" kern="0" dirty="0" smtClean="0">
                <a:solidFill>
                  <a:prstClr val="black">
                    <a:lumMod val="75000"/>
                    <a:lumOff val="25000"/>
                  </a:prstClr>
                </a:solidFill>
                <a:latin typeface="Enedis"/>
                <a:ea typeface="Arial"/>
                <a:cs typeface="Arial"/>
                <a:sym typeface="Arial"/>
              </a:rPr>
              <a:t>Une</a:t>
            </a:r>
            <a:r>
              <a:rPr lang="fr-FR" sz="1400" kern="0" dirty="0" smtClean="0">
                <a:solidFill>
                  <a:prstClr val="black">
                    <a:lumMod val="50000"/>
                    <a:lumOff val="50000"/>
                  </a:prstClr>
                </a:solidFill>
                <a:latin typeface="Enedis"/>
                <a:ea typeface="Arial"/>
                <a:cs typeface="Arial"/>
                <a:sym typeface="Arial"/>
              </a:rPr>
              <a:t> </a:t>
            </a:r>
            <a:r>
              <a:rPr lang="fr-FR" sz="1400" b="1" kern="0" dirty="0">
                <a:solidFill>
                  <a:srgbClr val="A1A7F1"/>
                </a:solidFill>
                <a:latin typeface="Enedis"/>
                <a:ea typeface="Arial"/>
                <a:cs typeface="Arial"/>
                <a:sym typeface="Arial"/>
              </a:rPr>
              <a:t>borne</a:t>
            </a:r>
            <a:r>
              <a:rPr lang="fr-FR" sz="1400" b="1" kern="0" dirty="0">
                <a:solidFill>
                  <a:srgbClr val="1423DC"/>
                </a:solidFill>
                <a:latin typeface="Enedis"/>
                <a:ea typeface="Arial"/>
                <a:cs typeface="Arial"/>
                <a:sym typeface="Arial"/>
              </a:rPr>
              <a:t> </a:t>
            </a:r>
            <a:r>
              <a:rPr lang="fr-FR" sz="1400" kern="0" dirty="0">
                <a:solidFill>
                  <a:prstClr val="black">
                    <a:lumMod val="75000"/>
                    <a:lumOff val="25000"/>
                  </a:prstClr>
                </a:solidFill>
                <a:latin typeface="Enedis"/>
                <a:ea typeface="Arial"/>
                <a:cs typeface="Arial"/>
                <a:sym typeface="Arial"/>
              </a:rPr>
              <a:t>ou une </a:t>
            </a:r>
            <a:r>
              <a:rPr lang="fr-FR" sz="1400" b="1" kern="0" dirty="0">
                <a:solidFill>
                  <a:srgbClr val="A1A7F1"/>
                </a:solidFill>
                <a:latin typeface="Enedis"/>
                <a:ea typeface="Arial"/>
                <a:cs typeface="Arial"/>
                <a:sym typeface="Arial"/>
              </a:rPr>
              <a:t>prise renforcée</a:t>
            </a:r>
            <a:r>
              <a:rPr lang="fr-FR" sz="1400" kern="0" dirty="0">
                <a:solidFill>
                  <a:prstClr val="black">
                    <a:lumMod val="75000"/>
                    <a:lumOff val="25000"/>
                  </a:prstClr>
                </a:solidFill>
                <a:latin typeface="Enedis"/>
                <a:ea typeface="Arial"/>
                <a:cs typeface="Arial"/>
                <a:sym typeface="Arial"/>
              </a:rPr>
              <a:t>, installée par un électricien agréé, sur votre place</a:t>
            </a:r>
          </a:p>
          <a:p>
            <a:pPr marL="16933" marR="6773" algn="just" defTabSz="1219170">
              <a:buClr>
                <a:srgbClr val="000000"/>
              </a:buClr>
              <a:defRPr/>
            </a:pPr>
            <a:endParaRPr lang="fr-FR" sz="1400" kern="0" dirty="0" smtClean="0">
              <a:solidFill>
                <a:prstClr val="black">
                  <a:lumMod val="75000"/>
                  <a:lumOff val="25000"/>
                </a:prstClr>
              </a:solidFill>
              <a:latin typeface="Enedis"/>
              <a:ea typeface="Arial"/>
              <a:cs typeface="Arial"/>
              <a:sym typeface="Arial"/>
            </a:endParaRPr>
          </a:p>
          <a:p>
            <a:pPr marL="16933" marR="6773" algn="just" defTabSz="1219170">
              <a:buClr>
                <a:srgbClr val="000000"/>
              </a:buClr>
              <a:defRPr/>
            </a:pPr>
            <a:endParaRPr lang="fr-FR" sz="1400" kern="0" dirty="0">
              <a:solidFill>
                <a:prstClr val="black">
                  <a:lumMod val="75000"/>
                  <a:lumOff val="25000"/>
                </a:prstClr>
              </a:solidFill>
              <a:latin typeface="Enedis"/>
              <a:ea typeface="Arial"/>
              <a:cs typeface="Arial"/>
              <a:sym typeface="Arial"/>
            </a:endParaRPr>
          </a:p>
          <a:p>
            <a:pPr marL="16933" marR="6773" algn="just" defTabSz="1219170">
              <a:buClr>
                <a:srgbClr val="000000"/>
              </a:buClr>
              <a:defRPr/>
            </a:pPr>
            <a:r>
              <a:rPr lang="fr-FR" sz="1600" b="1" kern="0" dirty="0">
                <a:solidFill>
                  <a:srgbClr val="1423DC"/>
                </a:solidFill>
                <a:latin typeface="Enedis"/>
                <a:cs typeface="Arial"/>
                <a:sym typeface="Arial"/>
              </a:rPr>
              <a:t>Une solution pérenne et évolutive, pour accueillir toutes les demandes à venir : </a:t>
            </a:r>
          </a:p>
          <a:p>
            <a:pPr marL="533400" marR="6773" indent="-177800" defTabSz="1219170">
              <a:buClr>
                <a:srgbClr val="1423DC"/>
              </a:buClr>
              <a:buFont typeface="Wingdings" panose="05000000000000000000" pitchFamily="2" charset="2"/>
              <a:buChar char="§"/>
              <a:defRPr/>
            </a:pPr>
            <a:r>
              <a:rPr lang="fr-FR" sz="1400" b="1" kern="0" dirty="0" smtClean="0">
                <a:solidFill>
                  <a:prstClr val="black">
                    <a:lumMod val="75000"/>
                    <a:lumOff val="25000"/>
                  </a:prstClr>
                </a:solidFill>
                <a:latin typeface="Enedis"/>
                <a:cs typeface="Arial"/>
                <a:sym typeface="Arial"/>
              </a:rPr>
              <a:t>Premiers </a:t>
            </a:r>
            <a:r>
              <a:rPr lang="fr-FR" sz="1400" b="1" kern="0" dirty="0">
                <a:solidFill>
                  <a:prstClr val="black">
                    <a:lumMod val="75000"/>
                    <a:lumOff val="25000"/>
                  </a:prstClr>
                </a:solidFill>
                <a:latin typeface="Enedis"/>
                <a:cs typeface="Arial"/>
                <a:sym typeface="Arial"/>
              </a:rPr>
              <a:t>travaux </a:t>
            </a:r>
            <a:r>
              <a:rPr lang="fr-FR" sz="1400" kern="0" dirty="0">
                <a:solidFill>
                  <a:prstClr val="black">
                    <a:lumMod val="75000"/>
                    <a:lumOff val="25000"/>
                  </a:prstClr>
                </a:solidFill>
                <a:latin typeface="Enedis"/>
                <a:cs typeface="Arial"/>
                <a:sym typeface="Arial"/>
              </a:rPr>
              <a:t>: Enedis dimensionne </a:t>
            </a:r>
            <a:r>
              <a:rPr lang="fr-FR" sz="1400" b="1" kern="0" dirty="0">
                <a:solidFill>
                  <a:srgbClr val="96CD32"/>
                </a:solidFill>
                <a:latin typeface="Enedis"/>
                <a:cs typeface="Arial"/>
                <a:sym typeface="Arial"/>
              </a:rPr>
              <a:t>l’infrastructure collective </a:t>
            </a:r>
            <a:r>
              <a:rPr lang="fr-FR" sz="1400" kern="0" dirty="0">
                <a:solidFill>
                  <a:prstClr val="black">
                    <a:lumMod val="75000"/>
                    <a:lumOff val="25000"/>
                  </a:prstClr>
                </a:solidFill>
                <a:latin typeface="Enedis"/>
                <a:cs typeface="Arial"/>
                <a:sym typeface="Arial"/>
              </a:rPr>
              <a:t>pour l’ensemble </a:t>
            </a:r>
            <a:r>
              <a:rPr lang="fr-FR" sz="1400" kern="0" dirty="0" smtClean="0">
                <a:solidFill>
                  <a:prstClr val="black">
                    <a:lumMod val="75000"/>
                    <a:lumOff val="25000"/>
                  </a:prstClr>
                </a:solidFill>
                <a:latin typeface="Enedis"/>
                <a:cs typeface="Arial"/>
                <a:sym typeface="Arial"/>
              </a:rPr>
              <a:t/>
            </a:r>
            <a:br>
              <a:rPr lang="fr-FR" sz="1400" kern="0" dirty="0" smtClean="0">
                <a:solidFill>
                  <a:prstClr val="black">
                    <a:lumMod val="75000"/>
                    <a:lumOff val="25000"/>
                  </a:prstClr>
                </a:solidFill>
                <a:latin typeface="Enedis"/>
                <a:cs typeface="Arial"/>
                <a:sym typeface="Arial"/>
              </a:rPr>
            </a:br>
            <a:r>
              <a:rPr lang="fr-FR" sz="1400" kern="0" dirty="0" smtClean="0">
                <a:solidFill>
                  <a:prstClr val="black">
                    <a:lumMod val="75000"/>
                    <a:lumOff val="25000"/>
                  </a:prstClr>
                </a:solidFill>
                <a:latin typeface="Enedis"/>
                <a:cs typeface="Arial"/>
                <a:sym typeface="Arial"/>
              </a:rPr>
              <a:t>du </a:t>
            </a:r>
            <a:r>
              <a:rPr lang="fr-FR" sz="1400" kern="0" dirty="0">
                <a:solidFill>
                  <a:prstClr val="black">
                    <a:lumMod val="75000"/>
                    <a:lumOff val="25000"/>
                  </a:prstClr>
                </a:solidFill>
                <a:latin typeface="Enedis"/>
                <a:cs typeface="Arial"/>
                <a:sym typeface="Arial"/>
              </a:rPr>
              <a:t>parking et installe les 1</a:t>
            </a:r>
            <a:r>
              <a:rPr lang="fr-FR" sz="1400" kern="0" baseline="30000" dirty="0">
                <a:solidFill>
                  <a:prstClr val="black">
                    <a:lumMod val="75000"/>
                    <a:lumOff val="25000"/>
                  </a:prstClr>
                </a:solidFill>
                <a:latin typeface="Enedis"/>
                <a:cs typeface="Arial"/>
                <a:sym typeface="Arial"/>
              </a:rPr>
              <a:t>ères</a:t>
            </a:r>
            <a:r>
              <a:rPr lang="fr-FR" sz="1400" kern="0" dirty="0">
                <a:solidFill>
                  <a:prstClr val="black">
                    <a:lumMod val="75000"/>
                    <a:lumOff val="25000"/>
                  </a:prstClr>
                </a:solidFill>
                <a:latin typeface="Enedis"/>
                <a:cs typeface="Arial"/>
                <a:sym typeface="Arial"/>
              </a:rPr>
              <a:t> </a:t>
            </a:r>
            <a:r>
              <a:rPr lang="fr-FR" sz="1400" b="1" kern="0" dirty="0">
                <a:solidFill>
                  <a:srgbClr val="4BC3C3"/>
                </a:solidFill>
                <a:latin typeface="Enedis"/>
                <a:cs typeface="Arial"/>
                <a:sym typeface="Arial"/>
              </a:rPr>
              <a:t>dérivations </a:t>
            </a:r>
          </a:p>
          <a:p>
            <a:pPr marL="533400" marR="6773" indent="-177800" defTabSz="1219170">
              <a:buClr>
                <a:srgbClr val="1423DC"/>
              </a:buClr>
              <a:buFont typeface="Wingdings" panose="05000000000000000000" pitchFamily="2" charset="2"/>
              <a:buChar char="§"/>
              <a:defRPr/>
            </a:pPr>
            <a:r>
              <a:rPr lang="fr-FR" sz="1400" b="1" kern="0" dirty="0">
                <a:solidFill>
                  <a:prstClr val="black">
                    <a:lumMod val="75000"/>
                    <a:lumOff val="25000"/>
                  </a:prstClr>
                </a:solidFill>
                <a:latin typeface="Enedis"/>
                <a:cs typeface="Arial"/>
                <a:sym typeface="Arial"/>
              </a:rPr>
              <a:t>Quand le copropriétaire veut </a:t>
            </a:r>
            <a:r>
              <a:rPr lang="fr-FR" sz="1400" b="1" kern="0" dirty="0" smtClean="0">
                <a:solidFill>
                  <a:prstClr val="black">
                    <a:lumMod val="75000"/>
                    <a:lumOff val="25000"/>
                  </a:prstClr>
                </a:solidFill>
                <a:latin typeface="Enedis"/>
                <a:cs typeface="Arial"/>
                <a:sym typeface="Arial"/>
              </a:rPr>
              <a:t>s’équiper</a:t>
            </a:r>
            <a:r>
              <a:rPr lang="fr-FR" sz="1400" kern="0" dirty="0" smtClean="0">
                <a:solidFill>
                  <a:prstClr val="black">
                    <a:lumMod val="75000"/>
                    <a:lumOff val="25000"/>
                  </a:prstClr>
                </a:solidFill>
                <a:latin typeface="Enedis"/>
                <a:cs typeface="Arial"/>
                <a:sym typeface="Arial"/>
              </a:rPr>
              <a:t>, il </a:t>
            </a:r>
            <a:r>
              <a:rPr lang="fr-FR" sz="1400" kern="0" dirty="0">
                <a:solidFill>
                  <a:prstClr val="black">
                    <a:lumMod val="75000"/>
                    <a:lumOff val="25000"/>
                  </a:prstClr>
                </a:solidFill>
                <a:latin typeface="Enedis"/>
                <a:cs typeface="Arial"/>
                <a:sym typeface="Arial"/>
              </a:rPr>
              <a:t>fait une demande de </a:t>
            </a:r>
            <a:r>
              <a:rPr lang="fr-FR" sz="1400" b="1" kern="0" dirty="0">
                <a:solidFill>
                  <a:srgbClr val="4BC3C3"/>
                </a:solidFill>
                <a:latin typeface="Enedis"/>
                <a:cs typeface="Arial"/>
                <a:sym typeface="Arial"/>
              </a:rPr>
              <a:t>dérivation </a:t>
            </a:r>
            <a:br>
              <a:rPr lang="fr-FR" sz="1400" b="1" kern="0" dirty="0">
                <a:solidFill>
                  <a:srgbClr val="4BC3C3"/>
                </a:solidFill>
                <a:latin typeface="Enedis"/>
                <a:cs typeface="Arial"/>
                <a:sym typeface="Arial"/>
              </a:rPr>
            </a:br>
            <a:r>
              <a:rPr lang="fr-FR" sz="1400" b="1" kern="0" dirty="0">
                <a:solidFill>
                  <a:srgbClr val="4BC3C3"/>
                </a:solidFill>
                <a:latin typeface="Enedis"/>
                <a:cs typeface="Arial"/>
                <a:sym typeface="Arial"/>
              </a:rPr>
              <a:t>individuelle </a:t>
            </a:r>
            <a:r>
              <a:rPr lang="fr-FR" sz="1400" kern="0" dirty="0">
                <a:solidFill>
                  <a:prstClr val="black">
                    <a:lumMod val="75000"/>
                    <a:lumOff val="25000"/>
                  </a:prstClr>
                </a:solidFill>
                <a:latin typeface="Enedis"/>
                <a:cs typeface="Arial"/>
                <a:sym typeface="Arial"/>
              </a:rPr>
              <a:t>à Enedis pour se raccorder au </a:t>
            </a:r>
            <a:r>
              <a:rPr lang="fr-FR" sz="1400" kern="0" dirty="0" smtClean="0">
                <a:solidFill>
                  <a:prstClr val="black">
                    <a:lumMod val="75000"/>
                    <a:lumOff val="25000"/>
                  </a:prstClr>
                </a:solidFill>
                <a:latin typeface="Enedis"/>
                <a:cs typeface="Arial"/>
                <a:sym typeface="Arial"/>
              </a:rPr>
              <a:t>réseau</a:t>
            </a:r>
          </a:p>
          <a:p>
            <a:pPr marL="355600" marR="6773" defTabSz="1219170">
              <a:buClr>
                <a:srgbClr val="1423DC"/>
              </a:buClr>
              <a:buFont typeface="Arial"/>
              <a:buNone/>
              <a:defRPr/>
            </a:pPr>
            <a:endParaRPr lang="fr-FR" sz="1400" kern="0" dirty="0">
              <a:solidFill>
                <a:prstClr val="black">
                  <a:lumMod val="75000"/>
                  <a:lumOff val="25000"/>
                </a:prstClr>
              </a:solidFill>
              <a:latin typeface="Enedis"/>
              <a:ea typeface="Arial"/>
              <a:cs typeface="Arial"/>
              <a:sym typeface="Arial"/>
            </a:endParaRPr>
          </a:p>
          <a:p>
            <a:pPr marL="355600" marR="6773" algn="just" defTabSz="1219170">
              <a:buClr>
                <a:srgbClr val="1423DC"/>
              </a:buClr>
              <a:buFont typeface="Arial"/>
              <a:buNone/>
              <a:defRPr/>
            </a:pPr>
            <a:endParaRPr lang="fr-FR" sz="1400" kern="0" dirty="0">
              <a:solidFill>
                <a:prstClr val="black">
                  <a:lumMod val="50000"/>
                  <a:lumOff val="50000"/>
                </a:prstClr>
              </a:solidFill>
              <a:latin typeface="Arial"/>
              <a:cs typeface="Arial"/>
              <a:sym typeface="Arial"/>
            </a:endParaRPr>
          </a:p>
          <a:p>
            <a:pPr marL="16933" marR="6773" defTabSz="1219170">
              <a:buClr>
                <a:srgbClr val="1423DC"/>
              </a:buClr>
              <a:buFont typeface="Arial"/>
              <a:buNone/>
              <a:defRPr/>
            </a:pPr>
            <a:r>
              <a:rPr lang="fr-FR" sz="1600" b="1" kern="0" dirty="0">
                <a:solidFill>
                  <a:srgbClr val="1423DC"/>
                </a:solidFill>
                <a:latin typeface="Arial"/>
                <a:cs typeface="Arial"/>
                <a:sym typeface="Arial"/>
              </a:rPr>
              <a:t>Dispositif de </a:t>
            </a:r>
            <a:r>
              <a:rPr lang="fr-FR" sz="1600" b="1" kern="0" dirty="0" smtClean="0">
                <a:solidFill>
                  <a:srgbClr val="1423DC"/>
                </a:solidFill>
                <a:latin typeface="Arial"/>
                <a:cs typeface="Arial"/>
                <a:sym typeface="Arial"/>
              </a:rPr>
              <a:t>préfinancement </a:t>
            </a:r>
            <a:r>
              <a:rPr lang="fr-FR" sz="1600" b="1" kern="0" dirty="0">
                <a:solidFill>
                  <a:srgbClr val="1423DC"/>
                </a:solidFill>
                <a:latin typeface="Arial"/>
                <a:cs typeface="Arial"/>
                <a:sym typeface="Arial"/>
              </a:rPr>
              <a:t>: </a:t>
            </a:r>
          </a:p>
          <a:p>
            <a:pPr marL="16933" marR="6773" defTabSz="1219170">
              <a:buClr>
                <a:srgbClr val="1423DC"/>
              </a:buClr>
              <a:buFont typeface="Arial"/>
              <a:buNone/>
              <a:defRPr/>
            </a:pPr>
            <a:endParaRPr lang="fr-FR" sz="1600" b="1" kern="0" dirty="0">
              <a:solidFill>
                <a:srgbClr val="EB6E3C"/>
              </a:solidFill>
              <a:latin typeface="Arial"/>
              <a:cs typeface="Arial"/>
              <a:sym typeface="Arial"/>
            </a:endParaRPr>
          </a:p>
          <a:p>
            <a:pPr marL="539750" marR="6773" indent="-184150" defTabSz="1219170">
              <a:buClr>
                <a:srgbClr val="1423DC"/>
              </a:buClr>
              <a:buFont typeface="Wingdings" panose="05000000000000000000" pitchFamily="2" charset="2"/>
              <a:buChar char="§"/>
              <a:defRPr/>
            </a:pPr>
            <a:r>
              <a:rPr lang="fr-FR" sz="1400" kern="0" dirty="0">
                <a:solidFill>
                  <a:prstClr val="black">
                    <a:lumMod val="75000"/>
                    <a:lumOff val="25000"/>
                  </a:prstClr>
                </a:solidFill>
                <a:latin typeface="Arial"/>
                <a:cs typeface="Arial"/>
                <a:sym typeface="Arial"/>
              </a:rPr>
              <a:t>A la demande de la copropriété, </a:t>
            </a:r>
            <a:r>
              <a:rPr lang="fr-FR" sz="1400" b="1" kern="0" dirty="0">
                <a:solidFill>
                  <a:srgbClr val="1423DC"/>
                </a:solidFill>
                <a:latin typeface="Arial"/>
                <a:cs typeface="Poppins ExtraBold" panose="00000900000000000000" pitchFamily="2" charset="0"/>
                <a:sym typeface="Arial"/>
              </a:rPr>
              <a:t>Enedis, via le tarif d’acheminement de l’électricité (TURPE), peut avancer les frais de l’installation collective</a:t>
            </a:r>
            <a:r>
              <a:rPr lang="fr-FR" sz="1400" kern="0" dirty="0">
                <a:solidFill>
                  <a:prstClr val="white">
                    <a:lumMod val="50000"/>
                  </a:prstClr>
                </a:solidFill>
                <a:latin typeface="Arial"/>
                <a:cs typeface="Poppins ExtraBold" panose="00000900000000000000" pitchFamily="2" charset="0"/>
                <a:sym typeface="Arial"/>
              </a:rPr>
              <a:t>. </a:t>
            </a:r>
            <a:r>
              <a:rPr lang="fr-FR" sz="1400" b="1" kern="0" dirty="0">
                <a:solidFill>
                  <a:srgbClr val="1423DC"/>
                </a:solidFill>
                <a:latin typeface="Arial"/>
                <a:cs typeface="Poppins ExtraBold" panose="00000900000000000000" pitchFamily="2" charset="0"/>
                <a:sym typeface="Arial"/>
              </a:rPr>
              <a:t>Le reste à charge pour la copropriété est nul</a:t>
            </a:r>
            <a:endParaRPr lang="fr-FR" sz="1400" kern="0" dirty="0">
              <a:solidFill>
                <a:srgbClr val="1A1A1A"/>
              </a:solidFill>
              <a:latin typeface="Arial"/>
              <a:cs typeface="Arial"/>
              <a:sym typeface="Arial"/>
            </a:endParaRPr>
          </a:p>
          <a:p>
            <a:pPr marL="533400" marR="6773" indent="-177800" defTabSz="1219170">
              <a:buClr>
                <a:srgbClr val="1423DC"/>
              </a:buClr>
              <a:buFont typeface="Wingdings" panose="05000000000000000000" pitchFamily="2" charset="2"/>
              <a:buChar char="§"/>
              <a:defRPr/>
            </a:pPr>
            <a:endParaRPr lang="fr-FR" sz="1400" kern="0" dirty="0" smtClean="0">
              <a:solidFill>
                <a:prstClr val="black">
                  <a:lumMod val="75000"/>
                  <a:lumOff val="25000"/>
                </a:prstClr>
              </a:solidFill>
              <a:latin typeface="Enedis"/>
              <a:ea typeface="Arial"/>
              <a:cs typeface="Arial"/>
              <a:sym typeface="Arial"/>
            </a:endParaRPr>
          </a:p>
        </p:txBody>
      </p:sp>
      <p:sp>
        <p:nvSpPr>
          <p:cNvPr id="8" name="Titre 4">
            <a:extLst>
              <a:ext uri="{FF2B5EF4-FFF2-40B4-BE49-F238E27FC236}">
                <a16:creationId xmlns:a16="http://schemas.microsoft.com/office/drawing/2014/main" id="{50DAC62C-A706-DD49-A8C0-9135F1BC95FF}"/>
              </a:ext>
            </a:extLst>
          </p:cNvPr>
          <p:cNvSpPr>
            <a:spLocks noGrp="1"/>
          </p:cNvSpPr>
          <p:nvPr>
            <p:ph type="title"/>
          </p:nvPr>
        </p:nvSpPr>
        <p:spPr>
          <a:xfrm>
            <a:off x="196436" y="215844"/>
            <a:ext cx="11527469" cy="387798"/>
          </a:xfrm>
        </p:spPr>
        <p:txBody>
          <a:bodyPr/>
          <a:lstStyle/>
          <a:p>
            <a:pPr>
              <a:spcAft>
                <a:spcPts val="300"/>
              </a:spcAft>
              <a:buClr>
                <a:schemeClr val="accent4">
                  <a:lumMod val="75000"/>
                </a:schemeClr>
              </a:buClr>
              <a:buSzPct val="110000"/>
              <a:tabLst>
                <a:tab pos="542925" algn="l"/>
              </a:tabLst>
              <a:defRPr/>
            </a:pPr>
            <a:r>
              <a:rPr lang="fr-FR" sz="2800" dirty="0" smtClean="0">
                <a:cs typeface="Calibri" panose="020F0502020204030204" pitchFamily="34" charset="0"/>
              </a:rPr>
              <a:t>La solution publique en résidentiel collectif : </a:t>
            </a:r>
            <a:endParaRPr lang="fr-FR" sz="2800" dirty="0">
              <a:cs typeface="Calibri" panose="020F0502020204030204" pitchFamily="34" charset="0"/>
            </a:endParaRPr>
          </a:p>
        </p:txBody>
      </p:sp>
    </p:spTree>
    <p:extLst>
      <p:ext uri="{BB962C8B-B14F-4D97-AF65-F5344CB8AC3E}">
        <p14:creationId xmlns:p14="http://schemas.microsoft.com/office/powerpoint/2010/main" val="16748410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ZoneTexte 10">
            <a:extLst>
              <a:ext uri="{FF2B5EF4-FFF2-40B4-BE49-F238E27FC236}">
                <a16:creationId xmlns:a16="http://schemas.microsoft.com/office/drawing/2014/main" id="{896B5E6D-C312-51F3-6D42-427BF5FAFF23}"/>
              </a:ext>
            </a:extLst>
          </p:cNvPr>
          <p:cNvSpPr txBox="1"/>
          <p:nvPr/>
        </p:nvSpPr>
        <p:spPr>
          <a:xfrm>
            <a:off x="6991641" y="3996822"/>
            <a:ext cx="4970564" cy="338554"/>
          </a:xfrm>
          <a:prstGeom prst="rect">
            <a:avLst/>
          </a:prstGeom>
          <a:solidFill>
            <a:schemeClr val="bg1"/>
          </a:solidFill>
          <a:effectLst>
            <a:outerShdw blurRad="50800" dist="76200" dir="2700000" algn="tl" rotWithShape="0">
              <a:prstClr val="black">
                <a:alpha val="40000"/>
              </a:prstClr>
            </a:outerShdw>
          </a:effectLst>
        </p:spPr>
        <p:txBody>
          <a:bodyPr wrap="square" rtlCol="0">
            <a:spAutoFit/>
          </a:bodyPr>
          <a:lstStyle>
            <a:defPPr>
              <a:defRPr lang="en-US"/>
            </a:defPPr>
            <a:lvl1pPr>
              <a:defRPr sz="1600" b="1">
                <a:solidFill>
                  <a:schemeClr val="accent3"/>
                </a:solidFill>
                <a:latin typeface="+mj-lt"/>
              </a:defRPr>
            </a:lvl1pPr>
          </a:lstStyle>
          <a:p>
            <a:r>
              <a:rPr lang="fr-FR" dirty="0">
                <a:sym typeface="Wingdings" panose="05000000000000000000" pitchFamily="2" charset="2"/>
              </a:rPr>
              <a:t>18 mois de travail de </a:t>
            </a:r>
            <a:r>
              <a:rPr lang="fr-FR" dirty="0" smtClean="0">
                <a:sym typeface="Wingdings" panose="05000000000000000000" pitchFamily="2" charset="2"/>
              </a:rPr>
              <a:t>simulation</a:t>
            </a:r>
            <a:endParaRPr lang="fr-FR" dirty="0">
              <a:sym typeface="Wingdings" panose="05000000000000000000" pitchFamily="2" charset="2"/>
            </a:endParaRPr>
          </a:p>
        </p:txBody>
      </p:sp>
      <p:sp>
        <p:nvSpPr>
          <p:cNvPr id="2" name="Titre 1"/>
          <p:cNvSpPr>
            <a:spLocks noGrp="1"/>
          </p:cNvSpPr>
          <p:nvPr>
            <p:ph type="title"/>
          </p:nvPr>
        </p:nvSpPr>
        <p:spPr>
          <a:xfrm>
            <a:off x="565784" y="256165"/>
            <a:ext cx="10779810" cy="387798"/>
          </a:xfrm>
        </p:spPr>
        <p:txBody>
          <a:bodyPr/>
          <a:lstStyle/>
          <a:p>
            <a:r>
              <a:rPr lang="fr-FR" sz="2800" dirty="0" smtClean="0"/>
              <a:t>Cas de l’infrastructure de recharge rapide sur les autoroutes</a:t>
            </a:r>
            <a:endParaRPr lang="fr-FR" sz="2800" dirty="0"/>
          </a:p>
        </p:txBody>
      </p:sp>
      <p:pic>
        <p:nvPicPr>
          <p:cNvPr id="3" name="Image 2"/>
          <p:cNvPicPr>
            <a:picLocks noChangeAspect="1"/>
          </p:cNvPicPr>
          <p:nvPr/>
        </p:nvPicPr>
        <p:blipFill>
          <a:blip r:embed="rId2"/>
          <a:stretch>
            <a:fillRect/>
          </a:stretch>
        </p:blipFill>
        <p:spPr>
          <a:xfrm>
            <a:off x="6991641" y="797901"/>
            <a:ext cx="4970565" cy="2795943"/>
          </a:xfrm>
          <a:prstGeom prst="rect">
            <a:avLst/>
          </a:prstGeom>
          <a:effectLst>
            <a:outerShdw blurRad="50800" dist="177800" dir="2700000" algn="tl" rotWithShape="0">
              <a:prstClr val="black">
                <a:alpha val="40000"/>
              </a:prstClr>
            </a:outerShdw>
          </a:effectLst>
        </p:spPr>
      </p:pic>
      <p:sp>
        <p:nvSpPr>
          <p:cNvPr id="5" name="ZoneTexte 4"/>
          <p:cNvSpPr txBox="1"/>
          <p:nvPr/>
        </p:nvSpPr>
        <p:spPr>
          <a:xfrm>
            <a:off x="549868" y="4118363"/>
            <a:ext cx="5360960" cy="769441"/>
          </a:xfrm>
          <a:prstGeom prst="rect">
            <a:avLst/>
          </a:prstGeom>
          <a:solidFill>
            <a:schemeClr val="bg1"/>
          </a:solidFill>
          <a:effectLst/>
        </p:spPr>
        <p:txBody>
          <a:bodyPr wrap="square" rtlCol="0">
            <a:spAutoFit/>
          </a:bodyPr>
          <a:lstStyle/>
          <a:p>
            <a:r>
              <a:rPr lang="fr-FR" sz="2000" b="1" dirty="0">
                <a:solidFill>
                  <a:schemeClr val="accent5"/>
                </a:solidFill>
                <a:latin typeface="+mj-lt"/>
              </a:rPr>
              <a:t>10 </a:t>
            </a:r>
            <a:r>
              <a:rPr lang="fr-FR" sz="2000" b="1" dirty="0" smtClean="0">
                <a:solidFill>
                  <a:schemeClr val="accent5"/>
                </a:solidFill>
                <a:latin typeface="+mj-lt"/>
              </a:rPr>
              <a:t>000 points de charge CCS</a:t>
            </a:r>
            <a:endParaRPr lang="fr-FR" sz="2000" dirty="0">
              <a:solidFill>
                <a:schemeClr val="accent5"/>
              </a:solidFill>
              <a:latin typeface="+mj-lt"/>
            </a:endParaRPr>
          </a:p>
          <a:p>
            <a:r>
              <a:rPr lang="fr-FR" sz="1200" b="1" dirty="0" smtClean="0">
                <a:solidFill>
                  <a:schemeClr val="accent5"/>
                </a:solidFill>
                <a:latin typeface="+mj-lt"/>
              </a:rPr>
              <a:t>Moyenne puissance</a:t>
            </a:r>
            <a:r>
              <a:rPr lang="fr-FR" sz="1200" b="1" dirty="0" smtClean="0">
                <a:solidFill>
                  <a:schemeClr val="bg2"/>
                </a:solidFill>
                <a:latin typeface="+mj-lt"/>
              </a:rPr>
              <a:t> </a:t>
            </a:r>
            <a:r>
              <a:rPr lang="fr-FR" sz="1200" dirty="0">
                <a:latin typeface="+mj-lt"/>
              </a:rPr>
              <a:t>installés sur l’ensemble des aires et dédiés à la recharge lors des pauses de longue durée.</a:t>
            </a:r>
          </a:p>
        </p:txBody>
      </p:sp>
      <p:sp>
        <p:nvSpPr>
          <p:cNvPr id="6" name="ZoneTexte 5"/>
          <p:cNvSpPr txBox="1"/>
          <p:nvPr/>
        </p:nvSpPr>
        <p:spPr>
          <a:xfrm>
            <a:off x="525995" y="3326781"/>
            <a:ext cx="5295622" cy="769441"/>
          </a:xfrm>
          <a:prstGeom prst="rect">
            <a:avLst/>
          </a:prstGeom>
          <a:solidFill>
            <a:schemeClr val="bg1"/>
          </a:solidFill>
          <a:effectLst/>
        </p:spPr>
        <p:txBody>
          <a:bodyPr wrap="square" rtlCol="0">
            <a:spAutoFit/>
          </a:bodyPr>
          <a:lstStyle/>
          <a:p>
            <a:r>
              <a:rPr lang="fr-FR" sz="2000" b="1" dirty="0">
                <a:solidFill>
                  <a:schemeClr val="accent5"/>
                </a:solidFill>
                <a:latin typeface="+mj-lt"/>
              </a:rPr>
              <a:t>2 </a:t>
            </a:r>
            <a:r>
              <a:rPr lang="fr-FR" sz="2000" b="1" dirty="0" smtClean="0">
                <a:solidFill>
                  <a:schemeClr val="accent5"/>
                </a:solidFill>
                <a:latin typeface="+mj-lt"/>
              </a:rPr>
              <a:t>200 points de charge MCS</a:t>
            </a:r>
            <a:endParaRPr lang="fr-FR" sz="1600" dirty="0" smtClean="0">
              <a:solidFill>
                <a:schemeClr val="accent5"/>
              </a:solidFill>
              <a:latin typeface="+mj-lt"/>
            </a:endParaRPr>
          </a:p>
          <a:p>
            <a:r>
              <a:rPr lang="fr-FR" sz="1200" b="1" dirty="0" smtClean="0">
                <a:solidFill>
                  <a:schemeClr val="accent5"/>
                </a:solidFill>
                <a:latin typeface="+mj-lt"/>
              </a:rPr>
              <a:t>Haute puissance, </a:t>
            </a:r>
            <a:r>
              <a:rPr lang="fr-FR" sz="1200" dirty="0" smtClean="0">
                <a:latin typeface="+mj-lt"/>
              </a:rPr>
              <a:t>installés sur les aires de service et dédiés à la recharge lors des pauses de courte durée.</a:t>
            </a:r>
            <a:endParaRPr lang="fr-FR" sz="1800" dirty="0">
              <a:solidFill>
                <a:schemeClr val="tx1">
                  <a:lumMod val="65000"/>
                  <a:lumOff val="35000"/>
                </a:schemeClr>
              </a:solidFill>
              <a:latin typeface="+mj-lt"/>
            </a:endParaRPr>
          </a:p>
        </p:txBody>
      </p:sp>
      <p:sp>
        <p:nvSpPr>
          <p:cNvPr id="7" name="ZoneTexte 6">
            <a:extLst>
              <a:ext uri="{FF2B5EF4-FFF2-40B4-BE49-F238E27FC236}">
                <a16:creationId xmlns:a16="http://schemas.microsoft.com/office/drawing/2014/main" id="{9231C8CE-41F5-63D0-ED35-90333F9E7F4E}"/>
              </a:ext>
            </a:extLst>
          </p:cNvPr>
          <p:cNvSpPr txBox="1"/>
          <p:nvPr/>
        </p:nvSpPr>
        <p:spPr>
          <a:xfrm>
            <a:off x="549841" y="4953250"/>
            <a:ext cx="5295622" cy="701731"/>
          </a:xfrm>
          <a:prstGeom prst="rect">
            <a:avLst/>
          </a:prstGeom>
          <a:solidFill>
            <a:schemeClr val="bg1"/>
          </a:solidFill>
          <a:effectLst/>
        </p:spPr>
        <p:txBody>
          <a:bodyPr wrap="square" rtlCol="0">
            <a:spAutoFit/>
          </a:bodyPr>
          <a:lstStyle/>
          <a:p>
            <a:pPr>
              <a:lnSpc>
                <a:spcPct val="90000"/>
              </a:lnSpc>
            </a:pPr>
            <a:r>
              <a:rPr lang="fr-FR" sz="2000" b="1" dirty="0">
                <a:solidFill>
                  <a:schemeClr val="accent1">
                    <a:lumMod val="75000"/>
                  </a:schemeClr>
                </a:solidFill>
                <a:latin typeface="+mj-lt"/>
              </a:rPr>
              <a:t>~</a:t>
            </a:r>
            <a:r>
              <a:rPr lang="fr-FR" sz="2000" b="1" dirty="0" smtClean="0">
                <a:solidFill>
                  <a:schemeClr val="accent1">
                    <a:lumMod val="75000"/>
                  </a:schemeClr>
                </a:solidFill>
                <a:latin typeface="+mj-lt"/>
              </a:rPr>
              <a:t>630 </a:t>
            </a:r>
            <a:r>
              <a:rPr lang="fr-FR" sz="2000" b="1" dirty="0">
                <a:solidFill>
                  <a:schemeClr val="accent1">
                    <a:lumMod val="75000"/>
                  </a:schemeClr>
                </a:solidFill>
                <a:latin typeface="+mj-lt"/>
              </a:rPr>
              <a:t>M€ d'investissement</a:t>
            </a:r>
            <a:r>
              <a:rPr lang="fr-FR" sz="2000" dirty="0">
                <a:solidFill>
                  <a:schemeClr val="accent1">
                    <a:lumMod val="75000"/>
                  </a:schemeClr>
                </a:solidFill>
                <a:latin typeface="+mj-lt"/>
              </a:rPr>
              <a:t/>
            </a:r>
            <a:br>
              <a:rPr lang="fr-FR" sz="2000" dirty="0">
                <a:solidFill>
                  <a:schemeClr val="accent1">
                    <a:lumMod val="75000"/>
                  </a:schemeClr>
                </a:solidFill>
                <a:latin typeface="+mj-lt"/>
              </a:rPr>
            </a:br>
            <a:r>
              <a:rPr lang="fr-FR" sz="1200" b="1" dirty="0">
                <a:solidFill>
                  <a:schemeClr val="accent1">
                    <a:lumMod val="75000"/>
                  </a:schemeClr>
                </a:solidFill>
                <a:latin typeface="+mj-lt"/>
              </a:rPr>
              <a:t>sur le réseau électrique</a:t>
            </a:r>
          </a:p>
          <a:p>
            <a:pPr>
              <a:lnSpc>
                <a:spcPct val="90000"/>
              </a:lnSpc>
            </a:pPr>
            <a:r>
              <a:rPr lang="fr-FR" sz="1200" dirty="0">
                <a:latin typeface="+mj-lt"/>
              </a:rPr>
              <a:t>d</a:t>
            </a:r>
            <a:r>
              <a:rPr lang="fr-FR" sz="1200" dirty="0" smtClean="0">
                <a:latin typeface="+mj-lt"/>
              </a:rPr>
              <a:t>ont </a:t>
            </a:r>
            <a:r>
              <a:rPr lang="fr-FR" sz="1200" dirty="0">
                <a:latin typeface="+mj-lt"/>
              </a:rPr>
              <a:t>594 M€ pour le réseau de distribution</a:t>
            </a:r>
          </a:p>
        </p:txBody>
      </p:sp>
      <p:sp>
        <p:nvSpPr>
          <p:cNvPr id="8" name="ZoneTexte 7">
            <a:extLst>
              <a:ext uri="{FF2B5EF4-FFF2-40B4-BE49-F238E27FC236}">
                <a16:creationId xmlns:a16="http://schemas.microsoft.com/office/drawing/2014/main" id="{394378BC-6EDF-FAA4-7B0B-BF3A5CBE66E4}"/>
              </a:ext>
            </a:extLst>
          </p:cNvPr>
          <p:cNvSpPr txBox="1"/>
          <p:nvPr/>
        </p:nvSpPr>
        <p:spPr>
          <a:xfrm>
            <a:off x="525995" y="5679387"/>
            <a:ext cx="5408706" cy="701731"/>
          </a:xfrm>
          <a:prstGeom prst="rect">
            <a:avLst/>
          </a:prstGeom>
          <a:solidFill>
            <a:schemeClr val="bg1"/>
          </a:solidFill>
          <a:effectLst/>
        </p:spPr>
        <p:txBody>
          <a:bodyPr wrap="square" rtlCol="0">
            <a:spAutoFit/>
          </a:bodyPr>
          <a:lstStyle/>
          <a:p>
            <a:pPr>
              <a:lnSpc>
                <a:spcPct val="90000"/>
              </a:lnSpc>
            </a:pPr>
            <a:r>
              <a:rPr lang="fr-FR" sz="2000" b="1" dirty="0">
                <a:solidFill>
                  <a:schemeClr val="accent1">
                    <a:lumMod val="75000"/>
                  </a:schemeClr>
                </a:solidFill>
                <a:latin typeface="+mj-lt"/>
              </a:rPr>
              <a:t>~60 ouvrages structurants</a:t>
            </a:r>
            <a:r>
              <a:rPr lang="fr-FR" sz="2000" dirty="0">
                <a:solidFill>
                  <a:schemeClr val="accent1">
                    <a:lumMod val="75000"/>
                  </a:schemeClr>
                </a:solidFill>
                <a:latin typeface="+mj-lt"/>
              </a:rPr>
              <a:t/>
            </a:r>
            <a:br>
              <a:rPr lang="fr-FR" sz="2000" dirty="0">
                <a:solidFill>
                  <a:schemeClr val="accent1">
                    <a:lumMod val="75000"/>
                  </a:schemeClr>
                </a:solidFill>
                <a:latin typeface="+mj-lt"/>
              </a:rPr>
            </a:br>
            <a:r>
              <a:rPr lang="fr-FR" sz="1200" b="1" dirty="0">
                <a:solidFill>
                  <a:schemeClr val="accent1">
                    <a:lumMod val="75000"/>
                  </a:schemeClr>
                </a:solidFill>
                <a:latin typeface="+mj-lt"/>
              </a:rPr>
              <a:t>à créer ou </a:t>
            </a:r>
            <a:r>
              <a:rPr lang="fr-FR" sz="1200" b="1" dirty="0" smtClean="0">
                <a:solidFill>
                  <a:schemeClr val="accent1">
                    <a:lumMod val="75000"/>
                  </a:schemeClr>
                </a:solidFill>
                <a:latin typeface="+mj-lt"/>
              </a:rPr>
              <a:t>renforcer</a:t>
            </a:r>
            <a:r>
              <a:rPr lang="fr-FR" sz="1200" dirty="0" smtClean="0">
                <a:solidFill>
                  <a:srgbClr val="00B050"/>
                </a:solidFill>
                <a:latin typeface="+mj-lt"/>
              </a:rPr>
              <a:t/>
            </a:r>
            <a:br>
              <a:rPr lang="fr-FR" sz="1200" dirty="0" smtClean="0">
                <a:solidFill>
                  <a:srgbClr val="00B050"/>
                </a:solidFill>
                <a:latin typeface="+mj-lt"/>
              </a:rPr>
            </a:br>
            <a:r>
              <a:rPr lang="fr-FR" sz="1200" dirty="0" smtClean="0">
                <a:latin typeface="+mj-lt"/>
              </a:rPr>
              <a:t>8 </a:t>
            </a:r>
            <a:r>
              <a:rPr lang="fr-FR" sz="1200" dirty="0">
                <a:latin typeface="+mj-lt"/>
              </a:rPr>
              <a:t>postes source à créer et 49 à renforcer</a:t>
            </a:r>
          </a:p>
        </p:txBody>
      </p:sp>
      <p:pic>
        <p:nvPicPr>
          <p:cNvPr id="10" name="Image 9">
            <a:extLst>
              <a:ext uri="{FF2B5EF4-FFF2-40B4-BE49-F238E27FC236}">
                <a16:creationId xmlns:a16="http://schemas.microsoft.com/office/drawing/2014/main" id="{F51D8BF2-778A-8ADC-FC17-ADF25EC01DD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91641" y="4335375"/>
            <a:ext cx="3503281" cy="2067257"/>
          </a:xfrm>
          <a:prstGeom prst="rect">
            <a:avLst/>
          </a:prstGeom>
          <a:solidFill>
            <a:schemeClr val="bg1"/>
          </a:solidFill>
          <a:effectLst>
            <a:outerShdw blurRad="50800" dist="76200" dir="2700000" algn="tl" rotWithShape="0">
              <a:prstClr val="black">
                <a:alpha val="40000"/>
              </a:prstClr>
            </a:outerShdw>
          </a:effectLst>
        </p:spPr>
      </p:pic>
      <p:sp>
        <p:nvSpPr>
          <p:cNvPr id="12" name="ZoneTexte 11">
            <a:extLst>
              <a:ext uri="{FF2B5EF4-FFF2-40B4-BE49-F238E27FC236}">
                <a16:creationId xmlns:a16="http://schemas.microsoft.com/office/drawing/2014/main" id="{896B5E6D-C312-51F3-6D42-427BF5FAFF23}"/>
              </a:ext>
            </a:extLst>
          </p:cNvPr>
          <p:cNvSpPr txBox="1"/>
          <p:nvPr/>
        </p:nvSpPr>
        <p:spPr>
          <a:xfrm>
            <a:off x="565784" y="788346"/>
            <a:ext cx="6092583" cy="2508379"/>
          </a:xfrm>
          <a:prstGeom prst="rect">
            <a:avLst/>
          </a:prstGeom>
          <a:solidFill>
            <a:schemeClr val="bg1"/>
          </a:solidFill>
          <a:effectLst>
            <a:outerShdw blurRad="50800" dist="76200" dir="2700000" algn="tl" rotWithShape="0">
              <a:prstClr val="black">
                <a:alpha val="40000"/>
              </a:prstClr>
            </a:outerShdw>
          </a:effectLst>
        </p:spPr>
        <p:txBody>
          <a:bodyPr wrap="square" rtlCol="0">
            <a:spAutoFit/>
          </a:bodyPr>
          <a:lstStyle/>
          <a:p>
            <a:pPr>
              <a:spcAft>
                <a:spcPts val="600"/>
              </a:spcAft>
            </a:pPr>
            <a:r>
              <a:rPr lang="fr-FR" sz="1600" b="1" dirty="0" smtClean="0">
                <a:latin typeface="+mj-lt"/>
                <a:sym typeface="Wingdings" panose="05000000000000000000" pitchFamily="2" charset="2"/>
              </a:rPr>
              <a:t>Principales conclusions</a:t>
            </a:r>
            <a:endParaRPr lang="fr-FR" sz="1600" b="1" dirty="0">
              <a:latin typeface="+mj-lt"/>
              <a:sym typeface="Wingdings" panose="05000000000000000000" pitchFamily="2" charset="2"/>
            </a:endParaRPr>
          </a:p>
          <a:p>
            <a:pPr marL="358775" lvl="1" indent="-274638" defTabSz="603250">
              <a:spcAft>
                <a:spcPts val="600"/>
              </a:spcAft>
              <a:buClr>
                <a:schemeClr val="tx2"/>
              </a:buClr>
              <a:buFont typeface="Wingdings" panose="05000000000000000000" pitchFamily="2" charset="2"/>
              <a:buChar char="q"/>
            </a:pPr>
            <a:r>
              <a:rPr lang="fr-FR" sz="1400" dirty="0" smtClean="0">
                <a:latin typeface="+mj-lt"/>
              </a:rPr>
              <a:t>Le </a:t>
            </a:r>
            <a:r>
              <a:rPr lang="fr-FR" sz="1400" b="1" dirty="0" smtClean="0">
                <a:latin typeface="+mj-lt"/>
              </a:rPr>
              <a:t>dimensionnement des réseaux</a:t>
            </a:r>
            <a:r>
              <a:rPr lang="fr-FR" sz="1400" dirty="0" smtClean="0">
                <a:latin typeface="+mj-lt"/>
              </a:rPr>
              <a:t> pour la </a:t>
            </a:r>
            <a:r>
              <a:rPr lang="fr-FR" sz="1400" b="1" dirty="0" smtClean="0">
                <a:latin typeface="+mj-lt"/>
              </a:rPr>
              <a:t>mobilité électrique légère</a:t>
            </a:r>
            <a:r>
              <a:rPr lang="fr-FR" sz="1400" dirty="0" smtClean="0">
                <a:latin typeface="+mj-lt"/>
              </a:rPr>
              <a:t> </a:t>
            </a:r>
            <a:r>
              <a:rPr lang="fr-FR" sz="1400" b="1" dirty="0" smtClean="0">
                <a:latin typeface="+mj-lt"/>
              </a:rPr>
              <a:t>couvrira très largement </a:t>
            </a:r>
            <a:r>
              <a:rPr lang="fr-FR" sz="1400" dirty="0" smtClean="0">
                <a:latin typeface="+mj-lt"/>
              </a:rPr>
              <a:t>les besoins liés à la </a:t>
            </a:r>
            <a:r>
              <a:rPr lang="fr-FR" sz="1400" b="1" dirty="0" smtClean="0">
                <a:latin typeface="+mj-lt"/>
              </a:rPr>
              <a:t>mobilité lourde </a:t>
            </a:r>
            <a:r>
              <a:rPr lang="fr-FR" sz="1400" dirty="0" smtClean="0">
                <a:latin typeface="+mj-lt"/>
              </a:rPr>
              <a:t>du fait de la </a:t>
            </a:r>
            <a:r>
              <a:rPr lang="fr-FR" sz="1400" b="1" dirty="0" smtClean="0">
                <a:latin typeface="+mj-lt"/>
              </a:rPr>
              <a:t>désynchronisation</a:t>
            </a:r>
            <a:r>
              <a:rPr lang="fr-FR" sz="1400" dirty="0" smtClean="0">
                <a:latin typeface="+mj-lt"/>
              </a:rPr>
              <a:t> des pics de recharge </a:t>
            </a:r>
            <a:r>
              <a:rPr lang="fr-FR" sz="1400" dirty="0" smtClean="0">
                <a:latin typeface="+mj-lt"/>
              </a:rPr>
              <a:t>respectifs – mais il faudra </a:t>
            </a:r>
            <a:r>
              <a:rPr lang="fr-FR" sz="1400" b="1" dirty="0" smtClean="0">
                <a:latin typeface="+mj-lt"/>
              </a:rPr>
              <a:t>mutualiser la puissance de raccordement </a:t>
            </a:r>
            <a:r>
              <a:rPr lang="fr-FR" sz="1400" dirty="0" smtClean="0">
                <a:latin typeface="+mj-lt"/>
              </a:rPr>
              <a:t>entre les usages</a:t>
            </a:r>
            <a:endParaRPr lang="fr-FR" sz="1400" baseline="30000" dirty="0" smtClean="0">
              <a:latin typeface="+mj-lt"/>
            </a:endParaRPr>
          </a:p>
          <a:p>
            <a:pPr marL="358775" lvl="1" indent="-274638" defTabSz="603250">
              <a:spcAft>
                <a:spcPts val="600"/>
              </a:spcAft>
              <a:buClr>
                <a:schemeClr val="tx2"/>
              </a:buClr>
              <a:buFont typeface="Wingdings" panose="05000000000000000000" pitchFamily="2" charset="2"/>
              <a:buChar char="q"/>
            </a:pPr>
            <a:r>
              <a:rPr lang="fr-FR" sz="1400" dirty="0" smtClean="0">
                <a:latin typeface="+mj-lt"/>
              </a:rPr>
              <a:t>L’électrification </a:t>
            </a:r>
            <a:r>
              <a:rPr lang="fr-FR" sz="1400" dirty="0">
                <a:latin typeface="+mj-lt"/>
              </a:rPr>
              <a:t>de la mobilité lourde longue distance </a:t>
            </a:r>
            <a:r>
              <a:rPr lang="fr-FR" sz="1400" dirty="0" smtClean="0">
                <a:latin typeface="+mj-lt"/>
              </a:rPr>
              <a:t>: un </a:t>
            </a:r>
            <a:r>
              <a:rPr lang="fr-FR" sz="1400" dirty="0">
                <a:latin typeface="+mj-lt"/>
              </a:rPr>
              <a:t>sujet d’adaptation des réseaux </a:t>
            </a:r>
            <a:r>
              <a:rPr lang="fr-FR" sz="1400" dirty="0" smtClean="0">
                <a:latin typeface="+mj-lt"/>
              </a:rPr>
              <a:t>électriques mais </a:t>
            </a:r>
            <a:r>
              <a:rPr lang="fr-FR" sz="1400" dirty="0" smtClean="0">
                <a:latin typeface="+mj-lt"/>
              </a:rPr>
              <a:t>surtout </a:t>
            </a:r>
            <a:r>
              <a:rPr lang="fr-FR" sz="1400" b="1" dirty="0" smtClean="0">
                <a:latin typeface="+mj-lt"/>
              </a:rPr>
              <a:t>d’aménagement </a:t>
            </a:r>
            <a:r>
              <a:rPr lang="fr-FR" sz="1400" b="1" dirty="0" smtClean="0">
                <a:latin typeface="+mj-lt"/>
              </a:rPr>
              <a:t>et de foncier</a:t>
            </a:r>
            <a:r>
              <a:rPr lang="fr-FR" sz="1400" dirty="0" smtClean="0">
                <a:latin typeface="+mj-lt"/>
              </a:rPr>
              <a:t>, </a:t>
            </a:r>
            <a:r>
              <a:rPr lang="fr-FR" sz="1400" dirty="0">
                <a:latin typeface="+mj-lt"/>
              </a:rPr>
              <a:t>avec un besoin d’infrastructures </a:t>
            </a:r>
            <a:r>
              <a:rPr lang="fr-FR" sz="1400" dirty="0" smtClean="0">
                <a:latin typeface="+mj-lt"/>
              </a:rPr>
              <a:t>conséquent.</a:t>
            </a:r>
          </a:p>
          <a:p>
            <a:pPr marL="358775" lvl="1" indent="-274638" defTabSz="603250">
              <a:spcAft>
                <a:spcPts val="600"/>
              </a:spcAft>
              <a:buClr>
                <a:schemeClr val="tx2"/>
              </a:buClr>
              <a:buFont typeface="Wingdings" panose="05000000000000000000" pitchFamily="2" charset="2"/>
              <a:buChar char="q"/>
            </a:pPr>
            <a:r>
              <a:rPr lang="fr-FR" sz="1400" b="1" dirty="0" smtClean="0">
                <a:latin typeface="+mj-lt"/>
                <a:sym typeface="Wingdings" panose="05000000000000000000" pitchFamily="2" charset="2"/>
              </a:rPr>
              <a:t>Le sujet </a:t>
            </a:r>
            <a:r>
              <a:rPr lang="fr-FR" sz="1400" b="1" dirty="0" smtClean="0">
                <a:latin typeface="+mj-lt"/>
                <a:sym typeface="Wingdings" panose="05000000000000000000" pitchFamily="2" charset="2"/>
              </a:rPr>
              <a:t>clé pour les réseaux : être prêt au bon moment, donc anticiper et planifier les investissements</a:t>
            </a:r>
            <a:endParaRPr lang="fr-FR" sz="1400" b="1" dirty="0">
              <a:latin typeface="+mj-lt"/>
              <a:sym typeface="Wingdings" panose="05000000000000000000" pitchFamily="2" charset="2"/>
            </a:endParaRPr>
          </a:p>
        </p:txBody>
      </p:sp>
      <p:pic>
        <p:nvPicPr>
          <p:cNvPr id="9" name="Image 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401480" y="4325573"/>
            <a:ext cx="2560726" cy="2077060"/>
          </a:xfrm>
          <a:prstGeom prst="rect">
            <a:avLst/>
          </a:prstGeom>
          <a:solidFill>
            <a:schemeClr val="bg1"/>
          </a:solidFill>
          <a:effectLst>
            <a:outerShdw blurRad="50800" dist="76200" dir="2700000" algn="tl" rotWithShape="0">
              <a:prstClr val="black">
                <a:alpha val="40000"/>
              </a:prstClr>
            </a:outerShdw>
          </a:effectLst>
        </p:spPr>
      </p:pic>
      <p:sp>
        <p:nvSpPr>
          <p:cNvPr id="13" name="Rectangle 12"/>
          <p:cNvSpPr/>
          <p:nvPr/>
        </p:nvSpPr>
        <p:spPr>
          <a:xfrm>
            <a:off x="549841" y="4953250"/>
            <a:ext cx="3487587" cy="1449382"/>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Tree>
    <p:extLst>
      <p:ext uri="{BB962C8B-B14F-4D97-AF65-F5344CB8AC3E}">
        <p14:creationId xmlns:p14="http://schemas.microsoft.com/office/powerpoint/2010/main" val="116839186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b="1" dirty="0" smtClean="0"/>
              <a:t>Pourquoi </a:t>
            </a:r>
            <a:r>
              <a:rPr lang="fr-FR" b="1" dirty="0"/>
              <a:t>la réfaction majorée n’est pas une bonne idée </a:t>
            </a:r>
          </a:p>
        </p:txBody>
      </p:sp>
      <p:sp>
        <p:nvSpPr>
          <p:cNvPr id="6" name="Espace réservé du texte 5"/>
          <p:cNvSpPr>
            <a:spLocks noGrp="1"/>
          </p:cNvSpPr>
          <p:nvPr>
            <p:ph type="body" sz="quarter" idx="13"/>
          </p:nvPr>
        </p:nvSpPr>
        <p:spPr>
          <a:xfrm>
            <a:off x="359999" y="966395"/>
            <a:ext cx="5580000" cy="3252351"/>
          </a:xfrm>
        </p:spPr>
        <p:txBody>
          <a:bodyPr/>
          <a:lstStyle/>
          <a:p>
            <a:pPr lvl="2">
              <a:spcBef>
                <a:spcPts val="1200"/>
              </a:spcBef>
            </a:pPr>
            <a:r>
              <a:rPr lang="fr-FR" dirty="0" smtClean="0">
                <a:solidFill>
                  <a:schemeClr val="tx1"/>
                </a:solidFill>
                <a:latin typeface="Enedis" pitchFamily="2" charset="0"/>
              </a:rPr>
              <a:t>Les </a:t>
            </a:r>
            <a:r>
              <a:rPr lang="fr-FR" b="1" dirty="0">
                <a:solidFill>
                  <a:schemeClr val="tx1"/>
                </a:solidFill>
                <a:latin typeface="Enedis" pitchFamily="2" charset="0"/>
              </a:rPr>
              <a:t>coûts de raccordement </a:t>
            </a:r>
            <a:r>
              <a:rPr lang="fr-FR" dirty="0">
                <a:solidFill>
                  <a:schemeClr val="tx1"/>
                </a:solidFill>
                <a:latin typeface="Enedis" pitchFamily="2" charset="0"/>
              </a:rPr>
              <a:t>représentent </a:t>
            </a:r>
            <a:r>
              <a:rPr lang="fr-FR" b="1" dirty="0">
                <a:solidFill>
                  <a:schemeClr val="tx1"/>
                </a:solidFill>
                <a:latin typeface="Enedis" pitchFamily="2" charset="0"/>
              </a:rPr>
              <a:t>moins de 6</a:t>
            </a:r>
            <a:r>
              <a:rPr lang="fr-FR" b="1" dirty="0" smtClean="0">
                <a:solidFill>
                  <a:schemeClr val="tx1"/>
                </a:solidFill>
                <a:latin typeface="Enedis" pitchFamily="2" charset="0"/>
              </a:rPr>
              <a:t>% </a:t>
            </a:r>
            <a:r>
              <a:rPr lang="fr-FR" dirty="0">
                <a:solidFill>
                  <a:schemeClr val="tx1"/>
                </a:solidFill>
                <a:latin typeface="Enedis" pitchFamily="2" charset="0"/>
              </a:rPr>
              <a:t>du coût d’aménagement et d’équipement d’une aire de service en </a:t>
            </a:r>
            <a:r>
              <a:rPr lang="fr-FR" dirty="0" smtClean="0">
                <a:solidFill>
                  <a:schemeClr val="tx1"/>
                </a:solidFill>
                <a:latin typeface="Enedis" pitchFamily="2" charset="0"/>
              </a:rPr>
              <a:t>moyenne. Les </a:t>
            </a:r>
            <a:r>
              <a:rPr lang="fr-FR" dirty="0">
                <a:solidFill>
                  <a:schemeClr val="tx1"/>
                </a:solidFill>
                <a:latin typeface="Enedis" pitchFamily="2" charset="0"/>
              </a:rPr>
              <a:t>acteurs </a:t>
            </a:r>
            <a:r>
              <a:rPr lang="fr-FR" dirty="0" smtClean="0">
                <a:solidFill>
                  <a:schemeClr val="tx1"/>
                </a:solidFill>
                <a:latin typeface="Enedis" pitchFamily="2" charset="0"/>
              </a:rPr>
              <a:t>(opérateurs routiers et opérateurs de recharge) </a:t>
            </a:r>
            <a:r>
              <a:rPr lang="fr-FR" dirty="0">
                <a:solidFill>
                  <a:schemeClr val="tx1"/>
                </a:solidFill>
                <a:latin typeface="Enedis" pitchFamily="2" charset="0"/>
              </a:rPr>
              <a:t>doivent financer 6 à 7 Md€ et pas </a:t>
            </a:r>
            <a:r>
              <a:rPr lang="fr-FR" dirty="0" smtClean="0">
                <a:solidFill>
                  <a:schemeClr val="tx1"/>
                </a:solidFill>
                <a:latin typeface="Enedis" pitchFamily="2" charset="0"/>
              </a:rPr>
              <a:t>uniquement les 380 </a:t>
            </a:r>
            <a:r>
              <a:rPr lang="fr-FR" dirty="0">
                <a:solidFill>
                  <a:schemeClr val="tx1"/>
                </a:solidFill>
                <a:latin typeface="Enedis" pitchFamily="2" charset="0"/>
              </a:rPr>
              <a:t>M</a:t>
            </a:r>
            <a:r>
              <a:rPr lang="fr-FR" dirty="0" smtClean="0">
                <a:solidFill>
                  <a:schemeClr val="tx1"/>
                </a:solidFill>
                <a:latin typeface="Enedis" pitchFamily="2" charset="0"/>
              </a:rPr>
              <a:t>€ coûts estimés à date des raccordements avec réfaction à 40%.</a:t>
            </a:r>
            <a:endParaRPr lang="fr-FR" dirty="0">
              <a:solidFill>
                <a:schemeClr val="tx1"/>
              </a:solidFill>
              <a:latin typeface="Enedis" pitchFamily="2" charset="0"/>
            </a:endParaRPr>
          </a:p>
          <a:p>
            <a:pPr lvl="2">
              <a:spcBef>
                <a:spcPts val="1200"/>
              </a:spcBef>
            </a:pPr>
            <a:r>
              <a:rPr lang="fr-FR" dirty="0" smtClean="0">
                <a:solidFill>
                  <a:schemeClr val="tx1"/>
                </a:solidFill>
                <a:latin typeface="Enedis" pitchFamily="2" charset="0"/>
              </a:rPr>
              <a:t>L’</a:t>
            </a:r>
            <a:r>
              <a:rPr lang="fr-FR" b="1" dirty="0" smtClean="0">
                <a:solidFill>
                  <a:schemeClr val="tx1"/>
                </a:solidFill>
                <a:latin typeface="Enedis" pitchFamily="2" charset="0"/>
              </a:rPr>
              <a:t>enjeu </a:t>
            </a:r>
            <a:r>
              <a:rPr lang="fr-FR" dirty="0">
                <a:solidFill>
                  <a:schemeClr val="tx1"/>
                </a:solidFill>
                <a:latin typeface="Enedis" pitchFamily="2" charset="0"/>
              </a:rPr>
              <a:t>sur cette partie raccordement </a:t>
            </a:r>
            <a:r>
              <a:rPr lang="fr-FR" dirty="0" smtClean="0">
                <a:solidFill>
                  <a:schemeClr val="tx1"/>
                </a:solidFill>
                <a:latin typeface="Enedis" pitchFamily="2" charset="0"/>
              </a:rPr>
              <a:t>au </a:t>
            </a:r>
            <a:r>
              <a:rPr lang="fr-FR" b="1" dirty="0" smtClean="0">
                <a:solidFill>
                  <a:schemeClr val="tx1"/>
                </a:solidFill>
                <a:latin typeface="Enedis" pitchFamily="2" charset="0"/>
              </a:rPr>
              <a:t>réseau </a:t>
            </a:r>
            <a:r>
              <a:rPr lang="fr-FR" b="1" dirty="0">
                <a:solidFill>
                  <a:schemeClr val="tx1"/>
                </a:solidFill>
                <a:latin typeface="Enedis" pitchFamily="2" charset="0"/>
              </a:rPr>
              <a:t>est </a:t>
            </a:r>
            <a:r>
              <a:rPr lang="fr-FR" b="1" dirty="0" smtClean="0">
                <a:solidFill>
                  <a:schemeClr val="tx1"/>
                </a:solidFill>
                <a:latin typeface="Enedis" pitchFamily="2" charset="0"/>
              </a:rPr>
              <a:t>d’être </a:t>
            </a:r>
            <a:r>
              <a:rPr lang="fr-FR" b="1" dirty="0">
                <a:solidFill>
                  <a:schemeClr val="tx1"/>
                </a:solidFill>
                <a:latin typeface="Enedis" pitchFamily="2" charset="0"/>
              </a:rPr>
              <a:t>prêt à temps </a:t>
            </a:r>
            <a:r>
              <a:rPr lang="fr-FR" dirty="0">
                <a:solidFill>
                  <a:schemeClr val="tx1"/>
                </a:solidFill>
                <a:latin typeface="Enedis" pitchFamily="2" charset="0"/>
              </a:rPr>
              <a:t>et </a:t>
            </a:r>
            <a:r>
              <a:rPr lang="fr-FR" dirty="0" smtClean="0">
                <a:solidFill>
                  <a:schemeClr val="tx1"/>
                </a:solidFill>
                <a:latin typeface="Enedis" pitchFamily="2" charset="0"/>
              </a:rPr>
              <a:t>de </a:t>
            </a:r>
            <a:r>
              <a:rPr lang="fr-FR" dirty="0" smtClean="0">
                <a:solidFill>
                  <a:schemeClr val="tx1"/>
                </a:solidFill>
                <a:latin typeface="Enedis" pitchFamily="2" charset="0"/>
              </a:rPr>
              <a:t>répartir (moyenner) les coûts sur l’ensemble des </a:t>
            </a:r>
            <a:r>
              <a:rPr lang="fr-FR" dirty="0" smtClean="0">
                <a:solidFill>
                  <a:schemeClr val="tx1"/>
                </a:solidFill>
                <a:latin typeface="Enedis" pitchFamily="2" charset="0"/>
              </a:rPr>
              <a:t>aires (certaines </a:t>
            </a:r>
            <a:r>
              <a:rPr lang="fr-FR" dirty="0" smtClean="0">
                <a:solidFill>
                  <a:schemeClr val="tx1"/>
                </a:solidFill>
                <a:latin typeface="Enedis" pitchFamily="2" charset="0"/>
              </a:rPr>
              <a:t>aires auront des coûts de raccordement bien supérieurs du fait de la création d’un poste </a:t>
            </a:r>
            <a:r>
              <a:rPr lang="fr-FR" dirty="0" smtClean="0">
                <a:solidFill>
                  <a:schemeClr val="tx1"/>
                </a:solidFill>
                <a:latin typeface="Enedis" pitchFamily="2" charset="0"/>
              </a:rPr>
              <a:t>source)</a:t>
            </a:r>
            <a:endParaRPr lang="fr-FR" dirty="0">
              <a:solidFill>
                <a:schemeClr val="tx1"/>
              </a:solidFill>
              <a:latin typeface="Enedis" pitchFamily="2" charset="0"/>
            </a:endParaRPr>
          </a:p>
          <a:p>
            <a:pPr lvl="2">
              <a:spcBef>
                <a:spcPts val="1200"/>
              </a:spcBef>
            </a:pPr>
            <a:r>
              <a:rPr lang="fr-FR" dirty="0" smtClean="0">
                <a:solidFill>
                  <a:schemeClr val="tx1"/>
                </a:solidFill>
                <a:latin typeface="Enedis" pitchFamily="2" charset="0"/>
              </a:rPr>
              <a:t>La </a:t>
            </a:r>
            <a:r>
              <a:rPr lang="fr-FR" b="1" dirty="0">
                <a:solidFill>
                  <a:schemeClr val="tx1"/>
                </a:solidFill>
                <a:latin typeface="Enedis" pitchFamily="2" charset="0"/>
              </a:rPr>
              <a:t>réfaction majorée </a:t>
            </a:r>
            <a:r>
              <a:rPr lang="fr-FR" dirty="0">
                <a:solidFill>
                  <a:schemeClr val="tx1"/>
                </a:solidFill>
                <a:latin typeface="Enedis" pitchFamily="2" charset="0"/>
              </a:rPr>
              <a:t>représente une </a:t>
            </a:r>
            <a:r>
              <a:rPr lang="fr-FR" b="1" dirty="0">
                <a:solidFill>
                  <a:schemeClr val="tx1"/>
                </a:solidFill>
                <a:latin typeface="Enedis" pitchFamily="2" charset="0"/>
              </a:rPr>
              <a:t>subvention</a:t>
            </a:r>
            <a:r>
              <a:rPr lang="fr-FR" dirty="0">
                <a:solidFill>
                  <a:schemeClr val="tx1"/>
                </a:solidFill>
                <a:latin typeface="Enedis" pitchFamily="2" charset="0"/>
              </a:rPr>
              <a:t> par les </a:t>
            </a:r>
            <a:r>
              <a:rPr lang="fr-FR" b="1" dirty="0">
                <a:solidFill>
                  <a:schemeClr val="tx1"/>
                </a:solidFill>
                <a:latin typeface="Enedis" pitchFamily="2" charset="0"/>
              </a:rPr>
              <a:t>usagers du réseau de distribution </a:t>
            </a:r>
            <a:r>
              <a:rPr lang="fr-FR" b="1" dirty="0" smtClean="0">
                <a:solidFill>
                  <a:schemeClr val="tx1"/>
                </a:solidFill>
                <a:latin typeface="Enedis" pitchFamily="2" charset="0"/>
              </a:rPr>
              <a:t>d’électricité </a:t>
            </a:r>
            <a:r>
              <a:rPr lang="fr-FR" dirty="0" smtClean="0">
                <a:solidFill>
                  <a:schemeClr val="tx1"/>
                </a:solidFill>
                <a:latin typeface="Enedis" pitchFamily="2" charset="0"/>
              </a:rPr>
              <a:t>qui </a:t>
            </a:r>
            <a:r>
              <a:rPr lang="fr-FR" dirty="0">
                <a:solidFill>
                  <a:schemeClr val="tx1"/>
                </a:solidFill>
                <a:latin typeface="Enedis" pitchFamily="2" charset="0"/>
              </a:rPr>
              <a:t>utilisent déjà </a:t>
            </a:r>
            <a:r>
              <a:rPr lang="fr-FR" dirty="0" smtClean="0">
                <a:solidFill>
                  <a:schemeClr val="tx1"/>
                </a:solidFill>
                <a:latin typeface="Enedis" pitchFamily="2" charset="0"/>
              </a:rPr>
              <a:t>une énergie très majoritairement </a:t>
            </a:r>
            <a:r>
              <a:rPr lang="fr-FR" dirty="0" err="1" smtClean="0">
                <a:solidFill>
                  <a:schemeClr val="tx1"/>
                </a:solidFill>
                <a:latin typeface="Enedis" pitchFamily="2" charset="0"/>
              </a:rPr>
              <a:t>décarbonée</a:t>
            </a:r>
            <a:r>
              <a:rPr lang="fr-FR" dirty="0" smtClean="0">
                <a:solidFill>
                  <a:schemeClr val="tx1"/>
                </a:solidFill>
                <a:latin typeface="Enedis" pitchFamily="2" charset="0"/>
              </a:rPr>
              <a:t>. Cela </a:t>
            </a:r>
            <a:r>
              <a:rPr lang="fr-FR" dirty="0">
                <a:solidFill>
                  <a:schemeClr val="tx1"/>
                </a:solidFill>
                <a:latin typeface="Enedis" pitchFamily="2" charset="0"/>
              </a:rPr>
              <a:t>revient à </a:t>
            </a:r>
            <a:r>
              <a:rPr lang="fr-FR" b="1" dirty="0">
                <a:solidFill>
                  <a:schemeClr val="tx1"/>
                </a:solidFill>
                <a:latin typeface="Enedis" pitchFamily="2" charset="0"/>
              </a:rPr>
              <a:t>faire payer</a:t>
            </a:r>
            <a:r>
              <a:rPr lang="fr-FR" dirty="0">
                <a:solidFill>
                  <a:schemeClr val="tx1"/>
                </a:solidFill>
                <a:latin typeface="Enedis" pitchFamily="2" charset="0"/>
              </a:rPr>
              <a:t> à </a:t>
            </a:r>
            <a:r>
              <a:rPr lang="fr-FR" b="1" dirty="0">
                <a:solidFill>
                  <a:schemeClr val="tx1"/>
                </a:solidFill>
                <a:latin typeface="Enedis" pitchFamily="2" charset="0"/>
              </a:rPr>
              <a:t>des acteurs déjà vertueux la transition </a:t>
            </a:r>
            <a:r>
              <a:rPr lang="fr-FR" dirty="0">
                <a:solidFill>
                  <a:schemeClr val="tx1"/>
                </a:solidFill>
                <a:latin typeface="Enedis" pitchFamily="2" charset="0"/>
              </a:rPr>
              <a:t>vers la décarbonation </a:t>
            </a:r>
            <a:r>
              <a:rPr lang="fr-FR" b="1" dirty="0">
                <a:solidFill>
                  <a:schemeClr val="tx1"/>
                </a:solidFill>
                <a:latin typeface="Enedis" pitchFamily="2" charset="0"/>
              </a:rPr>
              <a:t>d’autres </a:t>
            </a:r>
            <a:r>
              <a:rPr lang="fr-FR" b="1" dirty="0" smtClean="0">
                <a:solidFill>
                  <a:schemeClr val="tx1"/>
                </a:solidFill>
                <a:latin typeface="Enedis" pitchFamily="2" charset="0"/>
              </a:rPr>
              <a:t>acteurs</a:t>
            </a:r>
            <a:r>
              <a:rPr lang="fr-FR" dirty="0" smtClean="0">
                <a:solidFill>
                  <a:schemeClr val="tx1"/>
                </a:solidFill>
                <a:latin typeface="Enedis" pitchFamily="2" charset="0"/>
              </a:rPr>
              <a:t>…</a:t>
            </a:r>
            <a:endParaRPr lang="fr-FR" dirty="0">
              <a:solidFill>
                <a:schemeClr val="tx1"/>
              </a:solidFill>
              <a:latin typeface="Enedis" pitchFamily="2" charset="0"/>
            </a:endParaRPr>
          </a:p>
        </p:txBody>
      </p:sp>
      <p:sp>
        <p:nvSpPr>
          <p:cNvPr id="7" name="Espace réservé du texte 6"/>
          <p:cNvSpPr>
            <a:spLocks noGrp="1"/>
          </p:cNvSpPr>
          <p:nvPr>
            <p:ph type="body" sz="quarter" idx="14"/>
          </p:nvPr>
        </p:nvSpPr>
        <p:spPr>
          <a:xfrm>
            <a:off x="6299999" y="966395"/>
            <a:ext cx="5580000" cy="3084311"/>
          </a:xfrm>
        </p:spPr>
        <p:txBody>
          <a:bodyPr/>
          <a:lstStyle/>
          <a:p>
            <a:pPr lvl="2">
              <a:spcBef>
                <a:spcPts val="1200"/>
              </a:spcBef>
            </a:pPr>
            <a:r>
              <a:rPr lang="fr-FR" dirty="0" smtClean="0">
                <a:solidFill>
                  <a:schemeClr val="tx1"/>
                </a:solidFill>
                <a:latin typeface="Enedis" pitchFamily="2" charset="0"/>
              </a:rPr>
              <a:t>Le </a:t>
            </a:r>
            <a:r>
              <a:rPr lang="fr-FR" b="1" dirty="0">
                <a:solidFill>
                  <a:schemeClr val="tx1"/>
                </a:solidFill>
                <a:latin typeface="Enedis" pitchFamily="2" charset="0"/>
              </a:rPr>
              <a:t>coût de la réfaction majorée à 75% </a:t>
            </a:r>
            <a:r>
              <a:rPr lang="fr-FR" dirty="0" smtClean="0">
                <a:solidFill>
                  <a:schemeClr val="tx1"/>
                </a:solidFill>
                <a:latin typeface="Enedis" pitchFamily="2" charset="0"/>
              </a:rPr>
              <a:t>pour l’ensemble des raccordements représente </a:t>
            </a:r>
            <a:r>
              <a:rPr lang="fr-FR" dirty="0">
                <a:solidFill>
                  <a:schemeClr val="tx1"/>
                </a:solidFill>
                <a:latin typeface="Enedis" pitchFamily="2" charset="0"/>
              </a:rPr>
              <a:t>en ordre de grandeur </a:t>
            </a:r>
            <a:r>
              <a:rPr lang="fr-FR" b="1" dirty="0">
                <a:solidFill>
                  <a:schemeClr val="tx1"/>
                </a:solidFill>
                <a:latin typeface="Enedis" pitchFamily="2" charset="0"/>
              </a:rPr>
              <a:t>25 postes source</a:t>
            </a:r>
            <a:r>
              <a:rPr lang="fr-FR" dirty="0">
                <a:solidFill>
                  <a:schemeClr val="tx1"/>
                </a:solidFill>
                <a:latin typeface="Enedis" pitchFamily="2" charset="0"/>
              </a:rPr>
              <a:t>, soit </a:t>
            </a:r>
            <a:r>
              <a:rPr lang="fr-FR" b="1" dirty="0">
                <a:solidFill>
                  <a:schemeClr val="tx1"/>
                </a:solidFill>
                <a:latin typeface="Enedis" pitchFamily="2" charset="0"/>
              </a:rPr>
              <a:t>3 fois plus</a:t>
            </a:r>
            <a:r>
              <a:rPr lang="fr-FR" dirty="0">
                <a:solidFill>
                  <a:schemeClr val="tx1"/>
                </a:solidFill>
                <a:latin typeface="Enedis" pitchFamily="2" charset="0"/>
              </a:rPr>
              <a:t> que ce que les adaptations réseaux à ces besoins de recharge vont occasionner (8 nouveaux postes source, 49 renforcements</a:t>
            </a:r>
            <a:r>
              <a:rPr lang="fr-FR" dirty="0" smtClean="0">
                <a:solidFill>
                  <a:schemeClr val="tx1"/>
                </a:solidFill>
                <a:latin typeface="Enedis" pitchFamily="2" charset="0"/>
              </a:rPr>
              <a:t>). </a:t>
            </a:r>
            <a:endParaRPr lang="fr-FR" dirty="0">
              <a:solidFill>
                <a:schemeClr val="tx1"/>
              </a:solidFill>
              <a:latin typeface="Enedis" pitchFamily="2" charset="0"/>
            </a:endParaRPr>
          </a:p>
          <a:p>
            <a:pPr lvl="2">
              <a:spcBef>
                <a:spcPts val="1200"/>
              </a:spcBef>
            </a:pPr>
            <a:r>
              <a:rPr lang="fr-FR" dirty="0" smtClean="0">
                <a:solidFill>
                  <a:schemeClr val="tx1"/>
                </a:solidFill>
                <a:latin typeface="Enedis" pitchFamily="2" charset="0"/>
              </a:rPr>
              <a:t>Le mécanisme de </a:t>
            </a:r>
            <a:r>
              <a:rPr lang="fr-FR" b="1" dirty="0" smtClean="0">
                <a:solidFill>
                  <a:schemeClr val="tx1"/>
                </a:solidFill>
                <a:latin typeface="Enedis" pitchFamily="2" charset="0"/>
              </a:rPr>
              <a:t>réfaction majorée </a:t>
            </a:r>
            <a:r>
              <a:rPr lang="fr-FR" dirty="0" smtClean="0">
                <a:solidFill>
                  <a:schemeClr val="tx1"/>
                </a:solidFill>
                <a:latin typeface="Enedis" pitchFamily="2" charset="0"/>
              </a:rPr>
              <a:t>a été </a:t>
            </a:r>
            <a:r>
              <a:rPr lang="fr-FR" b="1" dirty="0" smtClean="0">
                <a:solidFill>
                  <a:schemeClr val="tx1"/>
                </a:solidFill>
                <a:latin typeface="Enedis" pitchFamily="2" charset="0"/>
              </a:rPr>
              <a:t>testé</a:t>
            </a:r>
            <a:r>
              <a:rPr lang="fr-FR" dirty="0" smtClean="0">
                <a:solidFill>
                  <a:schemeClr val="tx1"/>
                </a:solidFill>
                <a:latin typeface="Enedis" pitchFamily="2" charset="0"/>
              </a:rPr>
              <a:t> </a:t>
            </a:r>
            <a:r>
              <a:rPr lang="fr-FR" dirty="0" smtClean="0">
                <a:solidFill>
                  <a:schemeClr val="tx1"/>
                </a:solidFill>
                <a:latin typeface="Enedis" pitchFamily="2" charset="0"/>
              </a:rPr>
              <a:t>pour la phase 1 de l’équipement des autoroutes. Il était prévu pour un maximum de </a:t>
            </a:r>
            <a:r>
              <a:rPr lang="fr-FR" b="1" dirty="0" smtClean="0">
                <a:solidFill>
                  <a:schemeClr val="tx1"/>
                </a:solidFill>
                <a:latin typeface="Enedis" pitchFamily="2" charset="0"/>
              </a:rPr>
              <a:t>5 MW</a:t>
            </a:r>
            <a:r>
              <a:rPr lang="fr-FR" dirty="0" smtClean="0">
                <a:solidFill>
                  <a:schemeClr val="tx1"/>
                </a:solidFill>
                <a:latin typeface="Enedis" pitchFamily="2" charset="0"/>
              </a:rPr>
              <a:t>, les demandes ont été en moyenne de </a:t>
            </a:r>
            <a:r>
              <a:rPr lang="fr-FR" b="1" dirty="0" smtClean="0">
                <a:solidFill>
                  <a:schemeClr val="tx1"/>
                </a:solidFill>
                <a:latin typeface="Enedis" pitchFamily="2" charset="0"/>
              </a:rPr>
              <a:t>1,8MW</a:t>
            </a:r>
            <a:r>
              <a:rPr lang="fr-FR" dirty="0" smtClean="0">
                <a:solidFill>
                  <a:schemeClr val="tx1"/>
                </a:solidFill>
                <a:latin typeface="Enedis" pitchFamily="2" charset="0"/>
              </a:rPr>
              <a:t>. Les acteurs ont préféré réduire leur investissement que prendre un temps d’avance.</a:t>
            </a:r>
            <a:endParaRPr lang="fr-FR" dirty="0">
              <a:solidFill>
                <a:schemeClr val="tx1"/>
              </a:solidFill>
              <a:latin typeface="Enedis" pitchFamily="2" charset="0"/>
            </a:endParaRPr>
          </a:p>
          <a:p>
            <a:pPr lvl="2">
              <a:spcBef>
                <a:spcPts val="1200"/>
              </a:spcBef>
            </a:pPr>
            <a:r>
              <a:rPr lang="fr-FR" dirty="0" smtClean="0">
                <a:solidFill>
                  <a:schemeClr val="tx1"/>
                </a:solidFill>
                <a:latin typeface="Enedis" pitchFamily="2" charset="0"/>
              </a:rPr>
              <a:t>D’autres acteurs, comme les </a:t>
            </a:r>
            <a:r>
              <a:rPr lang="fr-FR" b="1" dirty="0" smtClean="0">
                <a:solidFill>
                  <a:schemeClr val="tx1"/>
                </a:solidFill>
                <a:latin typeface="Enedis" pitchFamily="2" charset="0"/>
              </a:rPr>
              <a:t>producteurs ENR</a:t>
            </a:r>
            <a:r>
              <a:rPr lang="fr-FR" dirty="0" smtClean="0">
                <a:solidFill>
                  <a:schemeClr val="tx1"/>
                </a:solidFill>
                <a:latin typeface="Enedis" pitchFamily="2" charset="0"/>
              </a:rPr>
              <a:t>, </a:t>
            </a:r>
            <a:r>
              <a:rPr lang="fr-FR" dirty="0" smtClean="0">
                <a:solidFill>
                  <a:schemeClr val="tx1"/>
                </a:solidFill>
                <a:latin typeface="Enedis" pitchFamily="2" charset="0"/>
              </a:rPr>
              <a:t>les </a:t>
            </a:r>
            <a:r>
              <a:rPr lang="fr-FR" b="1" dirty="0" smtClean="0">
                <a:solidFill>
                  <a:schemeClr val="tx1"/>
                </a:solidFill>
                <a:latin typeface="Enedis" pitchFamily="2" charset="0"/>
              </a:rPr>
              <a:t>industriels </a:t>
            </a:r>
            <a:r>
              <a:rPr lang="fr-FR" dirty="0" smtClean="0">
                <a:solidFill>
                  <a:schemeClr val="tx1"/>
                </a:solidFill>
                <a:latin typeface="Enedis" pitchFamily="2" charset="0"/>
              </a:rPr>
              <a:t>qui doivent électrifier leurs </a:t>
            </a:r>
            <a:r>
              <a:rPr lang="fr-FR" dirty="0" err="1" smtClean="0">
                <a:solidFill>
                  <a:schemeClr val="tx1"/>
                </a:solidFill>
                <a:latin typeface="Enedis" pitchFamily="2" charset="0"/>
              </a:rPr>
              <a:t>process</a:t>
            </a:r>
            <a:r>
              <a:rPr lang="fr-FR" dirty="0" smtClean="0">
                <a:solidFill>
                  <a:schemeClr val="tx1"/>
                </a:solidFill>
                <a:latin typeface="Enedis" pitchFamily="2" charset="0"/>
              </a:rPr>
              <a:t>, </a:t>
            </a:r>
            <a:r>
              <a:rPr lang="fr-FR" dirty="0" smtClean="0">
                <a:solidFill>
                  <a:schemeClr val="tx1"/>
                </a:solidFill>
                <a:latin typeface="Enedis" pitchFamily="2" charset="0"/>
              </a:rPr>
              <a:t>les ports… sont également stratégiques pour la transition écologique et pour autant </a:t>
            </a:r>
            <a:r>
              <a:rPr lang="fr-FR" b="1" dirty="0" smtClean="0">
                <a:solidFill>
                  <a:schemeClr val="tx1"/>
                </a:solidFill>
                <a:latin typeface="Enedis" pitchFamily="2" charset="0"/>
              </a:rPr>
              <a:t>ne bénéficient pas de réfaction majorée</a:t>
            </a:r>
            <a:r>
              <a:rPr lang="fr-FR" dirty="0" smtClean="0">
                <a:solidFill>
                  <a:schemeClr val="tx1"/>
                </a:solidFill>
                <a:latin typeface="Enedis" pitchFamily="2" charset="0"/>
              </a:rPr>
              <a:t>.</a:t>
            </a:r>
            <a:endParaRPr lang="fr-FR" dirty="0" smtClean="0">
              <a:solidFill>
                <a:schemeClr val="tx1"/>
              </a:solidFill>
              <a:latin typeface="Enedis" pitchFamily="2" charset="0"/>
            </a:endParaRPr>
          </a:p>
        </p:txBody>
      </p:sp>
      <p:sp>
        <p:nvSpPr>
          <p:cNvPr id="8" name="Espace réservé du numéro de diapositive 2"/>
          <p:cNvSpPr>
            <a:spLocks noGrp="1"/>
          </p:cNvSpPr>
          <p:nvPr>
            <p:ph type="sldNum" sz="quarter" idx="4294967295"/>
          </p:nvPr>
        </p:nvSpPr>
        <p:spPr>
          <a:xfrm>
            <a:off x="11488261" y="6514718"/>
            <a:ext cx="465150" cy="154849"/>
          </a:xfrm>
          <a:prstGeom prst="rect">
            <a:avLst/>
          </a:prstGeom>
        </p:spPr>
        <p:txBody>
          <a:bodyPr vert="horz" lIns="0" tIns="0" rIns="0" bIns="0" rtlCol="0" anchor="ctr"/>
          <a:lstStyle/>
          <a:p>
            <a:pPr algn="r"/>
            <a:fld id="{6B54B0F7-55DD-40D6-B7F4-70B586885C0B}" type="slidenum">
              <a:rPr lang="fr-FR" sz="1000" b="1">
                <a:solidFill>
                  <a:schemeClr val="tx2"/>
                </a:solidFill>
                <a:latin typeface="+mj-lt"/>
              </a:rPr>
              <a:pPr algn="r"/>
              <a:t>19</a:t>
            </a:fld>
            <a:endParaRPr lang="fr-FR" sz="1000" b="1" dirty="0">
              <a:solidFill>
                <a:schemeClr val="tx2"/>
              </a:solidFill>
              <a:latin typeface="+mj-lt"/>
            </a:endParaRPr>
          </a:p>
        </p:txBody>
      </p:sp>
      <p:sp>
        <p:nvSpPr>
          <p:cNvPr id="9" name="Espace réservé du texte 6"/>
          <p:cNvSpPr txBox="1">
            <a:spLocks/>
          </p:cNvSpPr>
          <p:nvPr/>
        </p:nvSpPr>
        <p:spPr>
          <a:xfrm>
            <a:off x="587829" y="5143751"/>
            <a:ext cx="11103427" cy="1181686"/>
          </a:xfrm>
          <a:prstGeom prst="rect">
            <a:avLst/>
          </a:prstGeom>
          <a:ln w="38100">
            <a:solidFill>
              <a:srgbClr val="FF0000"/>
            </a:solidFill>
          </a:ln>
        </p:spPr>
        <p:txBody>
          <a:bodyPr vert="horz" lIns="0" tIns="0" rIns="0" bIns="0" rtlCol="0" anchor="ctr" anchorCtr="0">
            <a:noAutofit/>
          </a:bodyPr>
          <a:lstStyle>
            <a:lvl1pPr marL="0" indent="0" algn="l" defTabSz="914377" rtl="0" eaLnBrk="1" latinLnBrk="0" hangingPunct="1">
              <a:lnSpc>
                <a:spcPct val="90000"/>
              </a:lnSpc>
              <a:spcBef>
                <a:spcPts val="600"/>
              </a:spcBef>
              <a:buFont typeface="Arial" panose="020B0604020202020204" pitchFamily="34" charset="0"/>
              <a:buNone/>
              <a:defRPr sz="1600" kern="1200">
                <a:solidFill>
                  <a:schemeClr val="tx2"/>
                </a:solidFill>
                <a:latin typeface="Enedis Medium" pitchFamily="2" charset="0"/>
                <a:ea typeface="+mn-ea"/>
                <a:cs typeface="+mn-cs"/>
              </a:defRPr>
            </a:lvl1pPr>
            <a:lvl2pPr marL="0" indent="0" algn="l" defTabSz="914377" rtl="0" eaLnBrk="1" latinLnBrk="0" hangingPunct="1">
              <a:lnSpc>
                <a:spcPct val="90000"/>
              </a:lnSpc>
              <a:spcBef>
                <a:spcPts val="300"/>
              </a:spcBef>
              <a:buClr>
                <a:schemeClr val="tx2"/>
              </a:buClr>
              <a:buSzPct val="120000"/>
              <a:buFont typeface="Public Sans" pitchFamily="2" charset="0"/>
              <a:buNone/>
              <a:defRPr sz="1600" b="0" kern="1200">
                <a:solidFill>
                  <a:schemeClr val="tx1">
                    <a:lumMod val="75000"/>
                    <a:lumOff val="25000"/>
                  </a:schemeClr>
                </a:solidFill>
                <a:latin typeface="+mn-lt"/>
                <a:ea typeface="+mn-ea"/>
                <a:cs typeface="+mn-cs"/>
              </a:defRPr>
            </a:lvl2pPr>
            <a:lvl3pPr marL="261938" indent="-174625" algn="l" defTabSz="914377" rtl="0" eaLnBrk="1" latinLnBrk="0" hangingPunct="1">
              <a:lnSpc>
                <a:spcPct val="90000"/>
              </a:lnSpc>
              <a:spcBef>
                <a:spcPts val="200"/>
              </a:spcBef>
              <a:buFont typeface="Wingdings" panose="05000000000000000000" pitchFamily="2" charset="2"/>
              <a:buChar char="§"/>
              <a:defRPr sz="1600" kern="1200">
                <a:solidFill>
                  <a:schemeClr val="tx1">
                    <a:lumMod val="75000"/>
                    <a:lumOff val="25000"/>
                  </a:schemeClr>
                </a:solidFill>
                <a:latin typeface="+mn-lt"/>
                <a:ea typeface="+mn-ea"/>
                <a:cs typeface="+mn-cs"/>
              </a:defRPr>
            </a:lvl3pPr>
            <a:lvl4pPr marL="363538" indent="0" algn="l" defTabSz="914377" rtl="0" eaLnBrk="1" latinLnBrk="0" hangingPunct="1">
              <a:lnSpc>
                <a:spcPct val="90000"/>
              </a:lnSpc>
              <a:spcBef>
                <a:spcPts val="200"/>
              </a:spcBef>
              <a:buFont typeface="Arial" panose="020B0604020202020204" pitchFamily="34" charset="0"/>
              <a:buNone/>
              <a:defRPr sz="1400" kern="1200">
                <a:solidFill>
                  <a:schemeClr val="tx1">
                    <a:lumMod val="75000"/>
                    <a:lumOff val="25000"/>
                  </a:schemeClr>
                </a:solidFill>
                <a:latin typeface="+mn-lt"/>
                <a:ea typeface="+mn-ea"/>
                <a:cs typeface="+mn-cs"/>
              </a:defRPr>
            </a:lvl4pPr>
            <a:lvl5pPr marL="363538" indent="0" algn="l" defTabSz="914377" rtl="0" eaLnBrk="1" latinLnBrk="0" hangingPunct="1">
              <a:lnSpc>
                <a:spcPct val="90000"/>
              </a:lnSpc>
              <a:spcBef>
                <a:spcPts val="600"/>
              </a:spcBef>
              <a:buFont typeface="Arial" panose="020B0604020202020204" pitchFamily="34" charset="0"/>
              <a:buNone/>
              <a:defRPr sz="1200" kern="1200">
                <a:solidFill>
                  <a:schemeClr val="tx2"/>
                </a:solidFill>
                <a:latin typeface="+mn-lt"/>
                <a:ea typeface="+mn-ea"/>
                <a:cs typeface="+mn-cs"/>
              </a:defRPr>
            </a:lvl5pPr>
            <a:lvl6pPr marL="536575" indent="-171450" algn="l" defTabSz="914377" rtl="0" eaLnBrk="1" latinLnBrk="0" hangingPunct="1">
              <a:lnSpc>
                <a:spcPct val="90000"/>
              </a:lnSpc>
              <a:spcBef>
                <a:spcPts val="300"/>
              </a:spcBef>
              <a:buFont typeface="Wingdings" panose="05000000000000000000" pitchFamily="2" charset="2"/>
              <a:buChar char="ü"/>
              <a:defRPr sz="1200" i="1" kern="1200">
                <a:solidFill>
                  <a:schemeClr val="tx1">
                    <a:lumMod val="75000"/>
                    <a:lumOff val="25000"/>
                  </a:schemeClr>
                </a:solidFill>
                <a:latin typeface="Enedis Light" pitchFamily="2" charset="0"/>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1200"/>
              </a:spcBef>
            </a:pPr>
            <a:r>
              <a:rPr lang="fr-FR" sz="2400" b="1" dirty="0" smtClean="0">
                <a:latin typeface="Enedis" pitchFamily="2" charset="0"/>
              </a:rPr>
              <a:t>Plutôt qu’une aide pour prendre en charge une partie des coûts, il paraît plus adapté de mettre en place un mécanisme permettant d’anticiper et de répartir les coûts sur toutes les aires via un « forfait » au MW</a:t>
            </a:r>
          </a:p>
        </p:txBody>
      </p:sp>
    </p:spTree>
    <p:extLst>
      <p:ext uri="{BB962C8B-B14F-4D97-AF65-F5344CB8AC3E}">
        <p14:creationId xmlns:p14="http://schemas.microsoft.com/office/powerpoint/2010/main" val="188243887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6789552" y="1564203"/>
            <a:ext cx="5058894" cy="2683807"/>
          </a:xfrm>
          <a:prstGeom prst="rect">
            <a:avLst/>
          </a:prstGeom>
          <a:solidFill>
            <a:schemeClr val="bg1"/>
          </a:solidFill>
          <a:effectLst>
            <a:outerShdw blurRad="50800" dist="76200" dir="2700000" algn="tl" rotWithShape="0">
              <a:prstClr val="black">
                <a:alpha val="40000"/>
              </a:prstClr>
            </a:outerShdw>
          </a:effectLst>
        </p:spPr>
      </p:pic>
      <p:sp>
        <p:nvSpPr>
          <p:cNvPr id="4" name="Titre 3"/>
          <p:cNvSpPr>
            <a:spLocks noGrp="1"/>
          </p:cNvSpPr>
          <p:nvPr>
            <p:ph type="title"/>
          </p:nvPr>
        </p:nvSpPr>
        <p:spPr>
          <a:xfrm>
            <a:off x="499339" y="393701"/>
            <a:ext cx="11175540" cy="620426"/>
          </a:xfrm>
        </p:spPr>
        <p:txBody>
          <a:bodyPr/>
          <a:lstStyle/>
          <a:p>
            <a:r>
              <a:rPr lang="fr-FR" sz="2400" dirty="0" smtClean="0"/>
              <a:t>Les ventes de véhicules électriques s’accélèrent : en 2023 près d’une voiture neuve vendue sur 4 est électrique ou hybride rechargeable</a:t>
            </a:r>
            <a:endParaRPr lang="fr-FR" sz="2400" dirty="0"/>
          </a:p>
        </p:txBody>
      </p:sp>
      <p:sp>
        <p:nvSpPr>
          <p:cNvPr id="51" name="Espace réservé du texte 8"/>
          <p:cNvSpPr txBox="1">
            <a:spLocks/>
          </p:cNvSpPr>
          <p:nvPr/>
        </p:nvSpPr>
        <p:spPr>
          <a:xfrm>
            <a:off x="493391" y="1424825"/>
            <a:ext cx="3878745" cy="4886531"/>
          </a:xfrm>
          <a:prstGeom prst="rect">
            <a:avLst/>
          </a:prstGeom>
          <a:solidFill>
            <a:schemeClr val="bg1"/>
          </a:solidFill>
          <a:effectLst>
            <a:outerShdw blurRad="50800" dist="76200" dir="2700000" algn="tl" rotWithShape="0">
              <a:prstClr val="black">
                <a:alpha val="40000"/>
              </a:prstClr>
            </a:outerShdw>
          </a:effectLst>
        </p:spPr>
        <p:txBody>
          <a:bodyPr wrap="square">
            <a:noAutofit/>
          </a:bodyPr>
          <a:lstStyle>
            <a:lvl1pPr marL="0" indent="0" algn="l" defTabSz="914377" rtl="0" eaLnBrk="1" latinLnBrk="0" hangingPunct="1">
              <a:lnSpc>
                <a:spcPct val="101000"/>
              </a:lnSpc>
              <a:spcBef>
                <a:spcPts val="0"/>
              </a:spcBef>
              <a:buFont typeface="Arial" panose="020B0604020202020204" pitchFamily="34" charset="0"/>
              <a:buNone/>
              <a:defRPr sz="1200" kern="1200">
                <a:solidFill>
                  <a:schemeClr val="tx1"/>
                </a:solidFill>
                <a:latin typeface="+mn-lt"/>
                <a:ea typeface="+mn-ea"/>
                <a:cs typeface="+mn-cs"/>
              </a:defRPr>
            </a:lvl1pPr>
            <a:lvl2pPr marL="216000" indent="-216000" algn="l" defTabSz="914377" rtl="0" eaLnBrk="1" latinLnBrk="0" hangingPunct="1">
              <a:lnSpc>
                <a:spcPct val="101000"/>
              </a:lnSpc>
              <a:spcBef>
                <a:spcPts val="0"/>
              </a:spcBef>
              <a:buClr>
                <a:schemeClr val="tx2"/>
              </a:buClr>
              <a:buSzPct val="120000"/>
              <a:buFont typeface="Public Sans" pitchFamily="2" charset="0"/>
              <a:buChar char="—"/>
              <a:defRPr sz="1200" b="1" kern="1200">
                <a:solidFill>
                  <a:schemeClr val="tx2"/>
                </a:solidFill>
                <a:latin typeface="Public Sans" pitchFamily="2" charset="0"/>
                <a:ea typeface="+mn-ea"/>
                <a:cs typeface="+mn-cs"/>
              </a:defRPr>
            </a:lvl2pPr>
            <a:lvl3pPr marL="576000" indent="-108000" algn="l" defTabSz="914377" rtl="0" eaLnBrk="1" latinLnBrk="0" hangingPunct="1">
              <a:lnSpc>
                <a:spcPct val="101000"/>
              </a:lnSpc>
              <a:spcBef>
                <a:spcPts val="0"/>
              </a:spcBef>
              <a:buFont typeface="Arial" panose="020B0604020202020204" pitchFamily="34" charset="0"/>
              <a:buChar char="-"/>
              <a:defRPr sz="1200" kern="1200">
                <a:solidFill>
                  <a:schemeClr val="tx1"/>
                </a:solidFill>
                <a:latin typeface="Public Sans" pitchFamily="2" charset="0"/>
                <a:ea typeface="+mn-ea"/>
                <a:cs typeface="+mn-cs"/>
              </a:defRPr>
            </a:lvl3pPr>
            <a:lvl4pPr marL="1152000" indent="-216000" algn="l" defTabSz="914377" rtl="0" eaLnBrk="1" latinLnBrk="0" hangingPunct="1">
              <a:lnSpc>
                <a:spcPct val="101000"/>
              </a:lnSpc>
              <a:spcBef>
                <a:spcPts val="0"/>
              </a:spcBef>
              <a:buFont typeface="Arial" panose="020B0604020202020204" pitchFamily="34" charset="0"/>
              <a:buChar char="•"/>
              <a:defRPr sz="1100" kern="1200">
                <a:solidFill>
                  <a:schemeClr val="tx1"/>
                </a:solidFill>
                <a:latin typeface="+mn-lt"/>
                <a:ea typeface="+mn-ea"/>
                <a:cs typeface="+mn-cs"/>
              </a:defRPr>
            </a:lvl4pPr>
            <a:lvl5pPr marL="0" indent="0" algn="l" defTabSz="914377" rtl="0" eaLnBrk="1" latinLnBrk="0" hangingPunct="1">
              <a:lnSpc>
                <a:spcPct val="101000"/>
              </a:lnSpc>
              <a:spcBef>
                <a:spcPts val="0"/>
              </a:spcBef>
              <a:buFont typeface="Arial" panose="020B0604020202020204" pitchFamily="34" charset="0"/>
              <a:buNone/>
              <a:defRPr sz="1600" kern="1200">
                <a:solidFill>
                  <a:schemeClr val="tx2"/>
                </a:solidFill>
                <a:latin typeface="+mj-lt"/>
                <a:ea typeface="+mn-ea"/>
                <a:cs typeface="+mn-cs"/>
              </a:defRPr>
            </a:lvl5pPr>
            <a:lvl6pPr marL="0" indent="0" algn="l" defTabSz="914377" rtl="0" eaLnBrk="1" latinLnBrk="0" hangingPunct="1">
              <a:lnSpc>
                <a:spcPct val="101000"/>
              </a:lnSpc>
              <a:spcBef>
                <a:spcPts val="0"/>
              </a:spcBef>
              <a:buFont typeface="Arial" panose="020B0604020202020204" pitchFamily="34" charset="0"/>
              <a:buNone/>
              <a:defRPr sz="600" i="1" kern="1200">
                <a:solidFill>
                  <a:schemeClr val="tx1"/>
                </a:solidFill>
                <a:latin typeface="Public Sans" pitchFamily="2" charset="0"/>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Aft>
                <a:spcPts val="600"/>
              </a:spcAft>
              <a:buClr>
                <a:schemeClr val="tx2"/>
              </a:buClr>
              <a:buFont typeface="Wingdings" panose="05000000000000000000" pitchFamily="2" charset="2"/>
              <a:buChar char="q"/>
            </a:pPr>
            <a:r>
              <a:rPr lang="fr-FR" b="1" dirty="0" smtClean="0">
                <a:latin typeface="+mj-lt"/>
              </a:rPr>
              <a:t>Fin 2023</a:t>
            </a:r>
            <a:r>
              <a:rPr lang="fr-FR" dirty="0" smtClean="0">
                <a:latin typeface="+mj-lt"/>
              </a:rPr>
              <a:t>, on dénombrait </a:t>
            </a:r>
            <a:r>
              <a:rPr lang="fr-FR" b="1" dirty="0" smtClean="0">
                <a:latin typeface="+mj-lt"/>
              </a:rPr>
              <a:t>1.6 millions de véhicules électriques et hybrides rechargeables </a:t>
            </a:r>
            <a:r>
              <a:rPr lang="fr-FR" dirty="0" smtClean="0">
                <a:latin typeface="+mj-lt"/>
              </a:rPr>
              <a:t>en France, contre 1.1 fin 2022 (+45%)</a:t>
            </a:r>
          </a:p>
          <a:p>
            <a:pPr marL="285750" indent="-285750">
              <a:spcAft>
                <a:spcPts val="600"/>
              </a:spcAft>
              <a:buClr>
                <a:schemeClr val="tx2"/>
              </a:buClr>
              <a:buFont typeface="Wingdings" panose="05000000000000000000" pitchFamily="2" charset="2"/>
              <a:buChar char="q"/>
            </a:pPr>
            <a:r>
              <a:rPr lang="fr-FR" dirty="0" smtClean="0">
                <a:latin typeface="+mj-lt"/>
              </a:rPr>
              <a:t>En 2023, près </a:t>
            </a:r>
            <a:r>
              <a:rPr lang="fr-FR" b="1" dirty="0" smtClean="0">
                <a:latin typeface="+mj-lt"/>
              </a:rPr>
              <a:t>d’une </a:t>
            </a:r>
            <a:r>
              <a:rPr lang="fr-FR" b="1" dirty="0">
                <a:latin typeface="+mj-lt"/>
              </a:rPr>
              <a:t>voiture neuve vendue sur </a:t>
            </a:r>
            <a:r>
              <a:rPr lang="fr-FR" b="1" dirty="0" smtClean="0">
                <a:latin typeface="+mj-lt"/>
              </a:rPr>
              <a:t>4</a:t>
            </a:r>
            <a:r>
              <a:rPr lang="fr-FR" dirty="0" smtClean="0">
                <a:latin typeface="+mj-lt"/>
              </a:rPr>
              <a:t> </a:t>
            </a:r>
            <a:r>
              <a:rPr lang="fr-FR" dirty="0">
                <a:latin typeface="+mj-lt"/>
              </a:rPr>
              <a:t>est </a:t>
            </a:r>
            <a:r>
              <a:rPr lang="fr-FR" b="1" dirty="0">
                <a:latin typeface="+mj-lt"/>
              </a:rPr>
              <a:t>électrique</a:t>
            </a:r>
            <a:r>
              <a:rPr lang="fr-FR" dirty="0">
                <a:latin typeface="+mj-lt"/>
              </a:rPr>
              <a:t> ou hybride rechargeable</a:t>
            </a:r>
          </a:p>
          <a:p>
            <a:pPr marL="285750" indent="-285750">
              <a:spcAft>
                <a:spcPts val="600"/>
              </a:spcAft>
              <a:buClr>
                <a:schemeClr val="tx2"/>
              </a:buClr>
              <a:buFont typeface="Wingdings" panose="05000000000000000000" pitchFamily="2" charset="2"/>
              <a:buChar char="q"/>
            </a:pPr>
            <a:r>
              <a:rPr lang="fr-FR" dirty="0" smtClean="0">
                <a:latin typeface="+mj-lt"/>
              </a:rPr>
              <a:t>Les ventes de véhicules électrique suivent une </a:t>
            </a:r>
            <a:r>
              <a:rPr lang="fr-FR" b="1" dirty="0" smtClean="0">
                <a:latin typeface="+mj-lt"/>
              </a:rPr>
              <a:t>trajectoire en avance d’une année </a:t>
            </a:r>
            <a:r>
              <a:rPr lang="fr-FR" dirty="0" smtClean="0">
                <a:latin typeface="+mj-lt"/>
              </a:rPr>
              <a:t>sur les prévisions </a:t>
            </a:r>
            <a:r>
              <a:rPr lang="fr-FR" b="1" dirty="0" smtClean="0">
                <a:latin typeface="+mj-lt"/>
              </a:rPr>
              <a:t>PPE</a:t>
            </a:r>
          </a:p>
          <a:p>
            <a:pPr marL="285750" indent="-285750">
              <a:spcAft>
                <a:spcPts val="600"/>
              </a:spcAft>
              <a:buClr>
                <a:schemeClr val="tx2"/>
              </a:buClr>
              <a:buFont typeface="Wingdings" panose="05000000000000000000" pitchFamily="2" charset="2"/>
              <a:buChar char="q"/>
            </a:pPr>
            <a:r>
              <a:rPr lang="fr-FR" i="1" u="sng" dirty="0" smtClean="0">
                <a:latin typeface="+mj-lt"/>
              </a:rPr>
              <a:t>Pour </a:t>
            </a:r>
            <a:r>
              <a:rPr lang="fr-FR" i="1" u="sng" dirty="0">
                <a:latin typeface="+mj-lt"/>
              </a:rPr>
              <a:t>rappel</a:t>
            </a:r>
            <a:r>
              <a:rPr lang="fr-FR" i="1" dirty="0">
                <a:latin typeface="+mj-lt"/>
              </a:rPr>
              <a:t> </a:t>
            </a:r>
            <a:r>
              <a:rPr lang="fr-FR" dirty="0" smtClean="0">
                <a:latin typeface="+mj-lt"/>
              </a:rPr>
              <a:t>:</a:t>
            </a:r>
          </a:p>
          <a:p>
            <a:pPr marL="541338" indent="-200025">
              <a:spcAft>
                <a:spcPts val="600"/>
              </a:spcAft>
              <a:buClr>
                <a:schemeClr val="tx2"/>
              </a:buClr>
              <a:buFont typeface="Wingdings" panose="05000000000000000000" pitchFamily="2" charset="2"/>
              <a:buChar char="ü"/>
            </a:pPr>
            <a:r>
              <a:rPr lang="fr-FR" sz="1100" dirty="0" smtClean="0">
                <a:latin typeface="+mj-lt"/>
              </a:rPr>
              <a:t>La </a:t>
            </a:r>
            <a:r>
              <a:rPr lang="fr-FR" sz="1100" b="1" dirty="0">
                <a:latin typeface="+mj-lt"/>
              </a:rPr>
              <a:t>régulation européenne </a:t>
            </a:r>
            <a:r>
              <a:rPr lang="fr-FR" sz="1100" dirty="0">
                <a:latin typeface="+mj-lt"/>
              </a:rPr>
              <a:t>contraignante sur les </a:t>
            </a:r>
            <a:r>
              <a:rPr lang="fr-FR" sz="1100" b="1" dirty="0">
                <a:latin typeface="+mj-lt"/>
              </a:rPr>
              <a:t>95gCO2/km </a:t>
            </a:r>
            <a:r>
              <a:rPr lang="fr-FR" sz="1100" dirty="0">
                <a:latin typeface="+mj-lt"/>
              </a:rPr>
              <a:t>entrée en vigueur </a:t>
            </a:r>
            <a:r>
              <a:rPr lang="fr-FR" sz="1100" b="1" dirty="0">
                <a:latin typeface="+mj-lt"/>
              </a:rPr>
              <a:t>fin 2019 </a:t>
            </a:r>
            <a:r>
              <a:rPr lang="fr-FR" sz="1100" dirty="0">
                <a:latin typeface="+mj-lt"/>
              </a:rPr>
              <a:t>a marqué</a:t>
            </a:r>
            <a:r>
              <a:rPr lang="fr-FR" sz="1100" b="1" dirty="0">
                <a:latin typeface="+mj-lt"/>
              </a:rPr>
              <a:t> un tournant : </a:t>
            </a:r>
            <a:r>
              <a:rPr lang="fr-FR" sz="1100" dirty="0">
                <a:latin typeface="+mj-lt"/>
              </a:rPr>
              <a:t>le </a:t>
            </a:r>
            <a:r>
              <a:rPr lang="fr-FR" sz="1100" b="1" dirty="0">
                <a:latin typeface="+mj-lt"/>
              </a:rPr>
              <a:t>marché</a:t>
            </a:r>
            <a:r>
              <a:rPr lang="fr-FR" sz="1100" dirty="0">
                <a:latin typeface="+mj-lt"/>
              </a:rPr>
              <a:t> </a:t>
            </a:r>
            <a:r>
              <a:rPr lang="fr-FR" sz="1100" b="1" dirty="0">
                <a:latin typeface="+mj-lt"/>
              </a:rPr>
              <a:t>a décollé en </a:t>
            </a:r>
            <a:r>
              <a:rPr lang="fr-FR" sz="1100" b="1" dirty="0" smtClean="0">
                <a:latin typeface="+mj-lt"/>
              </a:rPr>
              <a:t>2020</a:t>
            </a:r>
            <a:endParaRPr lang="fr-FR" sz="1100" dirty="0">
              <a:latin typeface="+mj-lt"/>
            </a:endParaRPr>
          </a:p>
          <a:p>
            <a:pPr marL="541338" indent="-200025">
              <a:spcAft>
                <a:spcPts val="600"/>
              </a:spcAft>
              <a:buClr>
                <a:schemeClr val="tx2"/>
              </a:buClr>
              <a:buFont typeface="Wingdings" panose="05000000000000000000" pitchFamily="2" charset="2"/>
              <a:buChar char="ü"/>
            </a:pPr>
            <a:r>
              <a:rPr lang="fr-FR" sz="1100" dirty="0" smtClean="0">
                <a:latin typeface="+mj-lt"/>
              </a:rPr>
              <a:t>Nouveau package européen </a:t>
            </a:r>
            <a:r>
              <a:rPr lang="fr-FR" sz="1100" b="1" dirty="0" smtClean="0">
                <a:latin typeface="+mj-lt"/>
              </a:rPr>
              <a:t>Fit For 55 publié le 14 juillet 2021 et adopté par le parlement Européen puis par le Conseil Européen </a:t>
            </a:r>
            <a:r>
              <a:rPr lang="fr-FR" sz="1100" dirty="0" smtClean="0">
                <a:latin typeface="+mj-lt"/>
              </a:rPr>
              <a:t>au printemps 2022 --&gt; interdiction de ventes de moteurs thermiques en Europe à compter de 2035 – contre 2040 auparavant</a:t>
            </a:r>
          </a:p>
          <a:p>
            <a:pPr marL="541338" indent="-200025">
              <a:spcAft>
                <a:spcPts val="600"/>
              </a:spcAft>
              <a:buClr>
                <a:schemeClr val="tx2"/>
              </a:buClr>
              <a:buFont typeface="Wingdings" panose="05000000000000000000" pitchFamily="2" charset="2"/>
              <a:buChar char="ü"/>
            </a:pPr>
            <a:r>
              <a:rPr lang="fr-FR" sz="1100" dirty="0" smtClean="0">
                <a:latin typeface="+mj-lt"/>
              </a:rPr>
              <a:t>Les </a:t>
            </a:r>
            <a:r>
              <a:rPr lang="fr-FR" sz="1100" b="1" dirty="0" smtClean="0">
                <a:latin typeface="+mj-lt"/>
              </a:rPr>
              <a:t>constructeurs </a:t>
            </a:r>
            <a:r>
              <a:rPr lang="fr-FR" sz="1100" dirty="0" smtClean="0">
                <a:latin typeface="+mj-lt"/>
              </a:rPr>
              <a:t>ont quasiment tous annoncé que </a:t>
            </a:r>
            <a:r>
              <a:rPr lang="fr-FR" sz="1100" b="1" dirty="0" smtClean="0">
                <a:latin typeface="+mj-lt"/>
              </a:rPr>
              <a:t>dès 2030 </a:t>
            </a:r>
            <a:r>
              <a:rPr lang="fr-FR" sz="1100" dirty="0" smtClean="0">
                <a:latin typeface="+mj-lt"/>
              </a:rPr>
              <a:t>– voire même avant – leur catalogue serait exclusivement électrique</a:t>
            </a:r>
          </a:p>
        </p:txBody>
      </p:sp>
      <p:pic>
        <p:nvPicPr>
          <p:cNvPr id="59" name="Image 5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09743" y="1947010"/>
            <a:ext cx="1920006" cy="1080003"/>
          </a:xfrm>
          <a:prstGeom prst="rect">
            <a:avLst/>
          </a:prstGeom>
          <a:effectLst>
            <a:outerShdw blurRad="50800" dist="38100" dir="2700000" algn="tl" rotWithShape="0">
              <a:prstClr val="black">
                <a:alpha val="40000"/>
              </a:prstClr>
            </a:outerShdw>
          </a:effectLst>
        </p:spPr>
      </p:pic>
      <p:pic>
        <p:nvPicPr>
          <p:cNvPr id="60" name="Image 5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509743" y="1468572"/>
            <a:ext cx="1920006" cy="484345"/>
          </a:xfrm>
          <a:prstGeom prst="rect">
            <a:avLst/>
          </a:prstGeom>
          <a:effectLst>
            <a:outerShdw blurRad="50800" dist="38100" dir="2700000" algn="tl" rotWithShape="0">
              <a:prstClr val="black">
                <a:alpha val="40000"/>
              </a:prstClr>
            </a:outerShdw>
          </a:effectLst>
        </p:spPr>
      </p:pic>
      <p:pic>
        <p:nvPicPr>
          <p:cNvPr id="3" name="Image 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15545" y="2813774"/>
            <a:ext cx="2056446" cy="1440832"/>
          </a:xfrm>
          <a:prstGeom prst="rect">
            <a:avLst/>
          </a:prstGeom>
          <a:effectLst>
            <a:outerShdw blurRad="50800" dist="76200" dir="2700000" algn="tl" rotWithShape="0">
              <a:prstClr val="black">
                <a:alpha val="40000"/>
              </a:prstClr>
            </a:outerShdw>
          </a:effectLst>
        </p:spPr>
      </p:pic>
      <p:sp>
        <p:nvSpPr>
          <p:cNvPr id="10" name="ZoneTexte 9"/>
          <p:cNvSpPr txBox="1"/>
          <p:nvPr/>
        </p:nvSpPr>
        <p:spPr>
          <a:xfrm>
            <a:off x="8672053" y="1469717"/>
            <a:ext cx="2346758" cy="682238"/>
          </a:xfrm>
          <a:prstGeom prst="rect">
            <a:avLst/>
          </a:prstGeom>
          <a:solidFill>
            <a:schemeClr val="bg1"/>
          </a:solidFill>
        </p:spPr>
        <p:txBody>
          <a:bodyPr wrap="square" rtlCol="0">
            <a:spAutoFit/>
          </a:bodyPr>
          <a:lstStyle/>
          <a:p>
            <a:pPr lvl="0" defTabSz="914377">
              <a:lnSpc>
                <a:spcPct val="101000"/>
              </a:lnSpc>
              <a:spcAft>
                <a:spcPts val="600"/>
              </a:spcAft>
              <a:buClr>
                <a:srgbClr val="1423DC"/>
              </a:buClr>
            </a:pPr>
            <a:r>
              <a:rPr lang="fr-FR" sz="1200" b="1" dirty="0" smtClean="0">
                <a:solidFill>
                  <a:srgbClr val="EB6E3C"/>
                </a:solidFill>
                <a:latin typeface="Enedis"/>
              </a:rPr>
              <a:t>Evolution du parc de véhicules électriques en France</a:t>
            </a:r>
          </a:p>
          <a:p>
            <a:pPr lvl="0" defTabSz="914377">
              <a:lnSpc>
                <a:spcPct val="101000"/>
              </a:lnSpc>
              <a:spcAft>
                <a:spcPts val="600"/>
              </a:spcAft>
              <a:buClr>
                <a:srgbClr val="1423DC"/>
              </a:buClr>
            </a:pPr>
            <a:r>
              <a:rPr lang="fr-FR" sz="800" i="1" dirty="0" smtClean="0">
                <a:latin typeface="Enedis"/>
              </a:rPr>
              <a:t>Source : </a:t>
            </a:r>
            <a:r>
              <a:rPr lang="fr-FR" sz="800" i="1" dirty="0" err="1" smtClean="0">
                <a:latin typeface="Enedis"/>
              </a:rPr>
              <a:t>Avere</a:t>
            </a:r>
            <a:r>
              <a:rPr lang="fr-FR" sz="800" i="1" dirty="0" smtClean="0">
                <a:latin typeface="Enedis"/>
              </a:rPr>
              <a:t> France à fin décembre 2023</a:t>
            </a:r>
            <a:endParaRPr lang="fr-FR" sz="800" i="1" dirty="0">
              <a:latin typeface="Enedis"/>
            </a:endParaRPr>
          </a:p>
        </p:txBody>
      </p:sp>
      <p:grpSp>
        <p:nvGrpSpPr>
          <p:cNvPr id="16" name="Groupe 15"/>
          <p:cNvGrpSpPr/>
          <p:nvPr/>
        </p:nvGrpSpPr>
        <p:grpSpPr>
          <a:xfrm>
            <a:off x="6548596" y="1459212"/>
            <a:ext cx="1880531" cy="1156523"/>
            <a:chOff x="7051352" y="4702772"/>
            <a:chExt cx="2001713" cy="1669463"/>
          </a:xfrm>
          <a:effectLst>
            <a:outerShdw blurRad="50800" dist="76200" dir="5400000" algn="ctr" rotWithShape="0">
              <a:srgbClr val="000000">
                <a:alpha val="43137"/>
              </a:srgbClr>
            </a:outerShdw>
          </a:effectLst>
        </p:grpSpPr>
        <p:sp>
          <p:nvSpPr>
            <p:cNvPr id="17" name="Rectangle à coins arrondis 16"/>
            <p:cNvSpPr/>
            <p:nvPr/>
          </p:nvSpPr>
          <p:spPr>
            <a:xfrm>
              <a:off x="7051352" y="4702772"/>
              <a:ext cx="2001713" cy="1669463"/>
            </a:xfrm>
            <a:prstGeom prst="roundRect">
              <a:avLst>
                <a:gd name="adj" fmla="val 6309"/>
              </a:avLst>
            </a:prstGeom>
            <a:solidFill>
              <a:schemeClr val="bg1"/>
            </a:solidFill>
            <a:ln w="12700">
              <a:solidFill>
                <a:srgbClr val="FD8A0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a:endParaRPr lang="fr-FR" sz="1333" b="1" dirty="0">
                <a:solidFill>
                  <a:schemeClr val="accent1">
                    <a:lumMod val="50000"/>
                  </a:schemeClr>
                </a:solidFill>
                <a:latin typeface="+mj-lt"/>
              </a:endParaRPr>
            </a:p>
          </p:txBody>
        </p:sp>
        <p:sp>
          <p:nvSpPr>
            <p:cNvPr id="18" name="ZoneTexte 17"/>
            <p:cNvSpPr txBox="1"/>
            <p:nvPr/>
          </p:nvSpPr>
          <p:spPr>
            <a:xfrm>
              <a:off x="8566060" y="6070879"/>
              <a:ext cx="425676" cy="199926"/>
            </a:xfrm>
            <a:prstGeom prst="rect">
              <a:avLst/>
            </a:prstGeom>
            <a:noFill/>
          </p:spPr>
          <p:txBody>
            <a:bodyPr wrap="none" lIns="48000" tIns="0" rIns="48000" bIns="0" rtlCol="0">
              <a:spAutoFit/>
            </a:bodyPr>
            <a:lstStyle/>
            <a:p>
              <a:r>
                <a:rPr lang="fr-FR" sz="900" b="1" dirty="0">
                  <a:solidFill>
                    <a:schemeClr val="accent1">
                      <a:lumMod val="50000"/>
                    </a:schemeClr>
                  </a:solidFill>
                  <a:latin typeface="+mj-lt"/>
                </a:rPr>
                <a:t>2040</a:t>
              </a:r>
              <a:endParaRPr lang="fr-FR" sz="1000" b="1" dirty="0">
                <a:solidFill>
                  <a:schemeClr val="accent1">
                    <a:lumMod val="50000"/>
                  </a:schemeClr>
                </a:solidFill>
                <a:latin typeface="+mj-lt"/>
              </a:endParaRPr>
            </a:p>
          </p:txBody>
        </p:sp>
        <p:sp>
          <p:nvSpPr>
            <p:cNvPr id="19" name="ZoneTexte 18"/>
            <p:cNvSpPr txBox="1"/>
            <p:nvPr/>
          </p:nvSpPr>
          <p:spPr>
            <a:xfrm>
              <a:off x="7118258" y="6068325"/>
              <a:ext cx="420556" cy="199926"/>
            </a:xfrm>
            <a:prstGeom prst="rect">
              <a:avLst/>
            </a:prstGeom>
            <a:solidFill>
              <a:schemeClr val="bg1"/>
            </a:solidFill>
          </p:spPr>
          <p:txBody>
            <a:bodyPr wrap="none" lIns="48000" tIns="0" rIns="48000" bIns="0" rtlCol="0">
              <a:spAutoFit/>
            </a:bodyPr>
            <a:lstStyle/>
            <a:p>
              <a:r>
                <a:rPr lang="fr-FR" sz="900" b="1" dirty="0">
                  <a:solidFill>
                    <a:schemeClr val="accent1">
                      <a:lumMod val="50000"/>
                    </a:schemeClr>
                  </a:solidFill>
                  <a:latin typeface="+mj-lt"/>
                </a:rPr>
                <a:t>2035</a:t>
              </a:r>
              <a:endParaRPr lang="fr-FR" sz="1000" b="1" dirty="0">
                <a:solidFill>
                  <a:schemeClr val="accent1">
                    <a:lumMod val="50000"/>
                  </a:schemeClr>
                </a:solidFill>
                <a:latin typeface="+mj-lt"/>
              </a:endParaRPr>
            </a:p>
          </p:txBody>
        </p:sp>
        <p:sp>
          <p:nvSpPr>
            <p:cNvPr id="20" name="Flèche droite 19"/>
            <p:cNvSpPr/>
            <p:nvPr/>
          </p:nvSpPr>
          <p:spPr>
            <a:xfrm rot="10800000">
              <a:off x="7541859" y="6047276"/>
              <a:ext cx="970769" cy="244758"/>
            </a:xfrm>
            <a:prstGeom prst="rightArrow">
              <a:avLst/>
            </a:prstGeom>
            <a:solidFill>
              <a:srgbClr val="FD8A0B"/>
            </a:solidFill>
            <a:ln>
              <a:solidFill>
                <a:srgbClr val="FD8A0B"/>
              </a:solid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a:endParaRPr lang="fr-FR" sz="1333">
                <a:latin typeface="+mj-lt"/>
              </a:endParaRPr>
            </a:p>
          </p:txBody>
        </p:sp>
        <p:sp>
          <p:nvSpPr>
            <p:cNvPr id="21" name="Rectangle 20"/>
            <p:cNvSpPr/>
            <p:nvPr/>
          </p:nvSpPr>
          <p:spPr>
            <a:xfrm>
              <a:off x="7180348" y="5418594"/>
              <a:ext cx="1693789" cy="5246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a:r>
                <a:rPr lang="fr-FR" sz="1000" i="1" dirty="0">
                  <a:solidFill>
                    <a:schemeClr val="accent1">
                      <a:lumMod val="50000"/>
                    </a:schemeClr>
                  </a:solidFill>
                  <a:latin typeface="+mj-lt"/>
                </a:rPr>
                <a:t>EU « </a:t>
              </a:r>
              <a:r>
                <a:rPr lang="fr-FR" sz="1000" b="1" i="1" dirty="0">
                  <a:solidFill>
                    <a:schemeClr val="accent1">
                      <a:lumMod val="50000"/>
                    </a:schemeClr>
                  </a:solidFill>
                  <a:latin typeface="+mj-lt"/>
                </a:rPr>
                <a:t>Fit for 55 </a:t>
              </a:r>
              <a:r>
                <a:rPr lang="fr-FR" sz="1000" i="1" dirty="0">
                  <a:solidFill>
                    <a:schemeClr val="accent1">
                      <a:lumMod val="50000"/>
                    </a:schemeClr>
                  </a:solidFill>
                  <a:latin typeface="+mj-lt"/>
                </a:rPr>
                <a:t>»</a:t>
              </a:r>
            </a:p>
            <a:p>
              <a:pPr algn="ctr"/>
              <a:r>
                <a:rPr lang="fr-FR" sz="900" i="1" dirty="0">
                  <a:solidFill>
                    <a:schemeClr val="accent1">
                      <a:lumMod val="50000"/>
                    </a:schemeClr>
                  </a:solidFill>
                  <a:latin typeface="+mj-lt"/>
                </a:rPr>
                <a:t>14 juillet </a:t>
              </a:r>
              <a:r>
                <a:rPr lang="fr-FR" sz="900" i="1" dirty="0" smtClean="0">
                  <a:solidFill>
                    <a:schemeClr val="accent1">
                      <a:lumMod val="50000"/>
                    </a:schemeClr>
                  </a:solidFill>
                  <a:latin typeface="+mj-lt"/>
                </a:rPr>
                <a:t>2021</a:t>
              </a:r>
            </a:p>
            <a:p>
              <a:pPr algn="ctr"/>
              <a:r>
                <a:rPr lang="fr-FR" sz="900" i="1" dirty="0" smtClean="0">
                  <a:solidFill>
                    <a:schemeClr val="accent1">
                      <a:lumMod val="50000"/>
                    </a:schemeClr>
                  </a:solidFill>
                  <a:latin typeface="+mj-lt"/>
                </a:rPr>
                <a:t>adopté printemps 2022</a:t>
              </a:r>
              <a:endParaRPr lang="fr-FR" sz="900" i="1" dirty="0">
                <a:solidFill>
                  <a:schemeClr val="accent1">
                    <a:lumMod val="50000"/>
                  </a:schemeClr>
                </a:solidFill>
                <a:latin typeface="+mj-lt"/>
              </a:endParaRPr>
            </a:p>
          </p:txBody>
        </p:sp>
        <p:sp>
          <p:nvSpPr>
            <p:cNvPr id="22" name="Rectangle 21"/>
            <p:cNvSpPr/>
            <p:nvPr/>
          </p:nvSpPr>
          <p:spPr>
            <a:xfrm>
              <a:off x="7116227" y="4735374"/>
              <a:ext cx="1865557" cy="7090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ctr"/>
            <a:lstStyle/>
            <a:p>
              <a:pPr algn="ctr"/>
              <a:r>
                <a:rPr lang="fr-FR" sz="1000" b="1" dirty="0">
                  <a:solidFill>
                    <a:schemeClr val="accent1">
                      <a:lumMod val="50000"/>
                    </a:schemeClr>
                  </a:solidFill>
                  <a:latin typeface="+mj-lt"/>
                </a:rPr>
                <a:t>I</a:t>
              </a:r>
              <a:r>
                <a:rPr lang="fr-FR" sz="1000" b="1" dirty="0" smtClean="0">
                  <a:solidFill>
                    <a:schemeClr val="accent1">
                      <a:lumMod val="50000"/>
                    </a:schemeClr>
                  </a:solidFill>
                  <a:latin typeface="+mj-lt"/>
                </a:rPr>
                <a:t>nterdiction </a:t>
              </a:r>
              <a:r>
                <a:rPr lang="fr-FR" sz="1000" b="1" dirty="0">
                  <a:solidFill>
                    <a:schemeClr val="accent1">
                      <a:lumMod val="50000"/>
                    </a:schemeClr>
                  </a:solidFill>
                  <a:latin typeface="+mj-lt"/>
                </a:rPr>
                <a:t>des ventes de moteurs thermiques</a:t>
              </a:r>
            </a:p>
          </p:txBody>
        </p:sp>
      </p:grpSp>
      <p:sp>
        <p:nvSpPr>
          <p:cNvPr id="75" name="Rectangle 74"/>
          <p:cNvSpPr/>
          <p:nvPr/>
        </p:nvSpPr>
        <p:spPr>
          <a:xfrm>
            <a:off x="7778794" y="4764279"/>
            <a:ext cx="1015611" cy="520838"/>
          </a:xfrm>
          <a:prstGeom prst="rect">
            <a:avLst/>
          </a:prstGeom>
          <a:solidFill>
            <a:schemeClr val="bg1"/>
          </a:solidFill>
          <a:effectLst>
            <a:outerShdw blurRad="50800" dist="76200" dir="2700000" algn="tl" rotWithShape="0">
              <a:prstClr val="black">
                <a:alpha val="40000"/>
              </a:prstClr>
            </a:outerShdw>
          </a:effectLst>
        </p:spPr>
        <p:txBody>
          <a:bodyPr wrap="square">
            <a:noAutofit/>
          </a:bodyPr>
          <a:lstStyle/>
          <a:p>
            <a:pPr defTabSz="914377">
              <a:lnSpc>
                <a:spcPct val="101000"/>
              </a:lnSpc>
              <a:spcAft>
                <a:spcPts val="600"/>
              </a:spcAft>
              <a:buClr>
                <a:schemeClr val="tx2"/>
              </a:buClr>
            </a:pPr>
            <a:endParaRPr lang="fr-FR" sz="1200" b="1" dirty="0">
              <a:solidFill>
                <a:schemeClr val="accent3"/>
              </a:solidFill>
              <a:latin typeface="+mj-lt"/>
            </a:endParaRPr>
          </a:p>
        </p:txBody>
      </p:sp>
      <p:sp>
        <p:nvSpPr>
          <p:cNvPr id="76" name="Rectangle 75"/>
          <p:cNvSpPr/>
          <p:nvPr/>
        </p:nvSpPr>
        <p:spPr>
          <a:xfrm>
            <a:off x="8912558" y="4771446"/>
            <a:ext cx="932290" cy="520838"/>
          </a:xfrm>
          <a:prstGeom prst="rect">
            <a:avLst/>
          </a:prstGeom>
          <a:solidFill>
            <a:schemeClr val="bg1"/>
          </a:solidFill>
          <a:effectLst>
            <a:outerShdw blurRad="50800" dist="76200" dir="2700000" algn="tl" rotWithShape="0">
              <a:prstClr val="black">
                <a:alpha val="40000"/>
              </a:prstClr>
            </a:outerShdw>
          </a:effectLst>
        </p:spPr>
        <p:txBody>
          <a:bodyPr wrap="square">
            <a:noAutofit/>
          </a:bodyPr>
          <a:lstStyle/>
          <a:p>
            <a:pPr defTabSz="914377">
              <a:lnSpc>
                <a:spcPct val="101000"/>
              </a:lnSpc>
              <a:spcAft>
                <a:spcPts val="600"/>
              </a:spcAft>
              <a:buClr>
                <a:schemeClr val="tx2"/>
              </a:buClr>
            </a:pPr>
            <a:endParaRPr lang="fr-FR" sz="1200" b="1" dirty="0">
              <a:solidFill>
                <a:schemeClr val="accent3"/>
              </a:solidFill>
              <a:latin typeface="+mj-lt"/>
            </a:endParaRPr>
          </a:p>
        </p:txBody>
      </p:sp>
      <p:sp>
        <p:nvSpPr>
          <p:cNvPr id="77" name="Rectangle 76"/>
          <p:cNvSpPr/>
          <p:nvPr/>
        </p:nvSpPr>
        <p:spPr>
          <a:xfrm>
            <a:off x="9916825" y="4772044"/>
            <a:ext cx="1931621" cy="520838"/>
          </a:xfrm>
          <a:prstGeom prst="rect">
            <a:avLst/>
          </a:prstGeom>
          <a:solidFill>
            <a:schemeClr val="bg1"/>
          </a:solidFill>
          <a:effectLst>
            <a:outerShdw blurRad="50800" dist="76200" dir="2700000" algn="tl" rotWithShape="0">
              <a:prstClr val="black">
                <a:alpha val="40000"/>
              </a:prstClr>
            </a:outerShdw>
          </a:effectLst>
        </p:spPr>
        <p:txBody>
          <a:bodyPr wrap="square">
            <a:noAutofit/>
          </a:bodyPr>
          <a:lstStyle/>
          <a:p>
            <a:pPr defTabSz="914377">
              <a:lnSpc>
                <a:spcPct val="101000"/>
              </a:lnSpc>
              <a:spcAft>
                <a:spcPts val="600"/>
              </a:spcAft>
              <a:buClr>
                <a:schemeClr val="tx2"/>
              </a:buClr>
            </a:pPr>
            <a:endParaRPr lang="fr-FR" sz="1200" b="1" dirty="0">
              <a:solidFill>
                <a:schemeClr val="accent3"/>
              </a:solidFill>
              <a:latin typeface="+mj-lt"/>
            </a:endParaRPr>
          </a:p>
        </p:txBody>
      </p:sp>
      <p:sp>
        <p:nvSpPr>
          <p:cNvPr id="78" name="Rectangle 77"/>
          <p:cNvSpPr/>
          <p:nvPr/>
        </p:nvSpPr>
        <p:spPr>
          <a:xfrm>
            <a:off x="6066960" y="4767679"/>
            <a:ext cx="1639302" cy="520838"/>
          </a:xfrm>
          <a:prstGeom prst="rect">
            <a:avLst/>
          </a:prstGeom>
          <a:solidFill>
            <a:schemeClr val="bg1"/>
          </a:solidFill>
          <a:effectLst>
            <a:outerShdw blurRad="50800" dist="76200" dir="2700000" algn="tl" rotWithShape="0">
              <a:prstClr val="black">
                <a:alpha val="40000"/>
              </a:prstClr>
            </a:outerShdw>
          </a:effectLst>
        </p:spPr>
        <p:txBody>
          <a:bodyPr wrap="square">
            <a:noAutofit/>
          </a:bodyPr>
          <a:lstStyle/>
          <a:p>
            <a:pPr defTabSz="914377">
              <a:lnSpc>
                <a:spcPct val="101000"/>
              </a:lnSpc>
              <a:spcAft>
                <a:spcPts val="600"/>
              </a:spcAft>
              <a:buClr>
                <a:schemeClr val="tx2"/>
              </a:buClr>
            </a:pPr>
            <a:endParaRPr lang="fr-FR" sz="1200" b="1" dirty="0">
              <a:solidFill>
                <a:schemeClr val="accent3"/>
              </a:solidFill>
              <a:latin typeface="+mj-lt"/>
            </a:endParaRPr>
          </a:p>
        </p:txBody>
      </p:sp>
      <p:sp>
        <p:nvSpPr>
          <p:cNvPr id="79" name="Rectangle 78"/>
          <p:cNvSpPr/>
          <p:nvPr/>
        </p:nvSpPr>
        <p:spPr>
          <a:xfrm>
            <a:off x="4456612" y="4767145"/>
            <a:ext cx="1530046" cy="520838"/>
          </a:xfrm>
          <a:prstGeom prst="rect">
            <a:avLst/>
          </a:prstGeom>
          <a:solidFill>
            <a:schemeClr val="bg1"/>
          </a:solidFill>
          <a:effectLst>
            <a:outerShdw blurRad="50800" dist="76200" dir="2700000" algn="tl" rotWithShape="0">
              <a:prstClr val="black">
                <a:alpha val="40000"/>
              </a:prstClr>
            </a:outerShdw>
          </a:effectLst>
        </p:spPr>
        <p:txBody>
          <a:bodyPr wrap="square">
            <a:noAutofit/>
          </a:bodyPr>
          <a:lstStyle/>
          <a:p>
            <a:pPr defTabSz="914377">
              <a:lnSpc>
                <a:spcPct val="101000"/>
              </a:lnSpc>
              <a:spcAft>
                <a:spcPts val="600"/>
              </a:spcAft>
              <a:buClr>
                <a:schemeClr val="tx2"/>
              </a:buClr>
            </a:pPr>
            <a:endParaRPr lang="fr-FR" sz="1200" b="1" dirty="0">
              <a:solidFill>
                <a:schemeClr val="accent3"/>
              </a:solidFill>
              <a:latin typeface="+mj-lt"/>
            </a:endParaRPr>
          </a:p>
        </p:txBody>
      </p:sp>
      <p:sp>
        <p:nvSpPr>
          <p:cNvPr id="80" name="Rectangle 79"/>
          <p:cNvSpPr/>
          <p:nvPr/>
        </p:nvSpPr>
        <p:spPr>
          <a:xfrm>
            <a:off x="10268943" y="5349696"/>
            <a:ext cx="1579504" cy="964257"/>
          </a:xfrm>
          <a:prstGeom prst="rect">
            <a:avLst/>
          </a:prstGeom>
          <a:solidFill>
            <a:schemeClr val="bg1"/>
          </a:solidFill>
          <a:effectLst>
            <a:outerShdw blurRad="50800" dist="76200" dir="2700000" algn="tl" rotWithShape="0">
              <a:prstClr val="black">
                <a:alpha val="40000"/>
              </a:prstClr>
            </a:outerShdw>
          </a:effectLst>
        </p:spPr>
        <p:txBody>
          <a:bodyPr wrap="square">
            <a:noAutofit/>
          </a:bodyPr>
          <a:lstStyle/>
          <a:p>
            <a:pPr defTabSz="914377">
              <a:lnSpc>
                <a:spcPct val="101000"/>
              </a:lnSpc>
              <a:spcAft>
                <a:spcPts val="600"/>
              </a:spcAft>
              <a:buClr>
                <a:schemeClr val="tx2"/>
              </a:buClr>
            </a:pPr>
            <a:endParaRPr lang="fr-FR" sz="1200" b="1" dirty="0">
              <a:solidFill>
                <a:schemeClr val="accent3"/>
              </a:solidFill>
              <a:latin typeface="+mj-lt"/>
            </a:endParaRPr>
          </a:p>
        </p:txBody>
      </p:sp>
      <p:sp>
        <p:nvSpPr>
          <p:cNvPr id="81" name="Rectangle 80"/>
          <p:cNvSpPr/>
          <p:nvPr/>
        </p:nvSpPr>
        <p:spPr>
          <a:xfrm>
            <a:off x="8994964" y="5347099"/>
            <a:ext cx="1211442" cy="964257"/>
          </a:xfrm>
          <a:prstGeom prst="rect">
            <a:avLst/>
          </a:prstGeom>
          <a:solidFill>
            <a:schemeClr val="bg1"/>
          </a:solidFill>
          <a:effectLst>
            <a:outerShdw blurRad="50800" dist="76200" dir="2700000" algn="tl" rotWithShape="0">
              <a:prstClr val="black">
                <a:alpha val="40000"/>
              </a:prstClr>
            </a:outerShdw>
          </a:effectLst>
        </p:spPr>
        <p:txBody>
          <a:bodyPr wrap="square">
            <a:noAutofit/>
          </a:bodyPr>
          <a:lstStyle/>
          <a:p>
            <a:pPr defTabSz="914377">
              <a:lnSpc>
                <a:spcPct val="101000"/>
              </a:lnSpc>
              <a:spcAft>
                <a:spcPts val="600"/>
              </a:spcAft>
              <a:buClr>
                <a:schemeClr val="tx2"/>
              </a:buClr>
            </a:pPr>
            <a:endParaRPr lang="fr-FR" sz="1200" b="1" dirty="0">
              <a:solidFill>
                <a:schemeClr val="accent3"/>
              </a:solidFill>
              <a:latin typeface="+mj-lt"/>
            </a:endParaRPr>
          </a:p>
        </p:txBody>
      </p:sp>
      <p:sp>
        <p:nvSpPr>
          <p:cNvPr id="82" name="Rectangle 81"/>
          <p:cNvSpPr/>
          <p:nvPr/>
        </p:nvSpPr>
        <p:spPr>
          <a:xfrm>
            <a:off x="4450739" y="5339933"/>
            <a:ext cx="4481688" cy="974692"/>
          </a:xfrm>
          <a:prstGeom prst="rect">
            <a:avLst/>
          </a:prstGeom>
          <a:solidFill>
            <a:schemeClr val="bg1"/>
          </a:solidFill>
          <a:effectLst>
            <a:outerShdw blurRad="50800" dist="76200" dir="2700000" algn="tl" rotWithShape="0">
              <a:prstClr val="black">
                <a:alpha val="40000"/>
              </a:prstClr>
            </a:outerShdw>
          </a:effectLst>
        </p:spPr>
        <p:txBody>
          <a:bodyPr wrap="square">
            <a:noAutofit/>
          </a:bodyPr>
          <a:lstStyle/>
          <a:p>
            <a:pPr defTabSz="914377">
              <a:lnSpc>
                <a:spcPct val="101000"/>
              </a:lnSpc>
              <a:spcAft>
                <a:spcPts val="600"/>
              </a:spcAft>
              <a:buClr>
                <a:schemeClr val="tx2"/>
              </a:buClr>
            </a:pPr>
            <a:endParaRPr lang="fr-FR" sz="1200" b="1" dirty="0">
              <a:solidFill>
                <a:schemeClr val="accent3"/>
              </a:solidFill>
              <a:latin typeface="+mj-lt"/>
            </a:endParaRPr>
          </a:p>
        </p:txBody>
      </p:sp>
      <p:pic>
        <p:nvPicPr>
          <p:cNvPr id="83" name="Image 82"/>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573007" y="5943150"/>
            <a:ext cx="714284" cy="302608"/>
          </a:xfrm>
          <a:prstGeom prst="rect">
            <a:avLst/>
          </a:prstGeom>
        </p:spPr>
      </p:pic>
      <p:pic>
        <p:nvPicPr>
          <p:cNvPr id="84" name="Image 83"/>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563341" y="5445111"/>
            <a:ext cx="411357" cy="286895"/>
          </a:xfrm>
          <a:prstGeom prst="rect">
            <a:avLst/>
          </a:prstGeom>
        </p:spPr>
      </p:pic>
      <p:pic>
        <p:nvPicPr>
          <p:cNvPr id="85" name="Image 84"/>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136493" y="5924832"/>
            <a:ext cx="707275" cy="339245"/>
          </a:xfrm>
          <a:prstGeom prst="rect">
            <a:avLst/>
          </a:prstGeom>
        </p:spPr>
      </p:pic>
      <p:pic>
        <p:nvPicPr>
          <p:cNvPr id="86" name="Image 85"/>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110426" y="5412722"/>
            <a:ext cx="621561" cy="351672"/>
          </a:xfrm>
          <a:prstGeom prst="rect">
            <a:avLst/>
          </a:prstGeom>
        </p:spPr>
      </p:pic>
      <p:pic>
        <p:nvPicPr>
          <p:cNvPr id="87" name="Image 86"/>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562544" y="5889494"/>
            <a:ext cx="314669" cy="409921"/>
          </a:xfrm>
          <a:prstGeom prst="rect">
            <a:avLst/>
          </a:prstGeom>
        </p:spPr>
      </p:pic>
      <p:pic>
        <p:nvPicPr>
          <p:cNvPr id="88" name="Image 87"/>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987374" y="5437941"/>
            <a:ext cx="675714" cy="301235"/>
          </a:xfrm>
          <a:prstGeom prst="rect">
            <a:avLst/>
          </a:prstGeom>
        </p:spPr>
      </p:pic>
      <p:pic>
        <p:nvPicPr>
          <p:cNvPr id="89" name="Image 88"/>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901884" y="5426374"/>
            <a:ext cx="499798" cy="324368"/>
          </a:xfrm>
          <a:prstGeom prst="rect">
            <a:avLst/>
          </a:prstGeom>
        </p:spPr>
      </p:pic>
      <p:pic>
        <p:nvPicPr>
          <p:cNvPr id="90" name="Image 89"/>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971756" y="5898229"/>
            <a:ext cx="399727" cy="392450"/>
          </a:xfrm>
          <a:prstGeom prst="rect">
            <a:avLst/>
          </a:prstGeom>
        </p:spPr>
      </p:pic>
      <p:pic>
        <p:nvPicPr>
          <p:cNvPr id="91" name="Image 90"/>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396857" y="5874956"/>
            <a:ext cx="424525" cy="438997"/>
          </a:xfrm>
          <a:prstGeom prst="rect">
            <a:avLst/>
          </a:prstGeom>
        </p:spPr>
      </p:pic>
      <p:pic>
        <p:nvPicPr>
          <p:cNvPr id="92" name="Image 91"/>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7052676" y="5895429"/>
            <a:ext cx="373321" cy="398050"/>
          </a:xfrm>
          <a:prstGeom prst="rect">
            <a:avLst/>
          </a:prstGeom>
        </p:spPr>
      </p:pic>
      <p:pic>
        <p:nvPicPr>
          <p:cNvPr id="93" name="Image 92"/>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7052676" y="5451258"/>
            <a:ext cx="819235" cy="274600"/>
          </a:xfrm>
          <a:prstGeom prst="rect">
            <a:avLst/>
          </a:prstGeom>
        </p:spPr>
      </p:pic>
      <p:pic>
        <p:nvPicPr>
          <p:cNvPr id="94" name="Image 93"/>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9365930" y="4804253"/>
            <a:ext cx="445974" cy="422845"/>
          </a:xfrm>
          <a:prstGeom prst="rect">
            <a:avLst/>
          </a:prstGeom>
        </p:spPr>
      </p:pic>
      <p:pic>
        <p:nvPicPr>
          <p:cNvPr id="95" name="Image 94"/>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5380567" y="4852271"/>
            <a:ext cx="548134" cy="306955"/>
          </a:xfrm>
          <a:prstGeom prst="rect">
            <a:avLst/>
          </a:prstGeom>
        </p:spPr>
      </p:pic>
      <p:pic>
        <p:nvPicPr>
          <p:cNvPr id="96" name="Image 95"/>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5018443" y="4816200"/>
            <a:ext cx="356745" cy="379096"/>
          </a:xfrm>
          <a:prstGeom prst="rect">
            <a:avLst/>
          </a:prstGeom>
        </p:spPr>
      </p:pic>
      <p:pic>
        <p:nvPicPr>
          <p:cNvPr id="97" name="Image 96"/>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6562246" y="4870202"/>
            <a:ext cx="596901" cy="271092"/>
          </a:xfrm>
          <a:prstGeom prst="rect">
            <a:avLst/>
          </a:prstGeom>
        </p:spPr>
      </p:pic>
      <p:pic>
        <p:nvPicPr>
          <p:cNvPr id="98" name="Image 97"/>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7208268" y="4780960"/>
            <a:ext cx="447340" cy="449576"/>
          </a:xfrm>
          <a:prstGeom prst="rect">
            <a:avLst/>
          </a:prstGeom>
        </p:spPr>
      </p:pic>
      <p:pic>
        <p:nvPicPr>
          <p:cNvPr id="99" name="Image 98"/>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8277787" y="4790184"/>
            <a:ext cx="437469" cy="431129"/>
          </a:xfrm>
          <a:prstGeom prst="rect">
            <a:avLst/>
          </a:prstGeom>
        </p:spPr>
      </p:pic>
      <p:pic>
        <p:nvPicPr>
          <p:cNvPr id="100" name="Image 99"/>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10383429" y="4812704"/>
            <a:ext cx="491201" cy="386088"/>
          </a:xfrm>
          <a:prstGeom prst="rect">
            <a:avLst/>
          </a:prstGeom>
        </p:spPr>
      </p:pic>
      <p:pic>
        <p:nvPicPr>
          <p:cNvPr id="101" name="Image 100"/>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10918159" y="4898989"/>
            <a:ext cx="930288" cy="212157"/>
          </a:xfrm>
          <a:prstGeom prst="rect">
            <a:avLst/>
          </a:prstGeom>
        </p:spPr>
      </p:pic>
      <p:sp>
        <p:nvSpPr>
          <p:cNvPr id="102" name="ZoneTexte 101"/>
          <p:cNvSpPr txBox="1"/>
          <p:nvPr/>
        </p:nvSpPr>
        <p:spPr>
          <a:xfrm>
            <a:off x="4419773" y="4867249"/>
            <a:ext cx="677731" cy="276999"/>
          </a:xfrm>
          <a:prstGeom prst="rect">
            <a:avLst/>
          </a:prstGeom>
          <a:noFill/>
        </p:spPr>
        <p:txBody>
          <a:bodyPr wrap="square" rtlCol="0">
            <a:spAutoFit/>
          </a:bodyPr>
          <a:lstStyle/>
          <a:p>
            <a:pPr algn="ctr"/>
            <a:r>
              <a:rPr lang="fr-FR" sz="1200" b="1" dirty="0" smtClean="0">
                <a:solidFill>
                  <a:schemeClr val="tx2"/>
                </a:solidFill>
                <a:latin typeface="+mj-lt"/>
              </a:rPr>
              <a:t>2024</a:t>
            </a:r>
            <a:endParaRPr lang="fr-FR" sz="1200" b="1" dirty="0">
              <a:solidFill>
                <a:schemeClr val="tx2"/>
              </a:solidFill>
              <a:latin typeface="+mj-lt"/>
            </a:endParaRPr>
          </a:p>
        </p:txBody>
      </p:sp>
      <p:sp>
        <p:nvSpPr>
          <p:cNvPr id="103" name="ZoneTexte 102"/>
          <p:cNvSpPr txBox="1"/>
          <p:nvPr/>
        </p:nvSpPr>
        <p:spPr>
          <a:xfrm>
            <a:off x="6019601" y="4867249"/>
            <a:ext cx="677731" cy="276999"/>
          </a:xfrm>
          <a:prstGeom prst="rect">
            <a:avLst/>
          </a:prstGeom>
          <a:noFill/>
        </p:spPr>
        <p:txBody>
          <a:bodyPr wrap="square" rtlCol="0">
            <a:spAutoFit/>
          </a:bodyPr>
          <a:lstStyle/>
          <a:p>
            <a:pPr algn="ctr"/>
            <a:r>
              <a:rPr lang="fr-FR" sz="1200" b="1" dirty="0" smtClean="0">
                <a:solidFill>
                  <a:schemeClr val="tx2"/>
                </a:solidFill>
                <a:latin typeface="+mj-lt"/>
              </a:rPr>
              <a:t>2025</a:t>
            </a:r>
            <a:endParaRPr lang="fr-FR" sz="1200" b="1" dirty="0">
              <a:solidFill>
                <a:schemeClr val="tx2"/>
              </a:solidFill>
              <a:latin typeface="+mj-lt"/>
            </a:endParaRPr>
          </a:p>
        </p:txBody>
      </p:sp>
      <p:sp>
        <p:nvSpPr>
          <p:cNvPr id="104" name="ZoneTexte 103"/>
          <p:cNvSpPr txBox="1"/>
          <p:nvPr/>
        </p:nvSpPr>
        <p:spPr>
          <a:xfrm>
            <a:off x="7702255" y="4867249"/>
            <a:ext cx="677731" cy="276999"/>
          </a:xfrm>
          <a:prstGeom prst="rect">
            <a:avLst/>
          </a:prstGeom>
          <a:noFill/>
        </p:spPr>
        <p:txBody>
          <a:bodyPr wrap="square" rtlCol="0">
            <a:spAutoFit/>
          </a:bodyPr>
          <a:lstStyle/>
          <a:p>
            <a:pPr algn="ctr"/>
            <a:r>
              <a:rPr lang="fr-FR" sz="1200" b="1" dirty="0" smtClean="0">
                <a:solidFill>
                  <a:schemeClr val="tx2"/>
                </a:solidFill>
                <a:latin typeface="+mj-lt"/>
              </a:rPr>
              <a:t>2026</a:t>
            </a:r>
            <a:endParaRPr lang="fr-FR" sz="1200" b="1" dirty="0">
              <a:solidFill>
                <a:schemeClr val="tx2"/>
              </a:solidFill>
              <a:latin typeface="+mj-lt"/>
            </a:endParaRPr>
          </a:p>
        </p:txBody>
      </p:sp>
      <p:sp>
        <p:nvSpPr>
          <p:cNvPr id="105" name="ZoneTexte 104"/>
          <p:cNvSpPr txBox="1"/>
          <p:nvPr/>
        </p:nvSpPr>
        <p:spPr>
          <a:xfrm>
            <a:off x="8781228" y="4867249"/>
            <a:ext cx="677731" cy="276999"/>
          </a:xfrm>
          <a:prstGeom prst="rect">
            <a:avLst/>
          </a:prstGeom>
          <a:noFill/>
        </p:spPr>
        <p:txBody>
          <a:bodyPr wrap="square" rtlCol="0">
            <a:spAutoFit/>
          </a:bodyPr>
          <a:lstStyle/>
          <a:p>
            <a:pPr algn="ctr"/>
            <a:r>
              <a:rPr lang="fr-FR" sz="1200" b="1" dirty="0" smtClean="0">
                <a:solidFill>
                  <a:schemeClr val="tx2"/>
                </a:solidFill>
                <a:latin typeface="+mj-lt"/>
              </a:rPr>
              <a:t>2027</a:t>
            </a:r>
            <a:endParaRPr lang="fr-FR" sz="1200" b="1" dirty="0">
              <a:solidFill>
                <a:schemeClr val="tx2"/>
              </a:solidFill>
              <a:latin typeface="+mj-lt"/>
            </a:endParaRPr>
          </a:p>
        </p:txBody>
      </p:sp>
      <p:sp>
        <p:nvSpPr>
          <p:cNvPr id="106" name="ZoneTexte 105"/>
          <p:cNvSpPr txBox="1"/>
          <p:nvPr/>
        </p:nvSpPr>
        <p:spPr>
          <a:xfrm>
            <a:off x="9844847" y="4867249"/>
            <a:ext cx="677731" cy="276999"/>
          </a:xfrm>
          <a:prstGeom prst="rect">
            <a:avLst/>
          </a:prstGeom>
          <a:noFill/>
        </p:spPr>
        <p:txBody>
          <a:bodyPr wrap="square" rtlCol="0">
            <a:spAutoFit/>
          </a:bodyPr>
          <a:lstStyle/>
          <a:p>
            <a:pPr algn="ctr"/>
            <a:r>
              <a:rPr lang="fr-FR" sz="1200" b="1" dirty="0" smtClean="0">
                <a:solidFill>
                  <a:schemeClr val="tx2"/>
                </a:solidFill>
                <a:latin typeface="+mj-lt"/>
              </a:rPr>
              <a:t>2028</a:t>
            </a:r>
            <a:endParaRPr lang="fr-FR" sz="1200" b="1" dirty="0">
              <a:solidFill>
                <a:schemeClr val="tx2"/>
              </a:solidFill>
              <a:latin typeface="+mj-lt"/>
            </a:endParaRPr>
          </a:p>
        </p:txBody>
      </p:sp>
      <p:sp>
        <p:nvSpPr>
          <p:cNvPr id="107" name="ZoneTexte 106"/>
          <p:cNvSpPr txBox="1"/>
          <p:nvPr/>
        </p:nvSpPr>
        <p:spPr>
          <a:xfrm>
            <a:off x="4419773" y="5651425"/>
            <a:ext cx="677731" cy="276999"/>
          </a:xfrm>
          <a:prstGeom prst="rect">
            <a:avLst/>
          </a:prstGeom>
          <a:noFill/>
        </p:spPr>
        <p:txBody>
          <a:bodyPr wrap="square" rtlCol="0">
            <a:spAutoFit/>
          </a:bodyPr>
          <a:lstStyle/>
          <a:p>
            <a:pPr algn="ctr"/>
            <a:r>
              <a:rPr lang="fr-FR" sz="1200" b="1" dirty="0" smtClean="0">
                <a:solidFill>
                  <a:schemeClr val="tx2"/>
                </a:solidFill>
                <a:latin typeface="+mj-lt"/>
              </a:rPr>
              <a:t>2030</a:t>
            </a:r>
            <a:endParaRPr lang="fr-FR" sz="1200" b="1" dirty="0">
              <a:solidFill>
                <a:schemeClr val="tx2"/>
              </a:solidFill>
              <a:latin typeface="+mj-lt"/>
            </a:endParaRPr>
          </a:p>
        </p:txBody>
      </p:sp>
      <p:sp>
        <p:nvSpPr>
          <p:cNvPr id="108" name="Rectangle 107"/>
          <p:cNvSpPr/>
          <p:nvPr/>
        </p:nvSpPr>
        <p:spPr>
          <a:xfrm>
            <a:off x="4450738" y="4424223"/>
            <a:ext cx="7409563" cy="278859"/>
          </a:xfrm>
          <a:prstGeom prst="rect">
            <a:avLst/>
          </a:prstGeom>
          <a:solidFill>
            <a:schemeClr val="bg1"/>
          </a:solidFill>
          <a:effectLst>
            <a:outerShdw blurRad="50800" dist="76200" dir="2700000" algn="tl" rotWithShape="0">
              <a:prstClr val="black">
                <a:alpha val="40000"/>
              </a:prstClr>
            </a:outerShdw>
          </a:effectLst>
        </p:spPr>
        <p:txBody>
          <a:bodyPr wrap="square">
            <a:spAutoFit/>
          </a:bodyPr>
          <a:lstStyle/>
          <a:p>
            <a:pPr defTabSz="914377">
              <a:lnSpc>
                <a:spcPct val="101000"/>
              </a:lnSpc>
              <a:spcAft>
                <a:spcPts val="600"/>
              </a:spcAft>
              <a:buClr>
                <a:schemeClr val="tx2"/>
              </a:buClr>
            </a:pPr>
            <a:r>
              <a:rPr lang="fr-FR" sz="1200" b="1" dirty="0">
                <a:solidFill>
                  <a:schemeClr val="accent3"/>
                </a:solidFill>
                <a:latin typeface="+mj-lt"/>
              </a:rPr>
              <a:t>Annonces constructeurs : passage au tout </a:t>
            </a:r>
            <a:r>
              <a:rPr lang="fr-FR" sz="1200" b="1" dirty="0" smtClean="0">
                <a:solidFill>
                  <a:schemeClr val="accent3"/>
                </a:solidFill>
                <a:latin typeface="+mj-lt"/>
              </a:rPr>
              <a:t>électrique</a:t>
            </a:r>
            <a:endParaRPr lang="fr-FR" sz="1200" b="1" dirty="0">
              <a:solidFill>
                <a:schemeClr val="accent3"/>
              </a:solidFill>
              <a:latin typeface="+mj-lt"/>
            </a:endParaRPr>
          </a:p>
        </p:txBody>
      </p:sp>
      <p:sp>
        <p:nvSpPr>
          <p:cNvPr id="109" name="ZoneTexte 108"/>
          <p:cNvSpPr txBox="1"/>
          <p:nvPr/>
        </p:nvSpPr>
        <p:spPr>
          <a:xfrm>
            <a:off x="8932427" y="5651425"/>
            <a:ext cx="677731" cy="276999"/>
          </a:xfrm>
          <a:prstGeom prst="rect">
            <a:avLst/>
          </a:prstGeom>
          <a:noFill/>
        </p:spPr>
        <p:txBody>
          <a:bodyPr wrap="square" rtlCol="0">
            <a:spAutoFit/>
          </a:bodyPr>
          <a:lstStyle/>
          <a:p>
            <a:pPr algn="ctr"/>
            <a:r>
              <a:rPr lang="fr-FR" sz="1200" b="1" dirty="0" smtClean="0">
                <a:solidFill>
                  <a:schemeClr val="tx2"/>
                </a:solidFill>
                <a:latin typeface="+mj-lt"/>
              </a:rPr>
              <a:t>2033</a:t>
            </a:r>
            <a:endParaRPr lang="fr-FR" sz="1200" b="1" dirty="0">
              <a:solidFill>
                <a:schemeClr val="tx2"/>
              </a:solidFill>
              <a:latin typeface="+mj-lt"/>
            </a:endParaRPr>
          </a:p>
        </p:txBody>
      </p:sp>
      <p:pic>
        <p:nvPicPr>
          <p:cNvPr id="110" name="Image 109"/>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9563854" y="5634262"/>
            <a:ext cx="528572" cy="311324"/>
          </a:xfrm>
          <a:prstGeom prst="rect">
            <a:avLst/>
          </a:prstGeom>
        </p:spPr>
      </p:pic>
      <p:sp>
        <p:nvSpPr>
          <p:cNvPr id="111" name="ZoneTexte 110"/>
          <p:cNvSpPr txBox="1"/>
          <p:nvPr/>
        </p:nvSpPr>
        <p:spPr>
          <a:xfrm>
            <a:off x="10140204" y="5614131"/>
            <a:ext cx="677731" cy="276999"/>
          </a:xfrm>
          <a:prstGeom prst="rect">
            <a:avLst/>
          </a:prstGeom>
          <a:noFill/>
        </p:spPr>
        <p:txBody>
          <a:bodyPr wrap="square" rtlCol="0">
            <a:spAutoFit/>
          </a:bodyPr>
          <a:lstStyle/>
          <a:p>
            <a:pPr algn="ctr"/>
            <a:r>
              <a:rPr lang="fr-FR" sz="1200" b="1" dirty="0" smtClean="0">
                <a:solidFill>
                  <a:schemeClr val="tx2"/>
                </a:solidFill>
                <a:latin typeface="+mj-lt"/>
              </a:rPr>
              <a:t>2035</a:t>
            </a:r>
            <a:endParaRPr lang="fr-FR" sz="1200" b="1" dirty="0">
              <a:solidFill>
                <a:schemeClr val="tx2"/>
              </a:solidFill>
              <a:latin typeface="+mj-lt"/>
            </a:endParaRPr>
          </a:p>
        </p:txBody>
      </p:sp>
      <p:pic>
        <p:nvPicPr>
          <p:cNvPr id="112" name="Image 111"/>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10801319" y="5595383"/>
            <a:ext cx="495429" cy="287585"/>
          </a:xfrm>
          <a:prstGeom prst="rect">
            <a:avLst/>
          </a:prstGeom>
        </p:spPr>
      </p:pic>
      <p:pic>
        <p:nvPicPr>
          <p:cNvPr id="113" name="Image 112"/>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11423208" y="5545682"/>
            <a:ext cx="360352" cy="360352"/>
          </a:xfrm>
          <a:prstGeom prst="rect">
            <a:avLst/>
          </a:prstGeom>
        </p:spPr>
      </p:pic>
      <p:sp>
        <p:nvSpPr>
          <p:cNvPr id="61" name="Slide Number Placeholder 3">
            <a:extLst>
              <a:ext uri="{FF2B5EF4-FFF2-40B4-BE49-F238E27FC236}">
                <a16:creationId xmlns:a16="http://schemas.microsoft.com/office/drawing/2014/main" id="{29869B0A-245E-6617-42EE-AD9F74932BA2}"/>
              </a:ext>
            </a:extLst>
          </p:cNvPr>
          <p:cNvSpPr>
            <a:spLocks noGrp="1"/>
          </p:cNvSpPr>
          <p:nvPr>
            <p:ph type="sldNum" sz="quarter" idx="4294967295"/>
          </p:nvPr>
        </p:nvSpPr>
        <p:spPr>
          <a:xfrm>
            <a:off x="11203781" y="6514718"/>
            <a:ext cx="465150" cy="154849"/>
          </a:xfrm>
          <a:prstGeom prst="rect">
            <a:avLst/>
          </a:prstGeom>
        </p:spPr>
        <p:txBody>
          <a:bodyPr/>
          <a:lstStyle/>
          <a:p>
            <a:fld id="{6B54B0F7-55DD-40D6-B7F4-70B586885C0B}" type="slidenum">
              <a:rPr lang="fr-FR" sz="800" smtClean="0">
                <a:solidFill>
                  <a:schemeClr val="tx2"/>
                </a:solidFill>
                <a:latin typeface="+mj-lt"/>
              </a:rPr>
              <a:pPr/>
              <a:t>2</a:t>
            </a:fld>
            <a:endParaRPr lang="fr-FR" sz="800" dirty="0">
              <a:solidFill>
                <a:schemeClr val="tx2"/>
              </a:solidFill>
              <a:latin typeface="+mj-lt"/>
            </a:endParaRPr>
          </a:p>
        </p:txBody>
      </p:sp>
      <p:sp>
        <p:nvSpPr>
          <p:cNvPr id="66" name="ZoneTexte 65"/>
          <p:cNvSpPr txBox="1"/>
          <p:nvPr/>
        </p:nvSpPr>
        <p:spPr>
          <a:xfrm>
            <a:off x="11134850" y="1486827"/>
            <a:ext cx="853647" cy="253724"/>
          </a:xfrm>
          <a:prstGeom prst="rect">
            <a:avLst/>
          </a:prstGeom>
          <a:solidFill>
            <a:schemeClr val="bg1"/>
          </a:solidFill>
          <a:ln w="28575">
            <a:solidFill>
              <a:schemeClr val="accent3"/>
            </a:solidFill>
          </a:ln>
        </p:spPr>
        <p:txBody>
          <a:bodyPr wrap="square" rtlCol="0">
            <a:spAutoFit/>
          </a:bodyPr>
          <a:lstStyle/>
          <a:p>
            <a:pPr lvl="0" algn="ctr" defTabSz="914377">
              <a:lnSpc>
                <a:spcPct val="101000"/>
              </a:lnSpc>
              <a:spcAft>
                <a:spcPts val="600"/>
              </a:spcAft>
              <a:buClr>
                <a:srgbClr val="1423DC"/>
              </a:buClr>
              <a:defRPr/>
            </a:pPr>
            <a:r>
              <a:rPr lang="fr-FR" sz="1100" b="1" dirty="0">
                <a:solidFill>
                  <a:srgbClr val="EB6E3C"/>
                </a:solidFill>
                <a:latin typeface="Enedis"/>
              </a:rPr>
              <a:t>1 </a:t>
            </a:r>
            <a:r>
              <a:rPr lang="fr-FR" sz="1100" b="1" dirty="0" smtClean="0">
                <a:solidFill>
                  <a:srgbClr val="EB6E3C"/>
                </a:solidFill>
                <a:latin typeface="Enedis"/>
              </a:rPr>
              <a:t>594 841</a:t>
            </a:r>
            <a:endParaRPr lang="fr-FR" sz="1100" b="1" dirty="0">
              <a:solidFill>
                <a:srgbClr val="EB6E3C"/>
              </a:solidFill>
              <a:latin typeface="Enedis"/>
            </a:endParaRPr>
          </a:p>
        </p:txBody>
      </p:sp>
    </p:spTree>
    <p:extLst>
      <p:ext uri="{BB962C8B-B14F-4D97-AF65-F5344CB8AC3E}">
        <p14:creationId xmlns:p14="http://schemas.microsoft.com/office/powerpoint/2010/main" val="400620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8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8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9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1"/>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2"/>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3"/>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94"/>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95"/>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9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9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98"/>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99"/>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0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01"/>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02"/>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03"/>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04"/>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05"/>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06"/>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07"/>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0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09"/>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10"/>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11"/>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112"/>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13"/>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61"/>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59"/>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60"/>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16"/>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grpId="0" nodeType="clickEffect">
                                  <p:stCondLst>
                                    <p:cond delay="0"/>
                                  </p:stCondLst>
                                  <p:childTnLst>
                                    <p:set>
                                      <p:cBhvr>
                                        <p:cTn id="102"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10" grpId="0" animBg="1"/>
      <p:bldP spid="75" grpId="0" animBg="1"/>
      <p:bldP spid="76" grpId="0" animBg="1"/>
      <p:bldP spid="77" grpId="0" animBg="1"/>
      <p:bldP spid="78" grpId="0" animBg="1"/>
      <p:bldP spid="79" grpId="0" animBg="1"/>
      <p:bldP spid="80" grpId="0" animBg="1"/>
      <p:bldP spid="81" grpId="0" animBg="1"/>
      <p:bldP spid="82" grpId="0" animBg="1"/>
      <p:bldP spid="102" grpId="0"/>
      <p:bldP spid="103" grpId="0"/>
      <p:bldP spid="104" grpId="0"/>
      <p:bldP spid="105" grpId="0"/>
      <p:bldP spid="106" grpId="0"/>
      <p:bldP spid="107" grpId="0"/>
      <p:bldP spid="108" grpId="0" animBg="1"/>
      <p:bldP spid="109" grpId="0"/>
      <p:bldP spid="111" grpId="0"/>
      <p:bldP spid="61" grpId="0"/>
      <p:bldP spid="6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21812" y="3078291"/>
            <a:ext cx="6778865" cy="752329"/>
          </a:xfrm>
        </p:spPr>
        <p:txBody>
          <a:bodyPr/>
          <a:lstStyle/>
          <a:p>
            <a:pPr algn="ctr"/>
            <a:r>
              <a:rPr lang="fr-FR" sz="5400" dirty="0" smtClean="0"/>
              <a:t>Annexes</a:t>
            </a:r>
            <a:endParaRPr lang="fr-FR" sz="5400" dirty="0"/>
          </a:p>
        </p:txBody>
      </p:sp>
    </p:spTree>
    <p:extLst>
      <p:ext uri="{BB962C8B-B14F-4D97-AF65-F5344CB8AC3E}">
        <p14:creationId xmlns:p14="http://schemas.microsoft.com/office/powerpoint/2010/main" val="212999846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 1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409425" y="3815433"/>
            <a:ext cx="4552178" cy="2494296"/>
          </a:xfrm>
          <a:prstGeom prst="rect">
            <a:avLst/>
          </a:prstGeom>
          <a:ln>
            <a:noFill/>
          </a:ln>
          <a:effectLst>
            <a:outerShdw blurRad="50800" dist="76200" dir="2700000" algn="tl" rotWithShape="0">
              <a:prstClr val="black">
                <a:alpha val="40000"/>
              </a:prstClr>
            </a:outerShdw>
          </a:effectLst>
        </p:spPr>
      </p:pic>
      <p:pic>
        <p:nvPicPr>
          <p:cNvPr id="16" name="Image 1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486311" y="1208319"/>
            <a:ext cx="1475292" cy="2111357"/>
          </a:xfrm>
          <a:prstGeom prst="rect">
            <a:avLst/>
          </a:prstGeom>
          <a:effectLst>
            <a:outerShdw blurRad="50800" dist="76200" dir="2700000" algn="tl" rotWithShape="0">
              <a:prstClr val="black">
                <a:alpha val="40000"/>
              </a:prstClr>
            </a:outerShdw>
          </a:effectLst>
        </p:spPr>
      </p:pic>
      <p:sp>
        <p:nvSpPr>
          <p:cNvPr id="6" name="Espace réservé de la date 75"/>
          <p:cNvSpPr txBox="1">
            <a:spLocks/>
          </p:cNvSpPr>
          <p:nvPr/>
        </p:nvSpPr>
        <p:spPr>
          <a:xfrm>
            <a:off x="8031612" y="6014137"/>
            <a:ext cx="3067051" cy="154849"/>
          </a:xfrm>
          <a:prstGeom prst="rect">
            <a:avLst/>
          </a:prstGeom>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a:r>
              <a:rPr lang="fr-FR" sz="800" dirty="0" smtClean="0">
                <a:solidFill>
                  <a:schemeClr val="tx2"/>
                </a:solidFill>
                <a:latin typeface="+mj-lt"/>
              </a:rPr>
              <a:t>21 juillet 2023</a:t>
            </a:r>
            <a:endParaRPr lang="en-US" sz="800" dirty="0">
              <a:solidFill>
                <a:schemeClr val="tx2"/>
              </a:solidFill>
              <a:latin typeface="+mj-lt"/>
            </a:endParaRPr>
          </a:p>
        </p:txBody>
      </p:sp>
      <p:sp>
        <p:nvSpPr>
          <p:cNvPr id="7" name="Slide Number Placeholder 3">
            <a:extLst>
              <a:ext uri="{FF2B5EF4-FFF2-40B4-BE49-F238E27FC236}">
                <a16:creationId xmlns:a16="http://schemas.microsoft.com/office/drawing/2014/main" id="{29869B0A-245E-6617-42EE-AD9F74932BA2}"/>
              </a:ext>
            </a:extLst>
          </p:cNvPr>
          <p:cNvSpPr txBox="1">
            <a:spLocks/>
          </p:cNvSpPr>
          <p:nvPr/>
        </p:nvSpPr>
        <p:spPr>
          <a:xfrm>
            <a:off x="11288798" y="6645289"/>
            <a:ext cx="465150" cy="154849"/>
          </a:xfrm>
          <a:prstGeom prst="rect">
            <a:avLst/>
          </a:prstGeom>
        </p:spPr>
        <p:txBody>
          <a:bodyPr vert="horz" lIns="0" tIns="0" rIns="0" bIns="0" rtlCol="0" anchor="ctr"/>
          <a:lstStyle>
            <a:defPPr>
              <a:defRPr lang="en-US"/>
            </a:defPPr>
            <a:lvl1pPr marL="0" algn="r" defTabSz="609585" rtl="0" eaLnBrk="1" latinLnBrk="0" hangingPunct="1">
              <a:defRPr sz="750" b="1" kern="1200">
                <a:solidFill>
                  <a:schemeClr val="tx2"/>
                </a:solidFill>
                <a:latin typeface="+mj-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6B54B0F7-55DD-40D6-B7F4-70B586885C0B}" type="slidenum">
              <a:rPr lang="fr-FR" sz="800" smtClean="0"/>
              <a:pPr/>
              <a:t>21</a:t>
            </a:fld>
            <a:endParaRPr lang="fr-FR" sz="800" dirty="0"/>
          </a:p>
        </p:txBody>
      </p:sp>
      <p:sp>
        <p:nvSpPr>
          <p:cNvPr id="25" name="ZoneTexte 24">
            <a:extLst>
              <a:ext uri="{FF2B5EF4-FFF2-40B4-BE49-F238E27FC236}">
                <a16:creationId xmlns:a16="http://schemas.microsoft.com/office/drawing/2014/main" id="{F3B90799-971E-539D-9E41-6A99DA786BB0}"/>
              </a:ext>
            </a:extLst>
          </p:cNvPr>
          <p:cNvSpPr txBox="1"/>
          <p:nvPr/>
        </p:nvSpPr>
        <p:spPr>
          <a:xfrm>
            <a:off x="472290" y="1282459"/>
            <a:ext cx="4842817" cy="4988467"/>
          </a:xfrm>
          <a:prstGeom prst="rect">
            <a:avLst/>
          </a:prstGeom>
          <a:solidFill>
            <a:schemeClr val="bg1"/>
          </a:solidFill>
          <a:effectLst>
            <a:outerShdw blurRad="50800" dist="76200" dir="2700000" algn="tl" rotWithShape="0">
              <a:prstClr val="black">
                <a:alpha val="40000"/>
              </a:prstClr>
            </a:outerShdw>
          </a:effectLst>
        </p:spPr>
        <p:txBody>
          <a:bodyPr wrap="square" anchor="ctr" anchorCtr="1">
            <a:noAutofit/>
          </a:bodyPr>
          <a:lstStyle>
            <a:defPPr>
              <a:defRPr lang="en-US"/>
            </a:defPPr>
            <a:lvl1pPr marL="285750" indent="-285750" defTabSz="914377">
              <a:lnSpc>
                <a:spcPct val="101000"/>
              </a:lnSpc>
              <a:spcAft>
                <a:spcPts val="600"/>
              </a:spcAft>
              <a:buClr>
                <a:schemeClr val="tx2"/>
              </a:buClr>
              <a:buFont typeface="Wingdings" panose="05000000000000000000" pitchFamily="2" charset="2"/>
              <a:buChar char="q"/>
              <a:defRPr sz="1200">
                <a:latin typeface="+mj-lt"/>
              </a:defRPr>
            </a:lvl1pPr>
          </a:lstStyle>
          <a:p>
            <a:r>
              <a:rPr lang="fr-FR" sz="1400" b="1" dirty="0" smtClean="0"/>
              <a:t>Enedis publie </a:t>
            </a:r>
            <a:r>
              <a:rPr lang="fr-FR" sz="1400" dirty="0" smtClean="0"/>
              <a:t>ou contribue à la publication de </a:t>
            </a:r>
            <a:r>
              <a:rPr lang="fr-FR" sz="1400" b="1" dirty="0" smtClean="0"/>
              <a:t>nombreuses données </a:t>
            </a:r>
            <a:r>
              <a:rPr lang="fr-FR" sz="1400" dirty="0" smtClean="0"/>
              <a:t>ou </a:t>
            </a:r>
            <a:r>
              <a:rPr lang="fr-FR" sz="1400" b="1" dirty="0" smtClean="0"/>
              <a:t>études</a:t>
            </a:r>
            <a:r>
              <a:rPr lang="fr-FR" sz="1400" dirty="0" smtClean="0"/>
              <a:t> liées à la </a:t>
            </a:r>
            <a:r>
              <a:rPr lang="fr-FR" sz="1400" b="1" dirty="0" smtClean="0"/>
              <a:t>mobilité électrique</a:t>
            </a:r>
            <a:r>
              <a:rPr lang="fr-FR" sz="1400" dirty="0" smtClean="0"/>
              <a:t>, notamment :</a:t>
            </a:r>
          </a:p>
          <a:p>
            <a:pPr marL="541338" indent="-200025">
              <a:buFont typeface="Wingdings" panose="05000000000000000000" pitchFamily="2" charset="2"/>
              <a:buChar char="ü"/>
            </a:pPr>
            <a:r>
              <a:rPr lang="fr-FR" sz="1400" dirty="0" smtClean="0"/>
              <a:t>Guide : « </a:t>
            </a:r>
            <a:r>
              <a:rPr lang="fr-FR" sz="1400" b="1" dirty="0" smtClean="0"/>
              <a:t>Comment électrifier sa flotte de véhicules</a:t>
            </a:r>
            <a:r>
              <a:rPr lang="fr-FR" sz="1400" dirty="0" smtClean="0"/>
              <a:t> » à partir de travaux </a:t>
            </a:r>
            <a:r>
              <a:rPr lang="fr-FR" sz="1400" dirty="0" err="1" smtClean="0"/>
              <a:t>co</a:t>
            </a:r>
            <a:r>
              <a:rPr lang="fr-FR" sz="1400" dirty="0"/>
              <a:t>-</a:t>
            </a:r>
            <a:r>
              <a:rPr lang="fr-FR" sz="1400" dirty="0" smtClean="0"/>
              <a:t>conduits avec l’</a:t>
            </a:r>
            <a:r>
              <a:rPr lang="fr-FR" sz="1400" dirty="0" err="1" smtClean="0"/>
              <a:t>Avere</a:t>
            </a:r>
            <a:r>
              <a:rPr lang="fr-FR" sz="1400" dirty="0" smtClean="0"/>
              <a:t> France,</a:t>
            </a:r>
          </a:p>
          <a:p>
            <a:pPr marL="541338" indent="-200025">
              <a:buFont typeface="Wingdings" panose="05000000000000000000" pitchFamily="2" charset="2"/>
              <a:buChar char="ü"/>
            </a:pPr>
            <a:r>
              <a:rPr lang="fr-FR" sz="1400" dirty="0" smtClean="0"/>
              <a:t>Guide « </a:t>
            </a:r>
            <a:r>
              <a:rPr lang="fr-FR" sz="1400" b="1" dirty="0" smtClean="0"/>
              <a:t>Réinventer les mobilités pour un tourisme durable</a:t>
            </a:r>
            <a:r>
              <a:rPr lang="fr-FR" sz="1400" dirty="0" smtClean="0"/>
              <a:t> » en partenariat avec Atout France</a:t>
            </a:r>
          </a:p>
          <a:p>
            <a:pPr marL="541338" indent="-200025">
              <a:buFont typeface="Wingdings" panose="05000000000000000000" pitchFamily="2" charset="2"/>
              <a:buChar char="ü"/>
            </a:pPr>
            <a:r>
              <a:rPr lang="fr-FR" sz="1400" dirty="0" smtClean="0"/>
              <a:t>Etude : « </a:t>
            </a:r>
            <a:r>
              <a:rPr lang="fr-FR" sz="1400" b="1" dirty="0" smtClean="0"/>
              <a:t>Les besoins électriques de la mobilité longue distance sur autoroute</a:t>
            </a:r>
            <a:r>
              <a:rPr lang="fr-FR" sz="1400" dirty="0" smtClean="0"/>
              <a:t> » en collaboration avec RTE</a:t>
            </a:r>
          </a:p>
          <a:p>
            <a:pPr marL="541338" indent="-200025">
              <a:buFont typeface="Wingdings" panose="05000000000000000000" pitchFamily="2" charset="2"/>
              <a:buChar char="ü"/>
            </a:pPr>
            <a:r>
              <a:rPr lang="fr-FR" sz="1400" dirty="0" smtClean="0"/>
              <a:t>« </a:t>
            </a:r>
            <a:r>
              <a:rPr lang="fr-FR" sz="1400" b="1" dirty="0" smtClean="0"/>
              <a:t>Enquête comportementale auprès des possesseurs de véhicules électriques</a:t>
            </a:r>
            <a:r>
              <a:rPr lang="fr-FR" sz="1400" dirty="0" smtClean="0"/>
              <a:t> » (éditée chaque année avec BVA)</a:t>
            </a:r>
          </a:p>
          <a:p>
            <a:r>
              <a:rPr lang="fr-FR" sz="1400" b="1" dirty="0" smtClean="0"/>
              <a:t>L’Observatoire français de la Transition Ecologique</a:t>
            </a:r>
            <a:r>
              <a:rPr lang="fr-FR" sz="1400" dirty="0" smtClean="0"/>
              <a:t>, conçu et publié par Enedis depuis fin 2022, comporte un volet mobilité électrique qui fournit notamment le nombre de points de charge accessibles au public et en domaine privé estimé sur un territoire</a:t>
            </a:r>
          </a:p>
        </p:txBody>
      </p:sp>
      <p:sp>
        <p:nvSpPr>
          <p:cNvPr id="26" name="Titre 4"/>
          <p:cNvSpPr txBox="1">
            <a:spLocks/>
          </p:cNvSpPr>
          <p:nvPr/>
        </p:nvSpPr>
        <p:spPr>
          <a:xfrm>
            <a:off x="472289" y="312142"/>
            <a:ext cx="11175540" cy="775597"/>
          </a:xfrm>
          <a:prstGeom prst="rect">
            <a:avLst/>
          </a:prstGeom>
        </p:spPr>
        <p:txBody>
          <a:bodyPr vert="horz" wrap="square" lIns="0" tIns="0" rIns="0" bIns="0" rtlCol="0" anchor="t">
            <a:spAutoFit/>
          </a:bodyPr>
          <a:lstStyle>
            <a:lvl1pPr algn="l" defTabSz="914377" rtl="0" eaLnBrk="1" latinLnBrk="0" hangingPunct="1">
              <a:lnSpc>
                <a:spcPct val="90000"/>
              </a:lnSpc>
              <a:spcBef>
                <a:spcPct val="0"/>
              </a:spcBef>
              <a:buNone/>
              <a:defRPr sz="3500" b="1" kern="1200">
                <a:solidFill>
                  <a:schemeClr val="tx2"/>
                </a:solidFill>
                <a:latin typeface="+mj-lt"/>
                <a:ea typeface="+mj-ea"/>
                <a:cs typeface="+mj-cs"/>
              </a:defRPr>
            </a:lvl1pPr>
          </a:lstStyle>
          <a:p>
            <a:r>
              <a:rPr lang="fr-FR" sz="2800" dirty="0" smtClean="0"/>
              <a:t>Enedis publie des études et met a disposition des données au bénéfice de l’éco système de la mobilité électrique</a:t>
            </a:r>
            <a:endParaRPr lang="fr-FR" sz="1600" dirty="0"/>
          </a:p>
        </p:txBody>
      </p:sp>
      <p:pic>
        <p:nvPicPr>
          <p:cNvPr id="14" name="Image 1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64679" y="1828774"/>
            <a:ext cx="1641786" cy="2363828"/>
          </a:xfrm>
          <a:prstGeom prst="rect">
            <a:avLst/>
          </a:prstGeom>
          <a:effectLst>
            <a:outerShdw blurRad="50800" dist="76200" dir="2700000" algn="tl" rotWithShape="0">
              <a:prstClr val="black">
                <a:alpha val="40000"/>
              </a:prstClr>
            </a:outerShdw>
          </a:effectLst>
        </p:spPr>
      </p:pic>
      <p:pic>
        <p:nvPicPr>
          <p:cNvPr id="13" name="Image 1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742455" y="1598226"/>
            <a:ext cx="1659067" cy="2053020"/>
          </a:xfrm>
          <a:prstGeom prst="rect">
            <a:avLst/>
          </a:prstGeom>
        </p:spPr>
      </p:pic>
      <p:pic>
        <p:nvPicPr>
          <p:cNvPr id="15" name="Image 14"/>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191254" y="1208319"/>
            <a:ext cx="1466412" cy="2096627"/>
          </a:xfrm>
          <a:prstGeom prst="rect">
            <a:avLst/>
          </a:prstGeom>
          <a:effectLst>
            <a:outerShdw blurRad="50800" dist="76200" dir="2700000" algn="tl" rotWithShape="0">
              <a:prstClr val="black">
                <a:alpha val="40000"/>
              </a:prstClr>
            </a:outerShdw>
          </a:effectLst>
        </p:spPr>
      </p:pic>
      <p:sp>
        <p:nvSpPr>
          <p:cNvPr id="28" name="ZoneTexte 27">
            <a:extLst>
              <a:ext uri="{FF2B5EF4-FFF2-40B4-BE49-F238E27FC236}">
                <a16:creationId xmlns:a16="http://schemas.microsoft.com/office/drawing/2014/main" id="{78DB97C5-C5BA-F324-11F7-8248C35FF52A}"/>
              </a:ext>
            </a:extLst>
          </p:cNvPr>
          <p:cNvSpPr txBox="1"/>
          <p:nvPr/>
        </p:nvSpPr>
        <p:spPr>
          <a:xfrm>
            <a:off x="7317710" y="3555714"/>
            <a:ext cx="4330119" cy="261610"/>
          </a:xfrm>
          <a:prstGeom prst="rect">
            <a:avLst/>
          </a:prstGeom>
          <a:solidFill>
            <a:schemeClr val="bg1"/>
          </a:solidFill>
        </p:spPr>
        <p:txBody>
          <a:bodyPr wrap="square" rtlCol="0">
            <a:spAutoFit/>
          </a:bodyPr>
          <a:lstStyle/>
          <a:p>
            <a:pPr defTabSz="609585"/>
            <a:r>
              <a:rPr lang="fr-FR" sz="1100" b="1" dirty="0" smtClean="0">
                <a:solidFill>
                  <a:schemeClr val="accent3"/>
                </a:solidFill>
                <a:latin typeface="Enedis"/>
              </a:rPr>
              <a:t>Observatoire français de la Transition Ecologique d’Enedis</a:t>
            </a:r>
            <a:endParaRPr lang="fr-FR" sz="1100" b="1" dirty="0">
              <a:solidFill>
                <a:schemeClr val="accent3"/>
              </a:solidFill>
              <a:latin typeface="Enedis"/>
            </a:endParaRPr>
          </a:p>
        </p:txBody>
      </p:sp>
    </p:spTree>
    <p:extLst>
      <p:ext uri="{BB962C8B-B14F-4D97-AF65-F5344CB8AC3E}">
        <p14:creationId xmlns:p14="http://schemas.microsoft.com/office/powerpoint/2010/main" val="219074049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 30"/>
          <p:cNvPicPr>
            <a:picLocks noChangeAspect="1"/>
          </p:cNvPicPr>
          <p:nvPr/>
        </p:nvPicPr>
        <p:blipFill>
          <a:blip r:embed="rId3"/>
          <a:stretch>
            <a:fillRect/>
          </a:stretch>
        </p:blipFill>
        <p:spPr>
          <a:xfrm>
            <a:off x="469900" y="1022119"/>
            <a:ext cx="7213600" cy="3926644"/>
          </a:xfrm>
          <a:prstGeom prst="rect">
            <a:avLst/>
          </a:prstGeom>
          <a:solidFill>
            <a:schemeClr val="bg2">
              <a:lumMod val="20000"/>
              <a:lumOff val="80000"/>
            </a:schemeClr>
          </a:solidFill>
          <a:ln>
            <a:noFill/>
          </a:ln>
          <a:effectLst>
            <a:outerShdw blurRad="50800" dist="76200" dir="2700000" algn="tl" rotWithShape="0">
              <a:prstClr val="black">
                <a:alpha val="40000"/>
              </a:prstClr>
            </a:outerShdw>
          </a:effectLst>
        </p:spPr>
      </p:pic>
      <p:pic>
        <p:nvPicPr>
          <p:cNvPr id="35" name="Image 34"/>
          <p:cNvPicPr>
            <a:picLocks noChangeAspect="1"/>
          </p:cNvPicPr>
          <p:nvPr/>
        </p:nvPicPr>
        <p:blipFill>
          <a:blip r:embed="rId4"/>
          <a:stretch>
            <a:fillRect/>
          </a:stretch>
        </p:blipFill>
        <p:spPr>
          <a:xfrm>
            <a:off x="7988304" y="1022119"/>
            <a:ext cx="3902103" cy="3926644"/>
          </a:xfrm>
          <a:prstGeom prst="roundRect">
            <a:avLst>
              <a:gd name="adj" fmla="val 3422"/>
            </a:avLst>
          </a:prstGeom>
          <a:ln>
            <a:noFill/>
          </a:ln>
          <a:effectLst>
            <a:outerShdw blurRad="50800" dist="76200" dir="2700000" algn="tl" rotWithShape="0">
              <a:prstClr val="black">
                <a:alpha val="40000"/>
              </a:prst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28" name="Rectangle 27"/>
          <p:cNvSpPr/>
          <p:nvPr/>
        </p:nvSpPr>
        <p:spPr>
          <a:xfrm>
            <a:off x="1542163" y="1216459"/>
            <a:ext cx="5766687" cy="646331"/>
          </a:xfrm>
          <a:prstGeom prst="rect">
            <a:avLst/>
          </a:prstGeom>
          <a:solidFill>
            <a:schemeClr val="bg1"/>
          </a:solidFill>
          <a:ln>
            <a:solidFill>
              <a:schemeClr val="accent3"/>
            </a:solidFill>
          </a:ln>
        </p:spPr>
        <p:txBody>
          <a:bodyPr wrap="square">
            <a:spAutoFit/>
          </a:bodyPr>
          <a:lstStyle/>
          <a:p>
            <a:pPr algn="ctr"/>
            <a:r>
              <a:rPr lang="fr-FR" sz="1800" b="1" dirty="0" smtClean="0">
                <a:solidFill>
                  <a:schemeClr val="accent3"/>
                </a:solidFill>
                <a:latin typeface="+mj-lt"/>
                <a:ea typeface="+mj-ea"/>
                <a:cs typeface="+mj-cs"/>
              </a:rPr>
              <a:t>En 2030 : 100% des véhicules légers et utilitaires</a:t>
            </a:r>
          </a:p>
          <a:p>
            <a:pPr algn="ctr"/>
            <a:r>
              <a:rPr lang="fr-FR" sz="1800" b="1" dirty="0">
                <a:solidFill>
                  <a:schemeClr val="accent3"/>
                </a:solidFill>
                <a:latin typeface="+mj-lt"/>
                <a:ea typeface="+mj-ea"/>
                <a:cs typeface="+mj-cs"/>
              </a:rPr>
              <a:t>e</a:t>
            </a:r>
            <a:r>
              <a:rPr lang="fr-FR" sz="1800" b="1" dirty="0" smtClean="0">
                <a:solidFill>
                  <a:schemeClr val="accent3"/>
                </a:solidFill>
                <a:latin typeface="+mj-lt"/>
                <a:ea typeface="+mj-ea"/>
                <a:cs typeface="+mj-cs"/>
              </a:rPr>
              <a:t>t 70% des véhicules lourds sont </a:t>
            </a:r>
            <a:r>
              <a:rPr lang="fr-FR" sz="1800" b="1" dirty="0" err="1" smtClean="0">
                <a:solidFill>
                  <a:schemeClr val="accent3"/>
                </a:solidFill>
                <a:latin typeface="+mj-lt"/>
                <a:ea typeface="+mj-ea"/>
                <a:cs typeface="+mj-cs"/>
              </a:rPr>
              <a:t>electric</a:t>
            </a:r>
            <a:endParaRPr lang="fr-FR" sz="1800" b="1" dirty="0" smtClean="0">
              <a:solidFill>
                <a:schemeClr val="accent3"/>
              </a:solidFill>
              <a:latin typeface="+mj-lt"/>
              <a:ea typeface="+mj-ea"/>
              <a:cs typeface="+mj-cs"/>
            </a:endParaRPr>
          </a:p>
        </p:txBody>
      </p:sp>
      <p:sp>
        <p:nvSpPr>
          <p:cNvPr id="12" name="Titre 1"/>
          <p:cNvSpPr>
            <a:spLocks noGrp="1"/>
          </p:cNvSpPr>
          <p:nvPr>
            <p:ph type="title"/>
          </p:nvPr>
        </p:nvSpPr>
        <p:spPr>
          <a:xfrm>
            <a:off x="431563" y="228012"/>
            <a:ext cx="11357247" cy="387798"/>
          </a:xfrm>
        </p:spPr>
        <p:txBody>
          <a:bodyPr/>
          <a:lstStyle/>
          <a:p>
            <a:r>
              <a:rPr lang="fr-FR" sz="2800" dirty="0" smtClean="0"/>
              <a:t>Enedis s’est engagée à électrifier sa flotte à 100% d’ici 2030</a:t>
            </a:r>
            <a:endParaRPr lang="fr-FR" sz="2800" dirty="0"/>
          </a:p>
        </p:txBody>
      </p:sp>
      <p:sp>
        <p:nvSpPr>
          <p:cNvPr id="14" name="Rectangle à coins arrondis 13"/>
          <p:cNvSpPr/>
          <p:nvPr/>
        </p:nvSpPr>
        <p:spPr>
          <a:xfrm>
            <a:off x="7988303" y="5143101"/>
            <a:ext cx="3901289" cy="1164141"/>
          </a:xfrm>
          <a:prstGeom prst="roundRect">
            <a:avLst/>
          </a:prstGeom>
          <a:solidFill>
            <a:schemeClr val="bg1"/>
          </a:solidFill>
          <a:ln>
            <a:solidFill>
              <a:schemeClr val="accent3"/>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fr-FR" sz="1800" b="1" dirty="0" smtClean="0">
                <a:solidFill>
                  <a:schemeClr val="accent3"/>
                </a:solidFill>
                <a:latin typeface="+mj-lt"/>
              </a:rPr>
              <a:t>Taux d’électrification </a:t>
            </a:r>
          </a:p>
          <a:p>
            <a:pPr algn="ctr">
              <a:spcAft>
                <a:spcPts val="600"/>
              </a:spcAft>
            </a:pPr>
            <a:r>
              <a:rPr lang="fr-FR" sz="1800" b="1" dirty="0" smtClean="0">
                <a:solidFill>
                  <a:schemeClr val="accent3"/>
                </a:solidFill>
                <a:latin typeface="+mj-lt"/>
              </a:rPr>
              <a:t>&gt; 31%</a:t>
            </a:r>
            <a:endParaRPr lang="fr-FR" sz="1000" b="1" dirty="0">
              <a:solidFill>
                <a:schemeClr val="accent3"/>
              </a:solidFill>
              <a:latin typeface="+mj-lt"/>
            </a:endParaRPr>
          </a:p>
        </p:txBody>
      </p:sp>
      <p:sp>
        <p:nvSpPr>
          <p:cNvPr id="16" name="Rectangle à coins arrondis 15"/>
          <p:cNvSpPr/>
          <p:nvPr/>
        </p:nvSpPr>
        <p:spPr>
          <a:xfrm>
            <a:off x="469900" y="5143101"/>
            <a:ext cx="7213600" cy="1164141"/>
          </a:xfrm>
          <a:prstGeom prst="roundRect">
            <a:avLst/>
          </a:prstGeom>
          <a:solidFill>
            <a:schemeClr val="bg1"/>
          </a:solidFill>
          <a:ln>
            <a:solidFill>
              <a:schemeClr val="accent3"/>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98850" indent="-285750">
              <a:spcAft>
                <a:spcPts val="600"/>
              </a:spcAft>
              <a:buClr>
                <a:schemeClr val="tx2"/>
              </a:buClr>
              <a:buFont typeface="Wingdings" panose="05000000000000000000" pitchFamily="2" charset="2"/>
              <a:buChar char="q"/>
            </a:pPr>
            <a:r>
              <a:rPr lang="en-US" sz="1600" b="1" dirty="0" smtClean="0">
                <a:solidFill>
                  <a:schemeClr val="accent3"/>
                </a:solidFill>
                <a:latin typeface="+mj-lt"/>
              </a:rPr>
              <a:t>700 sites </a:t>
            </a:r>
            <a:r>
              <a:rPr lang="en-US" sz="1600" b="1" dirty="0" err="1" smtClean="0">
                <a:solidFill>
                  <a:schemeClr val="accent3"/>
                </a:solidFill>
                <a:latin typeface="+mj-lt"/>
              </a:rPr>
              <a:t>équipés</a:t>
            </a:r>
            <a:endParaRPr lang="en-US" sz="1600" dirty="0" smtClean="0">
              <a:solidFill>
                <a:schemeClr val="accent3"/>
              </a:solidFill>
              <a:latin typeface="+mj-lt"/>
            </a:endParaRPr>
          </a:p>
          <a:p>
            <a:pPr marL="3498850" indent="-285750">
              <a:spcAft>
                <a:spcPts val="600"/>
              </a:spcAft>
              <a:buClr>
                <a:schemeClr val="tx2"/>
              </a:buClr>
              <a:buFont typeface="Wingdings" panose="05000000000000000000" pitchFamily="2" charset="2"/>
              <a:buChar char="q"/>
            </a:pPr>
            <a:r>
              <a:rPr lang="en-US" sz="1600" b="1" dirty="0" smtClean="0">
                <a:solidFill>
                  <a:schemeClr val="accent3"/>
                </a:solidFill>
                <a:latin typeface="+mj-lt"/>
              </a:rPr>
              <a:t>~ 6000 points de charge</a:t>
            </a:r>
            <a:endParaRPr lang="en-US" sz="1600" b="1" dirty="0">
              <a:solidFill>
                <a:schemeClr val="accent3"/>
              </a:solidFill>
              <a:latin typeface="+mj-lt"/>
            </a:endParaRPr>
          </a:p>
        </p:txBody>
      </p:sp>
      <p:sp>
        <p:nvSpPr>
          <p:cNvPr id="15" name="Rectangle à coins arrondis 14"/>
          <p:cNvSpPr/>
          <p:nvPr/>
        </p:nvSpPr>
        <p:spPr>
          <a:xfrm>
            <a:off x="571500" y="5143101"/>
            <a:ext cx="3702050" cy="1164141"/>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06450" indent="-285750">
              <a:spcAft>
                <a:spcPts val="600"/>
              </a:spcAft>
              <a:buClr>
                <a:schemeClr val="tx2"/>
              </a:buClr>
              <a:buFont typeface="Wingdings" panose="05000000000000000000" pitchFamily="2" charset="2"/>
              <a:buChar char="q"/>
            </a:pPr>
            <a:r>
              <a:rPr lang="fr-FR" sz="1600" b="1" dirty="0" smtClean="0">
                <a:solidFill>
                  <a:schemeClr val="accent3"/>
                </a:solidFill>
                <a:latin typeface="+mj-lt"/>
              </a:rPr>
              <a:t> ~ 18 000 </a:t>
            </a:r>
            <a:r>
              <a:rPr lang="en-US" sz="1600" b="1" dirty="0" err="1" smtClean="0">
                <a:solidFill>
                  <a:schemeClr val="accent3"/>
                </a:solidFill>
                <a:latin typeface="+mj-lt"/>
              </a:rPr>
              <a:t>véhicules</a:t>
            </a:r>
            <a:endParaRPr lang="en-US" sz="1600" b="1" dirty="0" smtClean="0">
              <a:solidFill>
                <a:schemeClr val="accent3"/>
              </a:solidFill>
              <a:latin typeface="+mj-lt"/>
            </a:endParaRPr>
          </a:p>
          <a:p>
            <a:pPr marL="806450" indent="-285750">
              <a:spcAft>
                <a:spcPts val="600"/>
              </a:spcAft>
              <a:buClr>
                <a:schemeClr val="tx2"/>
              </a:buClr>
              <a:buFont typeface="Wingdings" panose="05000000000000000000" pitchFamily="2" charset="2"/>
              <a:buChar char="q"/>
            </a:pPr>
            <a:r>
              <a:rPr lang="fr-FR" sz="1600" b="1" dirty="0" smtClean="0">
                <a:solidFill>
                  <a:schemeClr val="accent3"/>
                </a:solidFill>
                <a:latin typeface="+mj-lt"/>
              </a:rPr>
              <a:t>5 900 VE</a:t>
            </a:r>
            <a:endParaRPr lang="fr-FR" sz="1600" b="1" dirty="0">
              <a:solidFill>
                <a:schemeClr val="accent3"/>
              </a:solidFill>
              <a:latin typeface="+mj-lt"/>
            </a:endParaRPr>
          </a:p>
        </p:txBody>
      </p:sp>
      <p:sp>
        <p:nvSpPr>
          <p:cNvPr id="11" name="Flèche vers le bas 10"/>
          <p:cNvSpPr/>
          <p:nvPr/>
        </p:nvSpPr>
        <p:spPr>
          <a:xfrm flipH="1">
            <a:off x="4959238" y="3008864"/>
            <a:ext cx="248620" cy="385785"/>
          </a:xfrm>
          <a:prstGeom prst="downArrow">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ZoneTexte 12"/>
          <p:cNvSpPr txBox="1"/>
          <p:nvPr/>
        </p:nvSpPr>
        <p:spPr>
          <a:xfrm>
            <a:off x="4529413" y="2708442"/>
            <a:ext cx="1095172" cy="276999"/>
          </a:xfrm>
          <a:prstGeom prst="rect">
            <a:avLst/>
          </a:prstGeom>
          <a:solidFill>
            <a:schemeClr val="bg1"/>
          </a:solidFill>
          <a:ln>
            <a:solidFill>
              <a:schemeClr val="accent3"/>
            </a:solidFill>
          </a:ln>
        </p:spPr>
        <p:txBody>
          <a:bodyPr wrap="none" rtlCol="0">
            <a:spAutoFit/>
          </a:bodyPr>
          <a:lstStyle/>
          <a:p>
            <a:r>
              <a:rPr lang="fr-FR" sz="1200" b="1" dirty="0" smtClean="0">
                <a:solidFill>
                  <a:schemeClr val="accent3"/>
                </a:solidFill>
                <a:latin typeface="+mj-lt"/>
              </a:rPr>
              <a:t>Vous êtes ici</a:t>
            </a:r>
            <a:endParaRPr lang="fr-FR" sz="1200" b="1" dirty="0">
              <a:solidFill>
                <a:schemeClr val="accent3"/>
              </a:solidFill>
              <a:latin typeface="+mj-lt"/>
            </a:endParaRPr>
          </a:p>
        </p:txBody>
      </p:sp>
      <p:cxnSp>
        <p:nvCxnSpPr>
          <p:cNvPr id="4" name="Connecteur droit avec flèche 3"/>
          <p:cNvCxnSpPr>
            <a:endCxn id="14" idx="0"/>
          </p:cNvCxnSpPr>
          <p:nvPr/>
        </p:nvCxnSpPr>
        <p:spPr>
          <a:xfrm>
            <a:off x="5099806" y="3408246"/>
            <a:ext cx="4839142" cy="1734855"/>
          </a:xfrm>
          <a:prstGeom prst="straightConnector1">
            <a:avLst/>
          </a:prstGeom>
          <a:ln w="571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eur droit avec flèche 17"/>
          <p:cNvCxnSpPr>
            <a:endCxn id="16" idx="0"/>
          </p:cNvCxnSpPr>
          <p:nvPr/>
        </p:nvCxnSpPr>
        <p:spPr>
          <a:xfrm flipH="1">
            <a:off x="4076700" y="3408246"/>
            <a:ext cx="1023106" cy="1734855"/>
          </a:xfrm>
          <a:prstGeom prst="straightConnector1">
            <a:avLst/>
          </a:prstGeom>
          <a:ln w="571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9" name="Slide Number Placeholder 3">
            <a:extLst>
              <a:ext uri="{FF2B5EF4-FFF2-40B4-BE49-F238E27FC236}">
                <a16:creationId xmlns:a16="http://schemas.microsoft.com/office/drawing/2014/main" id="{29869B0A-245E-6617-42EE-AD9F74932BA2}"/>
              </a:ext>
            </a:extLst>
          </p:cNvPr>
          <p:cNvSpPr txBox="1">
            <a:spLocks/>
          </p:cNvSpPr>
          <p:nvPr/>
        </p:nvSpPr>
        <p:spPr>
          <a:xfrm>
            <a:off x="11323660" y="6514468"/>
            <a:ext cx="465150" cy="154849"/>
          </a:xfrm>
          <a:prstGeom prst="rect">
            <a:avLst/>
          </a:prstGeom>
        </p:spPr>
        <p:txBody>
          <a:bodyPr vert="horz" lIns="0" tIns="0" rIns="0" bIns="0" rtlCol="0" anchor="ctr"/>
          <a:lstStyle>
            <a:defPPr>
              <a:defRPr lang="en-US"/>
            </a:defPPr>
            <a:lvl1pPr marL="0" algn="r" defTabSz="609585" rtl="0" eaLnBrk="1" latinLnBrk="0" hangingPunct="1">
              <a:defRPr sz="750" b="1" kern="1200">
                <a:solidFill>
                  <a:schemeClr val="tx2"/>
                </a:solidFill>
                <a:latin typeface="+mj-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Tx/>
              <a:buSzTx/>
              <a:buFontTx/>
              <a:buNone/>
              <a:tabLst/>
              <a:defRPr/>
            </a:pPr>
            <a:fld id="{6B54B0F7-55DD-40D6-B7F4-70B586885C0B}" type="slidenum">
              <a:rPr kumimoji="0" lang="fr-FR" sz="800" b="1" i="0" u="none" strike="noStrike" kern="1200" cap="none" spc="0" normalizeH="0" baseline="0" noProof="0" smtClean="0">
                <a:ln>
                  <a:noFill/>
                </a:ln>
                <a:solidFill>
                  <a:srgbClr val="1423DC"/>
                </a:solidFill>
                <a:effectLst/>
                <a:uLnTx/>
                <a:uFillTx/>
                <a:latin typeface="Enedis"/>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2</a:t>
            </a:fld>
            <a:endParaRPr kumimoji="0" lang="fr-FR" sz="800" b="1" i="0" u="none" strike="noStrike" kern="1200" cap="none" spc="0" normalizeH="0" baseline="0" noProof="0" dirty="0">
              <a:ln>
                <a:noFill/>
              </a:ln>
              <a:solidFill>
                <a:srgbClr val="1423DC"/>
              </a:solidFill>
              <a:effectLst/>
              <a:uLnTx/>
              <a:uFillTx/>
              <a:latin typeface="Enedis"/>
              <a:ea typeface="+mn-ea"/>
              <a:cs typeface="+mn-cs"/>
            </a:endParaRPr>
          </a:p>
        </p:txBody>
      </p:sp>
      <p:sp>
        <p:nvSpPr>
          <p:cNvPr id="20" name="Espace réservé de la date 75"/>
          <p:cNvSpPr txBox="1">
            <a:spLocks/>
          </p:cNvSpPr>
          <p:nvPr/>
        </p:nvSpPr>
        <p:spPr>
          <a:xfrm>
            <a:off x="8112125" y="6514468"/>
            <a:ext cx="3067051" cy="154849"/>
          </a:xfrm>
          <a:prstGeom prst="rect">
            <a:avLst/>
          </a:prstGeom>
        </p:spPr>
        <p:txBody>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fr-FR" sz="800" dirty="0" err="1" smtClean="0">
                <a:solidFill>
                  <a:srgbClr val="1423DC"/>
                </a:solidFill>
                <a:latin typeface="Enedis"/>
              </a:rPr>
              <a:t>ChargeUp</a:t>
            </a:r>
            <a:r>
              <a:rPr lang="fr-FR" sz="800" dirty="0" smtClean="0">
                <a:solidFill>
                  <a:srgbClr val="1423DC"/>
                </a:solidFill>
                <a:latin typeface="Enedis"/>
              </a:rPr>
              <a:t> Europe – </a:t>
            </a:r>
            <a:r>
              <a:rPr lang="fr-FR" sz="800" dirty="0" err="1" smtClean="0">
                <a:solidFill>
                  <a:srgbClr val="1423DC"/>
                </a:solidFill>
                <a:latin typeface="Enedis"/>
              </a:rPr>
              <a:t>December</a:t>
            </a:r>
            <a:r>
              <a:rPr lang="fr-FR" sz="800" dirty="0" smtClean="0">
                <a:solidFill>
                  <a:srgbClr val="1423DC"/>
                </a:solidFill>
                <a:latin typeface="Enedis"/>
              </a:rPr>
              <a:t> 5th 2023</a:t>
            </a:r>
            <a:endParaRPr kumimoji="0" lang="en-US" sz="800" b="0" i="0" u="none" strike="noStrike" kern="1200" cap="none" spc="0" normalizeH="0" baseline="0" noProof="0" dirty="0">
              <a:ln>
                <a:noFill/>
              </a:ln>
              <a:solidFill>
                <a:srgbClr val="1423DC"/>
              </a:solidFill>
              <a:effectLst/>
              <a:uLnTx/>
              <a:uFillTx/>
              <a:latin typeface="Enedis"/>
              <a:ea typeface="+mn-ea"/>
              <a:cs typeface="+mn-cs"/>
            </a:endParaRPr>
          </a:p>
        </p:txBody>
      </p:sp>
    </p:spTree>
    <p:extLst>
      <p:ext uri="{BB962C8B-B14F-4D97-AF65-F5344CB8AC3E}">
        <p14:creationId xmlns:p14="http://schemas.microsoft.com/office/powerpoint/2010/main" val="3076273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animBg="1"/>
      <p:bldP spid="15" grpId="0"/>
      <p:bldP spid="11" grpId="0" animBg="1"/>
      <p:bldP spid="1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3">
            <a:extLst>
              <a:ext uri="{FF2B5EF4-FFF2-40B4-BE49-F238E27FC236}">
                <a16:creationId xmlns:a16="http://schemas.microsoft.com/office/drawing/2014/main" id="{29869B0A-245E-6617-42EE-AD9F74932BA2}"/>
              </a:ext>
            </a:extLst>
          </p:cNvPr>
          <p:cNvSpPr txBox="1">
            <a:spLocks/>
          </p:cNvSpPr>
          <p:nvPr/>
        </p:nvSpPr>
        <p:spPr>
          <a:xfrm>
            <a:off x="11203781" y="6514718"/>
            <a:ext cx="465150" cy="154849"/>
          </a:xfrm>
          <a:prstGeom prst="rect">
            <a:avLst/>
          </a:prstGeom>
        </p:spPr>
        <p:txBody>
          <a:bodyPr vert="horz" lIns="0" tIns="0" rIns="0" bIns="0" rtlCol="0" anchor="ctr"/>
          <a:lstStyle>
            <a:defPPr>
              <a:defRPr lang="en-US"/>
            </a:defPPr>
            <a:lvl1pPr marL="0" algn="r" defTabSz="609585" rtl="0" eaLnBrk="1" latinLnBrk="0" hangingPunct="1">
              <a:defRPr sz="750" b="1" kern="1200">
                <a:solidFill>
                  <a:schemeClr val="tx2"/>
                </a:solidFill>
                <a:latin typeface="+mj-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6B54B0F7-55DD-40D6-B7F4-70B586885C0B}" type="slidenum">
              <a:rPr lang="fr-FR" sz="800" smtClean="0"/>
              <a:pPr/>
              <a:t>23</a:t>
            </a:fld>
            <a:endParaRPr lang="fr-FR" sz="800" dirty="0"/>
          </a:p>
        </p:txBody>
      </p:sp>
      <p:sp>
        <p:nvSpPr>
          <p:cNvPr id="18" name="Espace réservé du texte 8"/>
          <p:cNvSpPr txBox="1">
            <a:spLocks/>
          </p:cNvSpPr>
          <p:nvPr/>
        </p:nvSpPr>
        <p:spPr>
          <a:xfrm>
            <a:off x="6418053" y="1030685"/>
            <a:ext cx="5516540" cy="2736183"/>
          </a:xfrm>
          <a:prstGeom prst="rect">
            <a:avLst/>
          </a:prstGeom>
          <a:solidFill>
            <a:schemeClr val="bg1"/>
          </a:solidFill>
          <a:effectLst>
            <a:outerShdw blurRad="50800" dist="76200" dir="2700000" algn="tl" rotWithShape="0">
              <a:prstClr val="black">
                <a:alpha val="40000"/>
              </a:prstClr>
            </a:outerShdw>
          </a:effectLst>
        </p:spPr>
        <p:txBody>
          <a:bodyPr wrap="square" anchor="ctr" anchorCtr="1">
            <a:noAutofit/>
          </a:bodyPr>
          <a:lstStyle>
            <a:defPPr>
              <a:defRPr lang="en-US"/>
            </a:defPPr>
            <a:lvl1pPr marL="285750" indent="-285750" defTabSz="914377">
              <a:lnSpc>
                <a:spcPct val="101000"/>
              </a:lnSpc>
              <a:spcBef>
                <a:spcPts val="0"/>
              </a:spcBef>
              <a:spcAft>
                <a:spcPts val="600"/>
              </a:spcAft>
              <a:buClr>
                <a:schemeClr val="tx2"/>
              </a:buClr>
              <a:buFont typeface="Wingdings" panose="05000000000000000000" pitchFamily="2" charset="2"/>
              <a:buChar char="q"/>
              <a:defRPr sz="1200">
                <a:latin typeface="+mj-lt"/>
              </a:defRPr>
            </a:lvl1pPr>
            <a:lvl2pPr marL="216000" indent="-216000" defTabSz="914377">
              <a:lnSpc>
                <a:spcPct val="101000"/>
              </a:lnSpc>
              <a:spcBef>
                <a:spcPts val="0"/>
              </a:spcBef>
              <a:buClr>
                <a:schemeClr val="tx2"/>
              </a:buClr>
              <a:buSzPct val="120000"/>
              <a:buFont typeface="Public Sans" pitchFamily="2" charset="0"/>
              <a:buChar char="—"/>
              <a:defRPr sz="1200" b="1">
                <a:solidFill>
                  <a:schemeClr val="tx2"/>
                </a:solidFill>
                <a:latin typeface="Public Sans" pitchFamily="2" charset="0"/>
              </a:defRPr>
            </a:lvl2pPr>
            <a:lvl3pPr marL="576000" indent="-108000" defTabSz="914377">
              <a:lnSpc>
                <a:spcPct val="101000"/>
              </a:lnSpc>
              <a:spcBef>
                <a:spcPts val="0"/>
              </a:spcBef>
              <a:buFont typeface="Arial" panose="020B0604020202020204" pitchFamily="34" charset="0"/>
              <a:buChar char="-"/>
              <a:defRPr sz="1200">
                <a:latin typeface="Public Sans" pitchFamily="2" charset="0"/>
              </a:defRPr>
            </a:lvl3pPr>
            <a:lvl4pPr marL="1152000" indent="-216000" defTabSz="914377">
              <a:lnSpc>
                <a:spcPct val="101000"/>
              </a:lnSpc>
              <a:spcBef>
                <a:spcPts val="0"/>
              </a:spcBef>
              <a:buFont typeface="Arial" panose="020B0604020202020204" pitchFamily="34" charset="0"/>
              <a:buChar char="•"/>
              <a:defRPr sz="1100"/>
            </a:lvl4pPr>
            <a:lvl5pPr marL="0" indent="0" defTabSz="914377">
              <a:lnSpc>
                <a:spcPct val="101000"/>
              </a:lnSpc>
              <a:spcBef>
                <a:spcPts val="0"/>
              </a:spcBef>
              <a:buFont typeface="Arial" panose="020B0604020202020204" pitchFamily="34" charset="0"/>
              <a:buNone/>
              <a:defRPr sz="1600">
                <a:solidFill>
                  <a:schemeClr val="tx2"/>
                </a:solidFill>
                <a:latin typeface="+mj-lt"/>
              </a:defRPr>
            </a:lvl5pPr>
            <a:lvl6pPr marL="0" indent="0" defTabSz="914377">
              <a:lnSpc>
                <a:spcPct val="101000"/>
              </a:lnSpc>
              <a:spcBef>
                <a:spcPts val="0"/>
              </a:spcBef>
              <a:buFont typeface="Arial" panose="020B0604020202020204" pitchFamily="34" charset="0"/>
              <a:buNone/>
              <a:defRPr sz="600" i="1">
                <a:latin typeface="Public Sans" pitchFamily="2" charset="0"/>
              </a:defRPr>
            </a:lvl6pPr>
            <a:lvl7pPr marL="2971726" indent="-228594" defTabSz="914377">
              <a:lnSpc>
                <a:spcPct val="90000"/>
              </a:lnSpc>
              <a:spcBef>
                <a:spcPts val="500"/>
              </a:spcBef>
              <a:buFont typeface="Arial" panose="020B0604020202020204" pitchFamily="34" charset="0"/>
              <a:buChar char="•"/>
              <a:defRPr sz="1800"/>
            </a:lvl7pPr>
            <a:lvl8pPr marL="3428914" indent="-228594" defTabSz="914377">
              <a:lnSpc>
                <a:spcPct val="90000"/>
              </a:lnSpc>
              <a:spcBef>
                <a:spcPts val="500"/>
              </a:spcBef>
              <a:buFont typeface="Arial" panose="020B0604020202020204" pitchFamily="34" charset="0"/>
              <a:buChar char="•"/>
              <a:defRPr sz="1800"/>
            </a:lvl8pPr>
            <a:lvl9pPr marL="3886103" indent="-228594" defTabSz="914377">
              <a:lnSpc>
                <a:spcPct val="90000"/>
              </a:lnSpc>
              <a:spcBef>
                <a:spcPts val="500"/>
              </a:spcBef>
              <a:buFont typeface="Arial" panose="020B0604020202020204" pitchFamily="34" charset="0"/>
              <a:buChar char="•"/>
              <a:defRPr sz="1800"/>
            </a:lvl9pPr>
          </a:lstStyle>
          <a:p>
            <a:pPr marL="285750" marR="0" lvl="0" indent="-285750" algn="l" defTabSz="914377" rtl="0" eaLnBrk="1" fontAlgn="auto" latinLnBrk="0" hangingPunct="1">
              <a:lnSpc>
                <a:spcPct val="101000"/>
              </a:lnSpc>
              <a:spcBef>
                <a:spcPts val="0"/>
              </a:spcBef>
              <a:spcAft>
                <a:spcPts val="600"/>
              </a:spcAft>
              <a:buClr>
                <a:srgbClr val="1423DC"/>
              </a:buClr>
              <a:buSzTx/>
              <a:buFont typeface="Wingdings" panose="05000000000000000000" pitchFamily="2" charset="2"/>
              <a:buChar char="q"/>
              <a:tabLst/>
              <a:defRPr/>
            </a:pPr>
            <a:endParaRPr kumimoji="0" lang="fr-FR" sz="1200" b="1" i="0" u="none" strike="noStrike" kern="1200" cap="none" spc="0" normalizeH="0" baseline="0" noProof="0" dirty="0" smtClean="0">
              <a:ln>
                <a:noFill/>
              </a:ln>
              <a:solidFill>
                <a:prstClr val="black"/>
              </a:solidFill>
              <a:effectLst/>
              <a:uLnTx/>
              <a:uFillTx/>
              <a:latin typeface="Enedis"/>
              <a:ea typeface="+mn-ea"/>
              <a:cs typeface="+mn-cs"/>
            </a:endParaRPr>
          </a:p>
        </p:txBody>
      </p:sp>
      <p:pic>
        <p:nvPicPr>
          <p:cNvPr id="19" name="Image 1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129099" y="3951086"/>
            <a:ext cx="3320366" cy="2208173"/>
          </a:xfrm>
          <a:prstGeom prst="rect">
            <a:avLst/>
          </a:prstGeom>
          <a:effectLst>
            <a:outerShdw blurRad="50800" dist="76200" dir="2700000" algn="tl" rotWithShape="0">
              <a:prstClr val="black">
                <a:alpha val="40000"/>
              </a:prstClr>
            </a:outerShdw>
          </a:effectLst>
        </p:spPr>
      </p:pic>
      <p:sp>
        <p:nvSpPr>
          <p:cNvPr id="20" name="ZoneTexte 19">
            <a:extLst>
              <a:ext uri="{FF2B5EF4-FFF2-40B4-BE49-F238E27FC236}">
                <a16:creationId xmlns:a16="http://schemas.microsoft.com/office/drawing/2014/main" id="{78DB97C5-C5BA-F324-11F7-8248C35FF52A}"/>
              </a:ext>
            </a:extLst>
          </p:cNvPr>
          <p:cNvSpPr txBox="1"/>
          <p:nvPr/>
        </p:nvSpPr>
        <p:spPr>
          <a:xfrm>
            <a:off x="6418053" y="1075889"/>
            <a:ext cx="5516540" cy="584775"/>
          </a:xfrm>
          <a:prstGeom prst="rect">
            <a:avLst/>
          </a:prstGeom>
          <a:noFill/>
        </p:spPr>
        <p:txBody>
          <a:bodyPr wrap="square" rtlCol="0">
            <a:spAutoFit/>
          </a:bodyPr>
          <a:lstStyle/>
          <a:p>
            <a:pPr defTabSz="609585"/>
            <a:r>
              <a:rPr lang="fr-FR" sz="1600" b="1" dirty="0" smtClean="0">
                <a:solidFill>
                  <a:schemeClr val="accent3"/>
                </a:solidFill>
                <a:latin typeface="Enedis"/>
              </a:rPr>
              <a:t>Groupe de travail piloté par Enedis, avec Total, Vinci et 6 constructeurs de poids lourds</a:t>
            </a:r>
            <a:endParaRPr lang="fr-FR" sz="1600" b="1" dirty="0">
              <a:solidFill>
                <a:schemeClr val="accent3"/>
              </a:solidFill>
              <a:latin typeface="Enedis"/>
            </a:endParaRPr>
          </a:p>
        </p:txBody>
      </p:sp>
      <p:pic>
        <p:nvPicPr>
          <p:cNvPr id="21" name="Image 20">
            <a:extLst>
              <a:ext uri="{FF2B5EF4-FFF2-40B4-BE49-F238E27FC236}">
                <a16:creationId xmlns:a16="http://schemas.microsoft.com/office/drawing/2014/main" id="{4FEEF868-A9D8-2380-B689-3005C1910F6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72891" y="1905790"/>
            <a:ext cx="1258258" cy="284223"/>
          </a:xfrm>
          <a:prstGeom prst="rect">
            <a:avLst/>
          </a:prstGeom>
        </p:spPr>
      </p:pic>
      <p:pic>
        <p:nvPicPr>
          <p:cNvPr id="22" name="Image 21">
            <a:extLst>
              <a:ext uri="{FF2B5EF4-FFF2-40B4-BE49-F238E27FC236}">
                <a16:creationId xmlns:a16="http://schemas.microsoft.com/office/drawing/2014/main" id="{9734BDAD-07CB-13DE-D185-C14254383F3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531701" y="1742156"/>
            <a:ext cx="1009510" cy="797355"/>
          </a:xfrm>
          <a:prstGeom prst="rect">
            <a:avLst/>
          </a:prstGeom>
        </p:spPr>
      </p:pic>
      <p:pic>
        <p:nvPicPr>
          <p:cNvPr id="23" name="Image 22">
            <a:extLst>
              <a:ext uri="{FF2B5EF4-FFF2-40B4-BE49-F238E27FC236}">
                <a16:creationId xmlns:a16="http://schemas.microsoft.com/office/drawing/2014/main" id="{5EE7A7ED-E7E4-F6C8-851E-08080AFE850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39501" y="1830843"/>
            <a:ext cx="1613167" cy="418415"/>
          </a:xfrm>
          <a:prstGeom prst="rect">
            <a:avLst/>
          </a:prstGeom>
        </p:spPr>
      </p:pic>
      <p:pic>
        <p:nvPicPr>
          <p:cNvPr id="24" name="Image 2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987395" y="2539511"/>
            <a:ext cx="3767183" cy="1151948"/>
          </a:xfrm>
          <a:prstGeom prst="rect">
            <a:avLst/>
          </a:prstGeom>
        </p:spPr>
      </p:pic>
      <p:sp>
        <p:nvSpPr>
          <p:cNvPr id="25" name="ZoneTexte 24">
            <a:extLst>
              <a:ext uri="{FF2B5EF4-FFF2-40B4-BE49-F238E27FC236}">
                <a16:creationId xmlns:a16="http://schemas.microsoft.com/office/drawing/2014/main" id="{F3B90799-971E-539D-9E41-6A99DA786BB0}"/>
              </a:ext>
            </a:extLst>
          </p:cNvPr>
          <p:cNvSpPr txBox="1"/>
          <p:nvPr/>
        </p:nvSpPr>
        <p:spPr>
          <a:xfrm>
            <a:off x="388658" y="1075888"/>
            <a:ext cx="5809643" cy="5083371"/>
          </a:xfrm>
          <a:prstGeom prst="rect">
            <a:avLst/>
          </a:prstGeom>
          <a:solidFill>
            <a:schemeClr val="bg1"/>
          </a:solidFill>
          <a:effectLst>
            <a:outerShdw blurRad="50800" dist="76200" dir="2700000" algn="tl" rotWithShape="0">
              <a:prstClr val="black">
                <a:alpha val="40000"/>
              </a:prstClr>
            </a:outerShdw>
          </a:effectLst>
        </p:spPr>
        <p:txBody>
          <a:bodyPr wrap="square" anchor="ctr" anchorCtr="1">
            <a:noAutofit/>
          </a:bodyPr>
          <a:lstStyle>
            <a:defPPr>
              <a:defRPr lang="en-US"/>
            </a:defPPr>
            <a:lvl1pPr marL="285750" indent="-285750" defTabSz="914377">
              <a:lnSpc>
                <a:spcPct val="101000"/>
              </a:lnSpc>
              <a:spcAft>
                <a:spcPts val="600"/>
              </a:spcAft>
              <a:buClr>
                <a:schemeClr val="tx2"/>
              </a:buClr>
              <a:buFont typeface="Wingdings" panose="05000000000000000000" pitchFamily="2" charset="2"/>
              <a:buChar char="q"/>
              <a:defRPr sz="1200">
                <a:latin typeface="+mj-lt"/>
              </a:defRPr>
            </a:lvl1pPr>
          </a:lstStyle>
          <a:p>
            <a:r>
              <a:rPr lang="fr-FR" dirty="0" smtClean="0"/>
              <a:t>En 2022, lancement </a:t>
            </a:r>
            <a:r>
              <a:rPr lang="fr-FR" dirty="0"/>
              <a:t>d'un </a:t>
            </a:r>
            <a:r>
              <a:rPr lang="fr-FR" b="1" dirty="0" smtClean="0"/>
              <a:t>groupe de travail </a:t>
            </a:r>
            <a:r>
              <a:rPr lang="fr-FR" dirty="0"/>
              <a:t>avec TotalEnergies, Vinci Autoroutes et six constructeurs poids </a:t>
            </a:r>
            <a:r>
              <a:rPr lang="fr-FR" dirty="0" smtClean="0"/>
              <a:t>lourds</a:t>
            </a:r>
            <a:endParaRPr lang="fr-FR" dirty="0"/>
          </a:p>
          <a:p>
            <a:r>
              <a:rPr lang="fr-FR" dirty="0" smtClean="0">
                <a:sym typeface="Wingdings" panose="05000000000000000000" pitchFamily="2" charset="2"/>
              </a:rPr>
              <a:t>Objectif : estimation </a:t>
            </a:r>
            <a:r>
              <a:rPr lang="fr-FR" dirty="0">
                <a:sym typeface="Wingdings" panose="05000000000000000000" pitchFamily="2" charset="2"/>
              </a:rPr>
              <a:t>des </a:t>
            </a:r>
            <a:r>
              <a:rPr lang="fr-FR" b="1" dirty="0">
                <a:sym typeface="Wingdings" panose="05000000000000000000" pitchFamily="2" charset="2"/>
              </a:rPr>
              <a:t>besoins de recharge </a:t>
            </a:r>
            <a:r>
              <a:rPr lang="fr-FR" dirty="0">
                <a:sym typeface="Wingdings" panose="05000000000000000000" pitchFamily="2" charset="2"/>
              </a:rPr>
              <a:t>en </a:t>
            </a:r>
            <a:r>
              <a:rPr lang="fr-FR" b="1" dirty="0">
                <a:sym typeface="Wingdings" panose="05000000000000000000" pitchFamily="2" charset="2"/>
              </a:rPr>
              <a:t>itinérance </a:t>
            </a:r>
            <a:r>
              <a:rPr lang="fr-FR" dirty="0">
                <a:sym typeface="Wingdings" panose="05000000000000000000" pitchFamily="2" charset="2"/>
              </a:rPr>
              <a:t>des </a:t>
            </a:r>
            <a:r>
              <a:rPr lang="fr-FR" b="1" dirty="0">
                <a:sym typeface="Wingdings" panose="05000000000000000000" pitchFamily="2" charset="2"/>
              </a:rPr>
              <a:t>poids-lourds</a:t>
            </a:r>
            <a:r>
              <a:rPr lang="fr-FR" dirty="0">
                <a:sym typeface="Wingdings" panose="05000000000000000000" pitchFamily="2" charset="2"/>
              </a:rPr>
              <a:t> électriques qui réalisent des trajets longue distance sur les principaux axes du réseau (auto)routier français, et </a:t>
            </a:r>
            <a:r>
              <a:rPr lang="fr-FR" b="1" dirty="0">
                <a:sym typeface="Wingdings" panose="05000000000000000000" pitchFamily="2" charset="2"/>
              </a:rPr>
              <a:t>modélisation de l’impact sur les réseaux électriques </a:t>
            </a:r>
            <a:r>
              <a:rPr lang="fr-FR" dirty="0">
                <a:sym typeface="Wingdings" panose="05000000000000000000" pitchFamily="2" charset="2"/>
              </a:rPr>
              <a:t>de ces besoins de recharge, en collaboration avec RTE.</a:t>
            </a:r>
          </a:p>
          <a:p>
            <a:r>
              <a:rPr lang="fr-FR" b="1" dirty="0"/>
              <a:t>Trois scénarios étudiés </a:t>
            </a:r>
            <a:r>
              <a:rPr lang="fr-FR" dirty="0"/>
              <a:t>à </a:t>
            </a:r>
            <a:r>
              <a:rPr lang="fr-FR" b="1" dirty="0"/>
              <a:t>horizon 2035 </a:t>
            </a:r>
            <a:r>
              <a:rPr lang="fr-FR" dirty="0"/>
              <a:t>:</a:t>
            </a:r>
            <a:endParaRPr lang="fr-FR" dirty="0">
              <a:sym typeface="Wingdings" panose="05000000000000000000" pitchFamily="2" charset="2"/>
            </a:endParaRPr>
          </a:p>
          <a:p>
            <a:pPr marL="627063">
              <a:buFont typeface="Wingdings" panose="05000000000000000000" pitchFamily="2" charset="2"/>
              <a:buChar char="ü"/>
            </a:pPr>
            <a:r>
              <a:rPr lang="fr-FR" b="1" dirty="0">
                <a:sym typeface="Wingdings" panose="05000000000000000000" pitchFamily="2" charset="2"/>
              </a:rPr>
              <a:t>Scénario "haut" </a:t>
            </a:r>
            <a:r>
              <a:rPr lang="fr-FR" dirty="0">
                <a:sym typeface="Wingdings" panose="05000000000000000000" pitchFamily="2" charset="2"/>
              </a:rPr>
              <a:t>: offre technologique importante (disponibilité et diffusion de tracteurs électriques longue distance et bornes </a:t>
            </a:r>
            <a:r>
              <a:rPr lang="fr-FR" dirty="0" smtClean="0">
                <a:sym typeface="Wingdings" panose="05000000000000000000" pitchFamily="2" charset="2"/>
              </a:rPr>
              <a:t>« </a:t>
            </a:r>
            <a:r>
              <a:rPr lang="fr-FR" dirty="0" err="1" smtClean="0">
                <a:sym typeface="Wingdings" panose="05000000000000000000" pitchFamily="2" charset="2"/>
              </a:rPr>
              <a:t>MegaChargingSystem</a:t>
            </a:r>
            <a:r>
              <a:rPr lang="fr-FR" dirty="0" smtClean="0">
                <a:sym typeface="Wingdings" panose="05000000000000000000" pitchFamily="2" charset="2"/>
              </a:rPr>
              <a:t> » MCS</a:t>
            </a:r>
            <a:r>
              <a:rPr lang="fr-FR" dirty="0">
                <a:sym typeface="Wingdings" panose="05000000000000000000" pitchFamily="2" charset="2"/>
              </a:rPr>
              <a:t>)</a:t>
            </a:r>
          </a:p>
          <a:p>
            <a:pPr marL="627063">
              <a:buFont typeface="Wingdings" panose="05000000000000000000" pitchFamily="2" charset="2"/>
              <a:buChar char="ü"/>
            </a:pPr>
            <a:r>
              <a:rPr lang="fr-FR" b="1" dirty="0">
                <a:sym typeface="Wingdings" panose="05000000000000000000" pitchFamily="2" charset="2"/>
              </a:rPr>
              <a:t>Scénario "bas"</a:t>
            </a:r>
            <a:r>
              <a:rPr lang="fr-FR" dirty="0">
                <a:sym typeface="Wingdings" panose="05000000000000000000" pitchFamily="2" charset="2"/>
              </a:rPr>
              <a:t>, cohérent avec la SFEC : contraction du transport routier et électrification de poids lourds concernant principalement le transport régional</a:t>
            </a:r>
          </a:p>
          <a:p>
            <a:pPr marL="627063">
              <a:buFont typeface="Wingdings" panose="05000000000000000000" pitchFamily="2" charset="2"/>
              <a:buChar char="ü"/>
            </a:pPr>
            <a:r>
              <a:rPr lang="fr-FR" b="1" dirty="0">
                <a:sym typeface="Wingdings" panose="05000000000000000000" pitchFamily="2" charset="2"/>
              </a:rPr>
              <a:t>Scénario "médian" </a:t>
            </a:r>
            <a:r>
              <a:rPr lang="fr-FR" dirty="0">
                <a:sym typeface="Wingdings" panose="05000000000000000000" pitchFamily="2" charset="2"/>
              </a:rPr>
              <a:t>: développement volontaire des acteurs du TRM en Europe (taux d'électrification de 15% des trajets longue distance)</a:t>
            </a:r>
          </a:p>
          <a:p>
            <a:r>
              <a:rPr lang="fr-FR" dirty="0"/>
              <a:t>Résultats préliminaires et à consolider </a:t>
            </a:r>
            <a:r>
              <a:rPr lang="fr-FR" dirty="0" smtClean="0"/>
              <a:t>(publication en fin d’année) :</a:t>
            </a:r>
            <a:endParaRPr lang="fr-FR" dirty="0">
              <a:sym typeface="Wingdings" panose="05000000000000000000" pitchFamily="2" charset="2"/>
            </a:endParaRPr>
          </a:p>
          <a:p>
            <a:pPr marL="627063">
              <a:buFont typeface="Wingdings" panose="05000000000000000000" pitchFamily="2" charset="2"/>
              <a:buChar char="ü"/>
            </a:pPr>
            <a:r>
              <a:rPr lang="fr-FR" b="1" dirty="0">
                <a:sym typeface="Wingdings" panose="05000000000000000000" pitchFamily="2" charset="2"/>
              </a:rPr>
              <a:t>Demande</a:t>
            </a:r>
            <a:r>
              <a:rPr lang="fr-FR" dirty="0">
                <a:sym typeface="Wingdings" panose="05000000000000000000" pitchFamily="2" charset="2"/>
              </a:rPr>
              <a:t> en énergie jusqu'à environ </a:t>
            </a:r>
            <a:r>
              <a:rPr lang="fr-FR" b="1" dirty="0">
                <a:sym typeface="Wingdings" panose="05000000000000000000" pitchFamily="2" charset="2"/>
              </a:rPr>
              <a:t>3,5 TWh </a:t>
            </a:r>
            <a:r>
              <a:rPr lang="fr-FR" dirty="0">
                <a:sym typeface="Wingdings" panose="05000000000000000000" pitchFamily="2" charset="2"/>
              </a:rPr>
              <a:t>par an à </a:t>
            </a:r>
            <a:r>
              <a:rPr lang="fr-FR" b="1" dirty="0">
                <a:sym typeface="Wingdings" panose="05000000000000000000" pitchFamily="2" charset="2"/>
              </a:rPr>
              <a:t>horizon 2035</a:t>
            </a:r>
          </a:p>
          <a:p>
            <a:pPr marL="627063">
              <a:buFont typeface="Wingdings" panose="05000000000000000000" pitchFamily="2" charset="2"/>
              <a:buChar char="ü"/>
            </a:pPr>
            <a:r>
              <a:rPr lang="fr-FR" dirty="0">
                <a:sym typeface="Wingdings" panose="05000000000000000000" pitchFamily="2" charset="2"/>
              </a:rPr>
              <a:t>Appel de </a:t>
            </a:r>
            <a:r>
              <a:rPr lang="fr-FR" b="1" dirty="0">
                <a:sym typeface="Wingdings" panose="05000000000000000000" pitchFamily="2" charset="2"/>
              </a:rPr>
              <a:t>puissance</a:t>
            </a:r>
            <a:r>
              <a:rPr lang="fr-FR" dirty="0">
                <a:sym typeface="Wingdings" panose="05000000000000000000" pitchFamily="2" charset="2"/>
              </a:rPr>
              <a:t> jusqu'à environ </a:t>
            </a:r>
            <a:r>
              <a:rPr lang="fr-FR" b="1" dirty="0">
                <a:sym typeface="Wingdings" panose="05000000000000000000" pitchFamily="2" charset="2"/>
              </a:rPr>
              <a:t>1,1 GW </a:t>
            </a:r>
            <a:r>
              <a:rPr lang="fr-FR" dirty="0">
                <a:sym typeface="Wingdings" panose="05000000000000000000" pitchFamily="2" charset="2"/>
              </a:rPr>
              <a:t>au pic national</a:t>
            </a:r>
          </a:p>
          <a:p>
            <a:r>
              <a:rPr lang="fr-FR" i="1" dirty="0" smtClean="0"/>
              <a:t>La </a:t>
            </a:r>
            <a:r>
              <a:rPr lang="fr-FR" i="1" dirty="0"/>
              <a:t>recharge au dépôt n'est pas traitée dans le cadre de cette </a:t>
            </a:r>
            <a:r>
              <a:rPr lang="fr-FR" i="1" dirty="0" smtClean="0"/>
              <a:t>étude et fait l’objet d’une autre étude conduite par Enedis en parallèle, qui produira des premiers résultats pour septembre 2023</a:t>
            </a:r>
            <a:endParaRPr lang="fr-FR" i="1" dirty="0">
              <a:sym typeface="Wingdings" panose="05000000000000000000" pitchFamily="2" charset="2"/>
            </a:endParaRPr>
          </a:p>
        </p:txBody>
      </p:sp>
      <p:sp>
        <p:nvSpPr>
          <p:cNvPr id="26" name="Titre 4"/>
          <p:cNvSpPr txBox="1">
            <a:spLocks/>
          </p:cNvSpPr>
          <p:nvPr/>
        </p:nvSpPr>
        <p:spPr>
          <a:xfrm>
            <a:off x="205459" y="136590"/>
            <a:ext cx="11985683" cy="723916"/>
          </a:xfrm>
          <a:prstGeom prst="rect">
            <a:avLst/>
          </a:prstGeom>
        </p:spPr>
        <p:txBody>
          <a:bodyPr vert="horz" wrap="square" lIns="0" tIns="0" rIns="0" bIns="0" rtlCol="0" anchor="t">
            <a:spAutoFit/>
          </a:bodyPr>
          <a:lstStyle>
            <a:lvl1pPr algn="l" defTabSz="914377" rtl="0" eaLnBrk="1" latinLnBrk="0" hangingPunct="1">
              <a:lnSpc>
                <a:spcPct val="90000"/>
              </a:lnSpc>
              <a:spcBef>
                <a:spcPct val="0"/>
              </a:spcBef>
              <a:buNone/>
              <a:defRPr sz="3500" b="1" kern="1200">
                <a:solidFill>
                  <a:schemeClr val="tx2"/>
                </a:solidFill>
                <a:latin typeface="+mj-lt"/>
                <a:ea typeface="+mj-ea"/>
                <a:cs typeface="+mj-cs"/>
              </a:defRPr>
            </a:lvl1pPr>
          </a:lstStyle>
          <a:p>
            <a:pPr>
              <a:lnSpc>
                <a:spcPct val="84000"/>
              </a:lnSpc>
            </a:pPr>
            <a:r>
              <a:rPr lang="fr-FR" sz="2800" dirty="0" smtClean="0"/>
              <a:t>Enedis co-pilote une étude pour estimer les besoins de recharge et modéliser les impacts réseau de la mobilité lourde longue distance</a:t>
            </a:r>
            <a:endParaRPr lang="fr-FR" sz="1600" dirty="0"/>
          </a:p>
        </p:txBody>
      </p:sp>
    </p:spTree>
    <p:extLst>
      <p:ext uri="{BB962C8B-B14F-4D97-AF65-F5344CB8AC3E}">
        <p14:creationId xmlns:p14="http://schemas.microsoft.com/office/powerpoint/2010/main" val="407905774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ZoneTexte 17">
            <a:extLst>
              <a:ext uri="{FF2B5EF4-FFF2-40B4-BE49-F238E27FC236}">
                <a16:creationId xmlns:a16="http://schemas.microsoft.com/office/drawing/2014/main" id="{896B5E6D-C312-51F3-6D42-427BF5FAFF23}"/>
              </a:ext>
            </a:extLst>
          </p:cNvPr>
          <p:cNvSpPr txBox="1"/>
          <p:nvPr/>
        </p:nvSpPr>
        <p:spPr>
          <a:xfrm>
            <a:off x="582537" y="5598993"/>
            <a:ext cx="11379669" cy="808722"/>
          </a:xfrm>
          <a:prstGeom prst="rect">
            <a:avLst/>
          </a:prstGeom>
          <a:solidFill>
            <a:schemeClr val="bg1"/>
          </a:solidFill>
          <a:effectLst>
            <a:outerShdw blurRad="50800" dist="76200" dir="2700000" algn="tl" rotWithShape="0">
              <a:prstClr val="black">
                <a:alpha val="40000"/>
              </a:prstClr>
            </a:outerShdw>
          </a:effectLst>
        </p:spPr>
        <p:txBody>
          <a:bodyPr wrap="square" rtlCol="0">
            <a:noAutofit/>
          </a:bodyPr>
          <a:lstStyle/>
          <a:p>
            <a:endParaRPr lang="fr-FR" sz="1400" dirty="0">
              <a:solidFill>
                <a:schemeClr val="accent3"/>
              </a:solidFill>
              <a:latin typeface="+mj-lt"/>
              <a:sym typeface="Wingdings" panose="05000000000000000000" pitchFamily="2" charset="2"/>
            </a:endParaRPr>
          </a:p>
        </p:txBody>
      </p:sp>
      <p:sp>
        <p:nvSpPr>
          <p:cNvPr id="16" name="ZoneTexte 15">
            <a:extLst>
              <a:ext uri="{FF2B5EF4-FFF2-40B4-BE49-F238E27FC236}">
                <a16:creationId xmlns:a16="http://schemas.microsoft.com/office/drawing/2014/main" id="{896B5E6D-C312-51F3-6D42-427BF5FAFF23}"/>
              </a:ext>
            </a:extLst>
          </p:cNvPr>
          <p:cNvSpPr txBox="1"/>
          <p:nvPr/>
        </p:nvSpPr>
        <p:spPr>
          <a:xfrm>
            <a:off x="573741" y="3954098"/>
            <a:ext cx="11379669" cy="808722"/>
          </a:xfrm>
          <a:prstGeom prst="rect">
            <a:avLst/>
          </a:prstGeom>
          <a:solidFill>
            <a:schemeClr val="bg1"/>
          </a:solidFill>
          <a:effectLst>
            <a:outerShdw blurRad="50800" dist="76200" dir="2700000" algn="tl" rotWithShape="0">
              <a:prstClr val="black">
                <a:alpha val="40000"/>
              </a:prstClr>
            </a:outerShdw>
          </a:effectLst>
        </p:spPr>
        <p:txBody>
          <a:bodyPr wrap="square" rtlCol="0">
            <a:noAutofit/>
          </a:bodyPr>
          <a:lstStyle/>
          <a:p>
            <a:endParaRPr lang="fr-FR" sz="1400" dirty="0">
              <a:solidFill>
                <a:schemeClr val="accent3"/>
              </a:solidFill>
              <a:latin typeface="+mj-lt"/>
              <a:sym typeface="Wingdings" panose="05000000000000000000" pitchFamily="2" charset="2"/>
            </a:endParaRPr>
          </a:p>
        </p:txBody>
      </p:sp>
      <p:sp>
        <p:nvSpPr>
          <p:cNvPr id="3" name="Espace réservé du numéro de diapositive 2"/>
          <p:cNvSpPr>
            <a:spLocks noGrp="1"/>
          </p:cNvSpPr>
          <p:nvPr>
            <p:ph type="sldNum" sz="quarter" idx="21"/>
          </p:nvPr>
        </p:nvSpPr>
        <p:spPr/>
        <p:txBody>
          <a:bodyPr/>
          <a:lstStyle/>
          <a:p>
            <a:fld id="{6B54B0F7-55DD-40D6-B7F4-70B586885C0B}" type="slidenum">
              <a:rPr lang="fr-FR" smtClean="0"/>
              <a:pPr/>
              <a:t>24</a:t>
            </a:fld>
            <a:endParaRPr lang="fr-FR" dirty="0"/>
          </a:p>
        </p:txBody>
      </p:sp>
      <p:sp>
        <p:nvSpPr>
          <p:cNvPr id="4" name="Titre 3"/>
          <p:cNvSpPr>
            <a:spLocks noGrp="1"/>
          </p:cNvSpPr>
          <p:nvPr>
            <p:ph type="title"/>
          </p:nvPr>
        </p:nvSpPr>
        <p:spPr>
          <a:xfrm>
            <a:off x="444234" y="161277"/>
            <a:ext cx="11449411" cy="930639"/>
          </a:xfrm>
        </p:spPr>
        <p:txBody>
          <a:bodyPr/>
          <a:lstStyle/>
          <a:p>
            <a:r>
              <a:rPr lang="fr-FR" sz="2400" dirty="0" smtClean="0"/>
              <a:t>Enedis a conduit un GT réunissant 9 acteurs de la mobilité lourde</a:t>
            </a:r>
            <a:r>
              <a:rPr lang="fr-FR" sz="2400" dirty="0"/>
              <a:t> </a:t>
            </a:r>
            <a:r>
              <a:rPr lang="fr-FR" sz="2400" dirty="0" smtClean="0"/>
              <a:t>pour déterminer les besoins de recharge – et impacts réseaux associés – liés au transport de marchandise longue distance</a:t>
            </a:r>
            <a:endParaRPr lang="fr-FR" sz="2400" dirty="0"/>
          </a:p>
        </p:txBody>
      </p:sp>
      <p:sp>
        <p:nvSpPr>
          <p:cNvPr id="9" name="ZoneTexte 8"/>
          <p:cNvSpPr txBox="1"/>
          <p:nvPr/>
        </p:nvSpPr>
        <p:spPr>
          <a:xfrm>
            <a:off x="573741" y="4838287"/>
            <a:ext cx="5360960" cy="769441"/>
          </a:xfrm>
          <a:prstGeom prst="rect">
            <a:avLst/>
          </a:prstGeom>
          <a:solidFill>
            <a:schemeClr val="bg1"/>
          </a:solidFill>
          <a:effectLst/>
        </p:spPr>
        <p:txBody>
          <a:bodyPr wrap="square" rtlCol="0">
            <a:spAutoFit/>
          </a:bodyPr>
          <a:lstStyle/>
          <a:p>
            <a:r>
              <a:rPr lang="fr-FR" sz="2000" b="1" dirty="0">
                <a:solidFill>
                  <a:schemeClr val="accent5"/>
                </a:solidFill>
                <a:latin typeface="+mj-lt"/>
              </a:rPr>
              <a:t>10 </a:t>
            </a:r>
            <a:r>
              <a:rPr lang="fr-FR" sz="2000" b="1" dirty="0" smtClean="0">
                <a:solidFill>
                  <a:schemeClr val="accent5"/>
                </a:solidFill>
                <a:latin typeface="+mj-lt"/>
              </a:rPr>
              <a:t>000 points de charge CCS</a:t>
            </a:r>
            <a:endParaRPr lang="fr-FR" sz="2000" dirty="0">
              <a:solidFill>
                <a:schemeClr val="accent5"/>
              </a:solidFill>
              <a:latin typeface="+mj-lt"/>
            </a:endParaRPr>
          </a:p>
          <a:p>
            <a:r>
              <a:rPr lang="fr-FR" sz="1200" b="1" dirty="0" smtClean="0">
                <a:solidFill>
                  <a:schemeClr val="accent5"/>
                </a:solidFill>
                <a:latin typeface="+mj-lt"/>
              </a:rPr>
              <a:t>Moyenne puissance</a:t>
            </a:r>
            <a:r>
              <a:rPr lang="fr-FR" sz="1200" b="1" dirty="0" smtClean="0">
                <a:solidFill>
                  <a:schemeClr val="bg2"/>
                </a:solidFill>
                <a:latin typeface="+mj-lt"/>
              </a:rPr>
              <a:t> </a:t>
            </a:r>
            <a:r>
              <a:rPr lang="fr-FR" sz="1200" dirty="0">
                <a:latin typeface="+mj-lt"/>
              </a:rPr>
              <a:t>installés sur l’ensemble des aires et dédiés à la recharge lors des pauses de longue durée.</a:t>
            </a:r>
          </a:p>
        </p:txBody>
      </p:sp>
      <p:sp>
        <p:nvSpPr>
          <p:cNvPr id="10" name="ZoneTexte 9"/>
          <p:cNvSpPr txBox="1"/>
          <p:nvPr/>
        </p:nvSpPr>
        <p:spPr>
          <a:xfrm>
            <a:off x="6562295" y="3995023"/>
            <a:ext cx="5343369" cy="769441"/>
          </a:xfrm>
          <a:prstGeom prst="rect">
            <a:avLst/>
          </a:prstGeom>
          <a:solidFill>
            <a:schemeClr val="bg1"/>
          </a:solidFill>
          <a:effectLst/>
        </p:spPr>
        <p:txBody>
          <a:bodyPr wrap="square" rtlCol="0">
            <a:spAutoFit/>
          </a:bodyPr>
          <a:lstStyle/>
          <a:p>
            <a:r>
              <a:rPr lang="fr-FR" sz="2000" b="1" dirty="0">
                <a:solidFill>
                  <a:schemeClr val="tx2"/>
                </a:solidFill>
                <a:latin typeface="+mj-lt"/>
              </a:rPr>
              <a:t>3,5 </a:t>
            </a:r>
            <a:r>
              <a:rPr lang="fr-FR" sz="2000" b="1" dirty="0" smtClean="0">
                <a:solidFill>
                  <a:schemeClr val="tx2"/>
                </a:solidFill>
                <a:latin typeface="+mj-lt"/>
              </a:rPr>
              <a:t>TWh</a:t>
            </a:r>
            <a:endParaRPr lang="fr-FR" sz="1600" dirty="0">
              <a:solidFill>
                <a:schemeClr val="tx2"/>
              </a:solidFill>
              <a:latin typeface="+mj-lt"/>
            </a:endParaRPr>
          </a:p>
          <a:p>
            <a:r>
              <a:rPr lang="fr-FR" sz="1200" b="1" dirty="0">
                <a:solidFill>
                  <a:schemeClr val="tx2"/>
                </a:solidFill>
                <a:latin typeface="+mj-lt"/>
              </a:rPr>
              <a:t>Demande en énergie par an </a:t>
            </a:r>
            <a:r>
              <a:rPr lang="fr-FR" sz="1200" dirty="0">
                <a:latin typeface="+mj-lt"/>
              </a:rPr>
              <a:t>pour la recharge </a:t>
            </a:r>
            <a:r>
              <a:rPr lang="fr-FR" sz="1200" dirty="0" smtClean="0">
                <a:latin typeface="+mj-lt"/>
              </a:rPr>
              <a:t>poids-lourds </a:t>
            </a:r>
            <a:r>
              <a:rPr lang="fr-FR" sz="1200" dirty="0">
                <a:latin typeface="+mj-lt"/>
              </a:rPr>
              <a:t>en itinérance en 2035.</a:t>
            </a:r>
            <a:endParaRPr lang="fr-FR" sz="1100" dirty="0">
              <a:solidFill>
                <a:schemeClr val="tx1">
                  <a:lumMod val="65000"/>
                  <a:lumOff val="35000"/>
                </a:schemeClr>
              </a:solidFill>
              <a:latin typeface="+mj-lt"/>
            </a:endParaRPr>
          </a:p>
        </p:txBody>
      </p:sp>
      <p:sp>
        <p:nvSpPr>
          <p:cNvPr id="11" name="ZoneTexte 10"/>
          <p:cNvSpPr txBox="1"/>
          <p:nvPr/>
        </p:nvSpPr>
        <p:spPr>
          <a:xfrm>
            <a:off x="525995" y="3955351"/>
            <a:ext cx="5408706" cy="769441"/>
          </a:xfrm>
          <a:prstGeom prst="rect">
            <a:avLst/>
          </a:prstGeom>
          <a:solidFill>
            <a:schemeClr val="bg1"/>
          </a:solidFill>
          <a:effectLst/>
        </p:spPr>
        <p:txBody>
          <a:bodyPr wrap="square" rtlCol="0">
            <a:spAutoFit/>
          </a:bodyPr>
          <a:lstStyle/>
          <a:p>
            <a:r>
              <a:rPr lang="fr-FR" sz="2000" b="1" dirty="0">
                <a:solidFill>
                  <a:schemeClr val="tx2"/>
                </a:solidFill>
                <a:latin typeface="+mj-lt"/>
              </a:rPr>
              <a:t>1,1 </a:t>
            </a:r>
            <a:r>
              <a:rPr lang="fr-FR" sz="2000" b="1" dirty="0" smtClean="0">
                <a:solidFill>
                  <a:schemeClr val="tx2"/>
                </a:solidFill>
                <a:latin typeface="+mj-lt"/>
              </a:rPr>
              <a:t>GW</a:t>
            </a:r>
            <a:endParaRPr lang="fr-FR" sz="2000" b="1" dirty="0">
              <a:solidFill>
                <a:schemeClr val="tx2"/>
              </a:solidFill>
              <a:latin typeface="+mj-lt"/>
            </a:endParaRPr>
          </a:p>
          <a:p>
            <a:r>
              <a:rPr lang="fr-FR" sz="1200" b="1" dirty="0">
                <a:solidFill>
                  <a:schemeClr val="tx2"/>
                </a:solidFill>
                <a:latin typeface="+mj-lt"/>
              </a:rPr>
              <a:t>Puissance maximale </a:t>
            </a:r>
            <a:r>
              <a:rPr lang="fr-FR" sz="1200" b="1" dirty="0" smtClean="0">
                <a:solidFill>
                  <a:schemeClr val="tx2"/>
                </a:solidFill>
                <a:latin typeface="+mj-lt"/>
              </a:rPr>
              <a:t>pour la recharge</a:t>
            </a:r>
            <a:r>
              <a:rPr lang="fr-FR" sz="1200" b="1" dirty="0" smtClean="0">
                <a:solidFill>
                  <a:schemeClr val="accent1"/>
                </a:solidFill>
                <a:latin typeface="+mj-lt"/>
              </a:rPr>
              <a:t> </a:t>
            </a:r>
            <a:r>
              <a:rPr lang="fr-FR" sz="1200" dirty="0" smtClean="0">
                <a:latin typeface="+mj-lt"/>
              </a:rPr>
              <a:t>poids </a:t>
            </a:r>
            <a:r>
              <a:rPr lang="fr-FR" sz="1200" dirty="0">
                <a:latin typeface="+mj-lt"/>
              </a:rPr>
              <a:t>lourds </a:t>
            </a:r>
            <a:r>
              <a:rPr lang="fr-FR" sz="1200" dirty="0" smtClean="0">
                <a:latin typeface="+mj-lt"/>
              </a:rPr>
              <a:t>en itinérance en </a:t>
            </a:r>
            <a:r>
              <a:rPr lang="fr-FR" sz="1200" dirty="0">
                <a:latin typeface="+mj-lt"/>
              </a:rPr>
              <a:t>2035 à l’échelle nationale.</a:t>
            </a:r>
          </a:p>
        </p:txBody>
      </p:sp>
      <p:sp>
        <p:nvSpPr>
          <p:cNvPr id="12" name="ZoneTexte 11"/>
          <p:cNvSpPr txBox="1"/>
          <p:nvPr/>
        </p:nvSpPr>
        <p:spPr>
          <a:xfrm>
            <a:off x="6610042" y="4838288"/>
            <a:ext cx="5295622" cy="769441"/>
          </a:xfrm>
          <a:prstGeom prst="rect">
            <a:avLst/>
          </a:prstGeom>
          <a:solidFill>
            <a:schemeClr val="bg1"/>
          </a:solidFill>
          <a:effectLst/>
        </p:spPr>
        <p:txBody>
          <a:bodyPr wrap="square" rtlCol="0">
            <a:spAutoFit/>
          </a:bodyPr>
          <a:lstStyle/>
          <a:p>
            <a:r>
              <a:rPr lang="fr-FR" sz="2000" b="1" dirty="0">
                <a:solidFill>
                  <a:schemeClr val="accent5"/>
                </a:solidFill>
                <a:latin typeface="+mj-lt"/>
              </a:rPr>
              <a:t>2 </a:t>
            </a:r>
            <a:r>
              <a:rPr lang="fr-FR" sz="2000" b="1" dirty="0" smtClean="0">
                <a:solidFill>
                  <a:schemeClr val="accent5"/>
                </a:solidFill>
                <a:latin typeface="+mj-lt"/>
              </a:rPr>
              <a:t>200 points de charge MCS</a:t>
            </a:r>
            <a:endParaRPr lang="fr-FR" sz="1600" dirty="0" smtClean="0">
              <a:solidFill>
                <a:schemeClr val="accent5"/>
              </a:solidFill>
              <a:latin typeface="+mj-lt"/>
            </a:endParaRPr>
          </a:p>
          <a:p>
            <a:r>
              <a:rPr lang="fr-FR" sz="1200" b="1" dirty="0" smtClean="0">
                <a:solidFill>
                  <a:schemeClr val="accent5"/>
                </a:solidFill>
                <a:latin typeface="+mj-lt"/>
              </a:rPr>
              <a:t>Haute puissance, </a:t>
            </a:r>
            <a:r>
              <a:rPr lang="fr-FR" sz="1200" dirty="0" smtClean="0">
                <a:latin typeface="+mj-lt"/>
              </a:rPr>
              <a:t>installés sur les aires de service et dédiés à la recharge lors des pauses de courte durée.</a:t>
            </a:r>
            <a:endParaRPr lang="fr-FR" sz="1800" dirty="0">
              <a:solidFill>
                <a:schemeClr val="tx1">
                  <a:lumMod val="65000"/>
                  <a:lumOff val="35000"/>
                </a:schemeClr>
              </a:solidFill>
              <a:latin typeface="+mj-lt"/>
            </a:endParaRPr>
          </a:p>
        </p:txBody>
      </p:sp>
      <p:sp>
        <p:nvSpPr>
          <p:cNvPr id="19" name="ZoneTexte 18">
            <a:extLst>
              <a:ext uri="{FF2B5EF4-FFF2-40B4-BE49-F238E27FC236}">
                <a16:creationId xmlns:a16="http://schemas.microsoft.com/office/drawing/2014/main" id="{9231C8CE-41F5-63D0-ED35-90333F9E7F4E}"/>
              </a:ext>
            </a:extLst>
          </p:cNvPr>
          <p:cNvSpPr txBox="1"/>
          <p:nvPr/>
        </p:nvSpPr>
        <p:spPr>
          <a:xfrm>
            <a:off x="6610042" y="5681779"/>
            <a:ext cx="5295622" cy="701731"/>
          </a:xfrm>
          <a:prstGeom prst="rect">
            <a:avLst/>
          </a:prstGeom>
          <a:solidFill>
            <a:schemeClr val="bg1"/>
          </a:solidFill>
          <a:effectLst/>
        </p:spPr>
        <p:txBody>
          <a:bodyPr wrap="square" rtlCol="0">
            <a:spAutoFit/>
          </a:bodyPr>
          <a:lstStyle/>
          <a:p>
            <a:pPr>
              <a:lnSpc>
                <a:spcPct val="90000"/>
              </a:lnSpc>
            </a:pPr>
            <a:r>
              <a:rPr lang="fr-FR" sz="2000" b="1" dirty="0">
                <a:solidFill>
                  <a:schemeClr val="accent1">
                    <a:lumMod val="75000"/>
                  </a:schemeClr>
                </a:solidFill>
                <a:latin typeface="+mj-lt"/>
              </a:rPr>
              <a:t>~</a:t>
            </a:r>
            <a:r>
              <a:rPr lang="fr-FR" sz="2000" b="1" dirty="0" smtClean="0">
                <a:solidFill>
                  <a:schemeClr val="accent1">
                    <a:lumMod val="75000"/>
                  </a:schemeClr>
                </a:solidFill>
                <a:latin typeface="+mj-lt"/>
              </a:rPr>
              <a:t>630 </a:t>
            </a:r>
            <a:r>
              <a:rPr lang="fr-FR" sz="2000" b="1" dirty="0">
                <a:solidFill>
                  <a:schemeClr val="accent1">
                    <a:lumMod val="75000"/>
                  </a:schemeClr>
                </a:solidFill>
                <a:latin typeface="+mj-lt"/>
              </a:rPr>
              <a:t>M€ d'investissement</a:t>
            </a:r>
            <a:r>
              <a:rPr lang="fr-FR" sz="2000" dirty="0">
                <a:solidFill>
                  <a:schemeClr val="accent1">
                    <a:lumMod val="75000"/>
                  </a:schemeClr>
                </a:solidFill>
                <a:latin typeface="+mj-lt"/>
              </a:rPr>
              <a:t/>
            </a:r>
            <a:br>
              <a:rPr lang="fr-FR" sz="2000" dirty="0">
                <a:solidFill>
                  <a:schemeClr val="accent1">
                    <a:lumMod val="75000"/>
                  </a:schemeClr>
                </a:solidFill>
                <a:latin typeface="+mj-lt"/>
              </a:rPr>
            </a:br>
            <a:r>
              <a:rPr lang="fr-FR" sz="1200" dirty="0">
                <a:solidFill>
                  <a:schemeClr val="accent1">
                    <a:lumMod val="75000"/>
                  </a:schemeClr>
                </a:solidFill>
                <a:latin typeface="+mj-lt"/>
              </a:rPr>
              <a:t>sur le réseau électrique</a:t>
            </a:r>
          </a:p>
          <a:p>
            <a:pPr>
              <a:lnSpc>
                <a:spcPct val="90000"/>
              </a:lnSpc>
            </a:pPr>
            <a:r>
              <a:rPr lang="fr-FR" sz="1200" dirty="0">
                <a:latin typeface="+mj-lt"/>
              </a:rPr>
              <a:t>d</a:t>
            </a:r>
            <a:r>
              <a:rPr lang="fr-FR" sz="1200" dirty="0" smtClean="0">
                <a:latin typeface="+mj-lt"/>
              </a:rPr>
              <a:t>ont </a:t>
            </a:r>
            <a:r>
              <a:rPr lang="fr-FR" sz="1200" dirty="0">
                <a:latin typeface="+mj-lt"/>
              </a:rPr>
              <a:t>594 M€ pour le réseau de distribution</a:t>
            </a:r>
          </a:p>
        </p:txBody>
      </p:sp>
      <p:sp>
        <p:nvSpPr>
          <p:cNvPr id="20" name="ZoneTexte 19">
            <a:extLst>
              <a:ext uri="{FF2B5EF4-FFF2-40B4-BE49-F238E27FC236}">
                <a16:creationId xmlns:a16="http://schemas.microsoft.com/office/drawing/2014/main" id="{394378BC-6EDF-FAA4-7B0B-BF3A5CBE66E4}"/>
              </a:ext>
            </a:extLst>
          </p:cNvPr>
          <p:cNvSpPr txBox="1"/>
          <p:nvPr/>
        </p:nvSpPr>
        <p:spPr>
          <a:xfrm>
            <a:off x="525995" y="5679387"/>
            <a:ext cx="5408706" cy="701731"/>
          </a:xfrm>
          <a:prstGeom prst="rect">
            <a:avLst/>
          </a:prstGeom>
          <a:solidFill>
            <a:schemeClr val="bg1"/>
          </a:solidFill>
          <a:effectLst/>
        </p:spPr>
        <p:txBody>
          <a:bodyPr wrap="square" rtlCol="0">
            <a:spAutoFit/>
          </a:bodyPr>
          <a:lstStyle/>
          <a:p>
            <a:pPr>
              <a:lnSpc>
                <a:spcPct val="90000"/>
              </a:lnSpc>
            </a:pPr>
            <a:r>
              <a:rPr lang="fr-FR" sz="2000" b="1" dirty="0">
                <a:solidFill>
                  <a:schemeClr val="accent1">
                    <a:lumMod val="75000"/>
                  </a:schemeClr>
                </a:solidFill>
                <a:latin typeface="+mj-lt"/>
              </a:rPr>
              <a:t>~60 ouvrages structurants</a:t>
            </a:r>
            <a:r>
              <a:rPr lang="fr-FR" sz="2000" dirty="0">
                <a:solidFill>
                  <a:schemeClr val="accent1">
                    <a:lumMod val="75000"/>
                  </a:schemeClr>
                </a:solidFill>
                <a:latin typeface="+mj-lt"/>
              </a:rPr>
              <a:t/>
            </a:r>
            <a:br>
              <a:rPr lang="fr-FR" sz="2000" dirty="0">
                <a:solidFill>
                  <a:schemeClr val="accent1">
                    <a:lumMod val="75000"/>
                  </a:schemeClr>
                </a:solidFill>
                <a:latin typeface="+mj-lt"/>
              </a:rPr>
            </a:br>
            <a:r>
              <a:rPr lang="fr-FR" sz="1200" dirty="0">
                <a:solidFill>
                  <a:schemeClr val="accent1">
                    <a:lumMod val="75000"/>
                  </a:schemeClr>
                </a:solidFill>
                <a:latin typeface="+mj-lt"/>
              </a:rPr>
              <a:t>à créer ou </a:t>
            </a:r>
            <a:r>
              <a:rPr lang="fr-FR" sz="1200" dirty="0" smtClean="0">
                <a:solidFill>
                  <a:schemeClr val="accent1">
                    <a:lumMod val="75000"/>
                  </a:schemeClr>
                </a:solidFill>
                <a:latin typeface="+mj-lt"/>
              </a:rPr>
              <a:t>renforcer</a:t>
            </a:r>
            <a:r>
              <a:rPr lang="fr-FR" sz="1200" dirty="0" smtClean="0">
                <a:solidFill>
                  <a:srgbClr val="00B050"/>
                </a:solidFill>
                <a:latin typeface="+mj-lt"/>
              </a:rPr>
              <a:t/>
            </a:r>
            <a:br>
              <a:rPr lang="fr-FR" sz="1200" dirty="0" smtClean="0">
                <a:solidFill>
                  <a:srgbClr val="00B050"/>
                </a:solidFill>
                <a:latin typeface="+mj-lt"/>
              </a:rPr>
            </a:br>
            <a:r>
              <a:rPr lang="fr-FR" sz="1200" dirty="0" smtClean="0">
                <a:latin typeface="+mj-lt"/>
              </a:rPr>
              <a:t>8 </a:t>
            </a:r>
            <a:r>
              <a:rPr lang="fr-FR" sz="1200" dirty="0">
                <a:latin typeface="+mj-lt"/>
              </a:rPr>
              <a:t>postes source à créer et 49 à renforcer</a:t>
            </a:r>
          </a:p>
        </p:txBody>
      </p:sp>
      <p:pic>
        <p:nvPicPr>
          <p:cNvPr id="23" name="Image 2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43294" y="1310644"/>
            <a:ext cx="2193496" cy="1779192"/>
          </a:xfrm>
          <a:prstGeom prst="rect">
            <a:avLst/>
          </a:prstGeom>
          <a:solidFill>
            <a:schemeClr val="bg1"/>
          </a:solidFill>
          <a:effectLst>
            <a:outerShdw blurRad="50800" dist="76200" dir="2700000" algn="tl" rotWithShape="0">
              <a:prstClr val="black">
                <a:alpha val="40000"/>
              </a:prstClr>
            </a:outerShdw>
          </a:effectLst>
        </p:spPr>
      </p:pic>
      <p:pic>
        <p:nvPicPr>
          <p:cNvPr id="24" name="Image 23">
            <a:extLst>
              <a:ext uri="{FF2B5EF4-FFF2-40B4-BE49-F238E27FC236}">
                <a16:creationId xmlns:a16="http://schemas.microsoft.com/office/drawing/2014/main" id="{F51D8BF2-778A-8ADC-FC17-ADF25EC01DD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82537" y="1886591"/>
            <a:ext cx="3544047" cy="1203245"/>
          </a:xfrm>
          <a:prstGeom prst="rect">
            <a:avLst/>
          </a:prstGeom>
          <a:solidFill>
            <a:schemeClr val="bg1"/>
          </a:solidFill>
          <a:effectLst>
            <a:outerShdw blurRad="50800" dist="76200" dir="2700000" algn="tl" rotWithShape="0">
              <a:prstClr val="black">
                <a:alpha val="40000"/>
              </a:prstClr>
            </a:outerShdw>
          </a:effectLst>
        </p:spPr>
      </p:pic>
      <p:sp>
        <p:nvSpPr>
          <p:cNvPr id="25" name="ZoneTexte 24">
            <a:extLst>
              <a:ext uri="{FF2B5EF4-FFF2-40B4-BE49-F238E27FC236}">
                <a16:creationId xmlns:a16="http://schemas.microsoft.com/office/drawing/2014/main" id="{896B5E6D-C312-51F3-6D42-427BF5FAFF23}"/>
              </a:ext>
            </a:extLst>
          </p:cNvPr>
          <p:cNvSpPr txBox="1"/>
          <p:nvPr/>
        </p:nvSpPr>
        <p:spPr>
          <a:xfrm>
            <a:off x="573741" y="1267101"/>
            <a:ext cx="3544048" cy="338554"/>
          </a:xfrm>
          <a:prstGeom prst="rect">
            <a:avLst/>
          </a:prstGeom>
          <a:solidFill>
            <a:schemeClr val="bg1"/>
          </a:solidFill>
          <a:effectLst>
            <a:outerShdw blurRad="50800" dist="76200" dir="2700000" algn="tl" rotWithShape="0">
              <a:prstClr val="black">
                <a:alpha val="40000"/>
              </a:prstClr>
            </a:outerShdw>
          </a:effectLst>
        </p:spPr>
        <p:txBody>
          <a:bodyPr wrap="square" rtlCol="0">
            <a:spAutoFit/>
          </a:bodyPr>
          <a:lstStyle>
            <a:defPPr>
              <a:defRPr lang="en-US"/>
            </a:defPPr>
            <a:lvl1pPr>
              <a:defRPr sz="1600" b="1">
                <a:solidFill>
                  <a:schemeClr val="accent3"/>
                </a:solidFill>
                <a:latin typeface="+mj-lt"/>
              </a:defRPr>
            </a:lvl1pPr>
          </a:lstStyle>
          <a:p>
            <a:r>
              <a:rPr lang="fr-FR" dirty="0">
                <a:sym typeface="Wingdings" panose="05000000000000000000" pitchFamily="2" charset="2"/>
              </a:rPr>
              <a:t>18 mois de travail de </a:t>
            </a:r>
            <a:r>
              <a:rPr lang="fr-FR" dirty="0" smtClean="0">
                <a:sym typeface="Wingdings" panose="05000000000000000000" pitchFamily="2" charset="2"/>
              </a:rPr>
              <a:t>simulation</a:t>
            </a:r>
            <a:endParaRPr lang="fr-FR" dirty="0">
              <a:sym typeface="Wingdings" panose="05000000000000000000" pitchFamily="2" charset="2"/>
            </a:endParaRPr>
          </a:p>
        </p:txBody>
      </p:sp>
      <p:sp>
        <p:nvSpPr>
          <p:cNvPr id="26" name="ZoneTexte 25">
            <a:extLst>
              <a:ext uri="{FF2B5EF4-FFF2-40B4-BE49-F238E27FC236}">
                <a16:creationId xmlns:a16="http://schemas.microsoft.com/office/drawing/2014/main" id="{896B5E6D-C312-51F3-6D42-427BF5FAFF23}"/>
              </a:ext>
            </a:extLst>
          </p:cNvPr>
          <p:cNvSpPr txBox="1"/>
          <p:nvPr/>
        </p:nvSpPr>
        <p:spPr>
          <a:xfrm>
            <a:off x="573741" y="3301833"/>
            <a:ext cx="11379669" cy="553998"/>
          </a:xfrm>
          <a:prstGeom prst="rect">
            <a:avLst/>
          </a:prstGeom>
          <a:solidFill>
            <a:schemeClr val="bg1"/>
          </a:solidFill>
          <a:effectLst>
            <a:outerShdw blurRad="50800" dist="76200" dir="2700000" algn="tl" rotWithShape="0">
              <a:prstClr val="black">
                <a:alpha val="40000"/>
              </a:prstClr>
            </a:outerShdw>
          </a:effectLst>
        </p:spPr>
        <p:txBody>
          <a:bodyPr wrap="square" rtlCol="0">
            <a:spAutoFit/>
          </a:bodyPr>
          <a:lstStyle/>
          <a:p>
            <a:r>
              <a:rPr lang="fr-FR" sz="1600" b="1" dirty="0" smtClean="0">
                <a:solidFill>
                  <a:schemeClr val="accent3"/>
                </a:solidFill>
                <a:latin typeface="+mj-lt"/>
                <a:sym typeface="Wingdings" panose="05000000000000000000" pitchFamily="2" charset="2"/>
              </a:rPr>
              <a:t>Les résultats en 6 chiffres clés </a:t>
            </a:r>
            <a:r>
              <a:rPr lang="fr-FR" sz="1400" dirty="0" smtClean="0">
                <a:solidFill>
                  <a:schemeClr val="accent3"/>
                </a:solidFill>
                <a:latin typeface="+mj-lt"/>
                <a:sym typeface="Wingdings" panose="05000000000000000000" pitchFamily="2" charset="2"/>
              </a:rPr>
              <a:t>(</a:t>
            </a:r>
            <a:r>
              <a:rPr lang="fr-FR" sz="1400" i="1" dirty="0" smtClean="0">
                <a:solidFill>
                  <a:schemeClr val="accent3"/>
                </a:solidFill>
                <a:latin typeface="+mj-lt"/>
                <a:sym typeface="Wingdings" panose="05000000000000000000" pitchFamily="2" charset="2"/>
              </a:rPr>
              <a:t>les </a:t>
            </a:r>
            <a:r>
              <a:rPr lang="fr-FR" sz="1400" b="1" i="1" u="sng" dirty="0" smtClean="0">
                <a:solidFill>
                  <a:schemeClr val="accent3"/>
                </a:solidFill>
                <a:latin typeface="+mj-lt"/>
                <a:sym typeface="Wingdings" panose="05000000000000000000" pitchFamily="2" charset="2"/>
              </a:rPr>
              <a:t>impacts réseau</a:t>
            </a:r>
            <a:r>
              <a:rPr lang="fr-FR" sz="1400" b="1" i="1" dirty="0" smtClean="0">
                <a:solidFill>
                  <a:schemeClr val="accent3"/>
                </a:solidFill>
                <a:latin typeface="+mj-lt"/>
                <a:sym typeface="Wingdings" panose="05000000000000000000" pitchFamily="2" charset="2"/>
              </a:rPr>
              <a:t> </a:t>
            </a:r>
            <a:r>
              <a:rPr lang="fr-FR" sz="1400" i="1" dirty="0" smtClean="0">
                <a:solidFill>
                  <a:schemeClr val="accent3"/>
                </a:solidFill>
                <a:latin typeface="+mj-lt"/>
                <a:sym typeface="Wingdings" panose="05000000000000000000" pitchFamily="2" charset="2"/>
              </a:rPr>
              <a:t>– ouvrages structurants et investissements correspondent aux </a:t>
            </a:r>
            <a:r>
              <a:rPr lang="fr-FR" sz="1400" b="1" i="1" u="sng" dirty="0" smtClean="0">
                <a:solidFill>
                  <a:schemeClr val="accent3"/>
                </a:solidFill>
                <a:latin typeface="+mj-lt"/>
                <a:sym typeface="Wingdings" panose="05000000000000000000" pitchFamily="2" charset="2"/>
              </a:rPr>
              <a:t>besoins en recharge cumulés </a:t>
            </a:r>
            <a:r>
              <a:rPr lang="fr-FR" sz="1400" i="1" dirty="0" smtClean="0">
                <a:solidFill>
                  <a:schemeClr val="accent3"/>
                </a:solidFill>
                <a:latin typeface="+mj-lt"/>
                <a:sym typeface="Wingdings" panose="05000000000000000000" pitchFamily="2" charset="2"/>
              </a:rPr>
              <a:t>des </a:t>
            </a:r>
            <a:r>
              <a:rPr lang="fr-FR" sz="1400" b="1" i="1" u="sng" dirty="0" smtClean="0">
                <a:solidFill>
                  <a:schemeClr val="accent3"/>
                </a:solidFill>
                <a:latin typeface="+mj-lt"/>
                <a:sym typeface="Wingdings" panose="05000000000000000000" pitchFamily="2" charset="2"/>
              </a:rPr>
              <a:t>véhicules lourds </a:t>
            </a:r>
            <a:r>
              <a:rPr lang="fr-FR" sz="1400" i="1" dirty="0" smtClean="0">
                <a:solidFill>
                  <a:schemeClr val="accent3"/>
                </a:solidFill>
                <a:latin typeface="+mj-lt"/>
                <a:sym typeface="Wingdings" panose="05000000000000000000" pitchFamily="2" charset="2"/>
              </a:rPr>
              <a:t>et des </a:t>
            </a:r>
            <a:r>
              <a:rPr lang="fr-FR" sz="1400" b="1" i="1" u="sng" dirty="0" smtClean="0">
                <a:solidFill>
                  <a:schemeClr val="accent3"/>
                </a:solidFill>
                <a:latin typeface="+mj-lt"/>
                <a:sym typeface="Wingdings" panose="05000000000000000000" pitchFamily="2" charset="2"/>
              </a:rPr>
              <a:t>véhicules légers </a:t>
            </a:r>
            <a:r>
              <a:rPr lang="fr-FR" sz="1400" i="1" dirty="0" smtClean="0">
                <a:solidFill>
                  <a:schemeClr val="accent3"/>
                </a:solidFill>
                <a:latin typeface="+mj-lt"/>
                <a:sym typeface="Wingdings" panose="05000000000000000000" pitchFamily="2" charset="2"/>
              </a:rPr>
              <a:t>à 2035</a:t>
            </a:r>
            <a:r>
              <a:rPr lang="fr-FR" sz="1400" dirty="0" smtClean="0">
                <a:solidFill>
                  <a:schemeClr val="accent3"/>
                </a:solidFill>
                <a:latin typeface="+mj-lt"/>
                <a:sym typeface="Wingdings" panose="05000000000000000000" pitchFamily="2" charset="2"/>
              </a:rPr>
              <a:t>)</a:t>
            </a:r>
            <a:endParaRPr lang="fr-FR" sz="1400" dirty="0">
              <a:solidFill>
                <a:schemeClr val="accent3"/>
              </a:solidFill>
              <a:latin typeface="+mj-lt"/>
              <a:sym typeface="Wingdings" panose="05000000000000000000" pitchFamily="2" charset="2"/>
            </a:endParaRPr>
          </a:p>
        </p:txBody>
      </p:sp>
      <p:sp>
        <p:nvSpPr>
          <p:cNvPr id="27" name="ZoneTexte 26">
            <a:extLst>
              <a:ext uri="{FF2B5EF4-FFF2-40B4-BE49-F238E27FC236}">
                <a16:creationId xmlns:a16="http://schemas.microsoft.com/office/drawing/2014/main" id="{896B5E6D-C312-51F3-6D42-427BF5FAFF23}"/>
              </a:ext>
            </a:extLst>
          </p:cNvPr>
          <p:cNvSpPr txBox="1"/>
          <p:nvPr/>
        </p:nvSpPr>
        <p:spPr>
          <a:xfrm>
            <a:off x="6562295" y="1260107"/>
            <a:ext cx="5391116" cy="1785104"/>
          </a:xfrm>
          <a:prstGeom prst="rect">
            <a:avLst/>
          </a:prstGeom>
          <a:solidFill>
            <a:schemeClr val="bg1"/>
          </a:solidFill>
          <a:effectLst>
            <a:outerShdw blurRad="50800" dist="76200" dir="2700000" algn="tl" rotWithShape="0">
              <a:prstClr val="black">
                <a:alpha val="40000"/>
              </a:prstClr>
            </a:outerShdw>
          </a:effectLst>
        </p:spPr>
        <p:txBody>
          <a:bodyPr wrap="square" rtlCol="0">
            <a:spAutoFit/>
          </a:bodyPr>
          <a:lstStyle/>
          <a:p>
            <a:r>
              <a:rPr lang="fr-FR" sz="1400" b="1" dirty="0" smtClean="0">
                <a:latin typeface="+mj-lt"/>
                <a:sym typeface="Wingdings" panose="05000000000000000000" pitchFamily="2" charset="2"/>
              </a:rPr>
              <a:t>Principales conclusions</a:t>
            </a:r>
            <a:endParaRPr lang="fr-FR" sz="1400" b="1" dirty="0">
              <a:latin typeface="+mj-lt"/>
              <a:sym typeface="Wingdings" panose="05000000000000000000" pitchFamily="2" charset="2"/>
            </a:endParaRPr>
          </a:p>
          <a:p>
            <a:pPr marL="358775" lvl="1" indent="-274638" defTabSz="603250">
              <a:buClr>
                <a:schemeClr val="tx2"/>
              </a:buClr>
              <a:buFont typeface="Wingdings" panose="05000000000000000000" pitchFamily="2" charset="2"/>
              <a:buChar char="q"/>
            </a:pPr>
            <a:r>
              <a:rPr lang="fr-FR" sz="1200" dirty="0" smtClean="0">
                <a:latin typeface="+mj-lt"/>
              </a:rPr>
              <a:t>Le </a:t>
            </a:r>
            <a:r>
              <a:rPr lang="fr-FR" sz="1200" b="1" dirty="0" smtClean="0">
                <a:latin typeface="+mj-lt"/>
              </a:rPr>
              <a:t>dimensionnement des réseaux</a:t>
            </a:r>
            <a:r>
              <a:rPr lang="fr-FR" sz="1200" dirty="0" smtClean="0">
                <a:latin typeface="+mj-lt"/>
              </a:rPr>
              <a:t> pour la </a:t>
            </a:r>
            <a:r>
              <a:rPr lang="fr-FR" sz="1200" b="1" dirty="0" smtClean="0">
                <a:latin typeface="+mj-lt"/>
              </a:rPr>
              <a:t>mobilité électrique légère</a:t>
            </a:r>
            <a:r>
              <a:rPr lang="fr-FR" sz="1200" dirty="0" smtClean="0">
                <a:latin typeface="+mj-lt"/>
              </a:rPr>
              <a:t> </a:t>
            </a:r>
            <a:r>
              <a:rPr lang="fr-FR" sz="1200" b="1" dirty="0" smtClean="0">
                <a:latin typeface="+mj-lt"/>
              </a:rPr>
              <a:t>couvrira très largement </a:t>
            </a:r>
            <a:r>
              <a:rPr lang="fr-FR" sz="1200" dirty="0" smtClean="0">
                <a:latin typeface="+mj-lt"/>
              </a:rPr>
              <a:t>les besoins liés à la </a:t>
            </a:r>
            <a:r>
              <a:rPr lang="fr-FR" sz="1200" b="1" dirty="0" smtClean="0">
                <a:latin typeface="+mj-lt"/>
              </a:rPr>
              <a:t>mobilité lourde </a:t>
            </a:r>
            <a:r>
              <a:rPr lang="fr-FR" sz="1200" dirty="0" smtClean="0">
                <a:latin typeface="+mj-lt"/>
              </a:rPr>
              <a:t>du fait de la </a:t>
            </a:r>
            <a:r>
              <a:rPr lang="fr-FR" sz="1200" b="1" dirty="0" smtClean="0">
                <a:latin typeface="+mj-lt"/>
              </a:rPr>
              <a:t>désynchronisation</a:t>
            </a:r>
            <a:r>
              <a:rPr lang="fr-FR" sz="1200" dirty="0" smtClean="0">
                <a:latin typeface="+mj-lt"/>
              </a:rPr>
              <a:t> des pics de recharge respectifs</a:t>
            </a:r>
            <a:r>
              <a:rPr lang="fr-FR" sz="1200" baseline="30000" dirty="0" smtClean="0">
                <a:latin typeface="+mj-lt"/>
              </a:rPr>
              <a:t>(1)</a:t>
            </a:r>
          </a:p>
          <a:p>
            <a:pPr marL="358775" lvl="1" indent="-274638" defTabSz="603250">
              <a:buClr>
                <a:schemeClr val="tx2"/>
              </a:buClr>
              <a:buFont typeface="Wingdings" panose="05000000000000000000" pitchFamily="2" charset="2"/>
              <a:buChar char="q"/>
            </a:pPr>
            <a:r>
              <a:rPr lang="fr-FR" sz="1200" dirty="0" smtClean="0">
                <a:latin typeface="+mj-lt"/>
              </a:rPr>
              <a:t>L’électrification </a:t>
            </a:r>
            <a:r>
              <a:rPr lang="fr-FR" sz="1200" dirty="0">
                <a:latin typeface="+mj-lt"/>
              </a:rPr>
              <a:t>de la mobilité lourde longue distance </a:t>
            </a:r>
            <a:r>
              <a:rPr lang="fr-FR" sz="1200" dirty="0" smtClean="0">
                <a:latin typeface="+mj-lt"/>
              </a:rPr>
              <a:t>: un </a:t>
            </a:r>
            <a:r>
              <a:rPr lang="fr-FR" sz="1200" dirty="0">
                <a:latin typeface="+mj-lt"/>
              </a:rPr>
              <a:t>sujet d’adaptation des réseaux </a:t>
            </a:r>
            <a:r>
              <a:rPr lang="fr-FR" sz="1200" dirty="0" smtClean="0">
                <a:latin typeface="+mj-lt"/>
              </a:rPr>
              <a:t>électriques mais aussi </a:t>
            </a:r>
            <a:r>
              <a:rPr lang="fr-FR" sz="1200" b="1" dirty="0" smtClean="0">
                <a:latin typeface="+mj-lt"/>
              </a:rPr>
              <a:t>d’aménagement et de foncier</a:t>
            </a:r>
            <a:r>
              <a:rPr lang="fr-FR" sz="1200" dirty="0" smtClean="0">
                <a:latin typeface="+mj-lt"/>
              </a:rPr>
              <a:t>, </a:t>
            </a:r>
            <a:r>
              <a:rPr lang="fr-FR" sz="1200" dirty="0">
                <a:latin typeface="+mj-lt"/>
              </a:rPr>
              <a:t>avec un besoin d’infrastructures </a:t>
            </a:r>
            <a:r>
              <a:rPr lang="fr-FR" sz="1200" dirty="0" smtClean="0">
                <a:latin typeface="+mj-lt"/>
              </a:rPr>
              <a:t>conséquent.</a:t>
            </a:r>
          </a:p>
          <a:p>
            <a:pPr marL="358775" lvl="1" indent="-274638" defTabSz="603250">
              <a:buClr>
                <a:schemeClr val="tx2"/>
              </a:buClr>
              <a:buFont typeface="Wingdings" panose="05000000000000000000" pitchFamily="2" charset="2"/>
              <a:buChar char="q"/>
            </a:pPr>
            <a:r>
              <a:rPr lang="fr-FR" sz="1200" b="1" dirty="0" smtClean="0">
                <a:latin typeface="+mj-lt"/>
                <a:sym typeface="Wingdings" panose="05000000000000000000" pitchFamily="2" charset="2"/>
              </a:rPr>
              <a:t>Le sujet clé sera l’anticipation et la planification de ces investissements.</a:t>
            </a:r>
            <a:endParaRPr lang="fr-FR" sz="1200" b="1" dirty="0">
              <a:latin typeface="+mj-lt"/>
              <a:sym typeface="Wingdings" panose="05000000000000000000" pitchFamily="2" charset="2"/>
            </a:endParaRPr>
          </a:p>
        </p:txBody>
      </p:sp>
      <p:sp>
        <p:nvSpPr>
          <p:cNvPr id="5" name="ZoneTexte 4"/>
          <p:cNvSpPr txBox="1"/>
          <p:nvPr/>
        </p:nvSpPr>
        <p:spPr>
          <a:xfrm>
            <a:off x="1282699" y="6452776"/>
            <a:ext cx="10438137" cy="230832"/>
          </a:xfrm>
          <a:prstGeom prst="rect">
            <a:avLst/>
          </a:prstGeom>
          <a:noFill/>
        </p:spPr>
        <p:txBody>
          <a:bodyPr wrap="square" rtlCol="0">
            <a:spAutoFit/>
          </a:bodyPr>
          <a:lstStyle/>
          <a:p>
            <a:r>
              <a:rPr lang="fr-FR" sz="900" i="1" dirty="0" smtClean="0">
                <a:latin typeface="+mj-lt"/>
              </a:rPr>
              <a:t>(1) Typiquement : en 2035Montelimar sera </a:t>
            </a:r>
            <a:r>
              <a:rPr lang="fr-FR" sz="900" i="1" dirty="0" smtClean="0">
                <a:latin typeface="+mj-lt"/>
              </a:rPr>
              <a:t>dimensionnée </a:t>
            </a:r>
            <a:r>
              <a:rPr lang="fr-FR" sz="900" i="1" dirty="0" smtClean="0">
                <a:latin typeface="+mj-lt"/>
              </a:rPr>
              <a:t>à 2x20 MW pour passer le pic du chassé croisé d’été, qui intervient un </a:t>
            </a:r>
            <a:r>
              <a:rPr lang="fr-FR" sz="900" i="1" dirty="0" err="1" smtClean="0">
                <a:latin typeface="+mj-lt"/>
              </a:rPr>
              <a:t>week</a:t>
            </a:r>
            <a:r>
              <a:rPr lang="fr-FR" sz="900" i="1" dirty="0" smtClean="0">
                <a:latin typeface="+mj-lt"/>
              </a:rPr>
              <a:t> end </a:t>
            </a:r>
            <a:r>
              <a:rPr lang="fr-FR" sz="900" i="1" dirty="0" smtClean="0">
                <a:latin typeface="+mj-lt"/>
              </a:rPr>
              <a:t>durant lequel</a:t>
            </a:r>
            <a:r>
              <a:rPr lang="fr-FR" sz="900" i="1" dirty="0" smtClean="0">
                <a:latin typeface="+mj-lt"/>
              </a:rPr>
              <a:t> </a:t>
            </a:r>
            <a:r>
              <a:rPr lang="fr-FR" sz="900" i="1" dirty="0" smtClean="0">
                <a:latin typeface="+mj-lt"/>
              </a:rPr>
              <a:t>les poids lourds ne circulent </a:t>
            </a:r>
            <a:r>
              <a:rPr lang="fr-FR" sz="900" i="1" dirty="0" smtClean="0">
                <a:latin typeface="+mj-lt"/>
              </a:rPr>
              <a:t>quasiment pas</a:t>
            </a:r>
            <a:endParaRPr lang="fr-FR" sz="900" i="1" dirty="0">
              <a:latin typeface="+mj-lt"/>
            </a:endParaRPr>
          </a:p>
        </p:txBody>
      </p:sp>
    </p:spTree>
    <p:extLst>
      <p:ext uri="{BB962C8B-B14F-4D97-AF65-F5344CB8AC3E}">
        <p14:creationId xmlns:p14="http://schemas.microsoft.com/office/powerpoint/2010/main" val="341666816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225189" y="3882647"/>
            <a:ext cx="11764370" cy="2579427"/>
          </a:xfrm>
          <a:prstGeom prst="rect">
            <a:avLst/>
          </a:prstGeom>
          <a:solidFill>
            <a:schemeClr val="bg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 name="Rectangle 3"/>
          <p:cNvSpPr/>
          <p:nvPr/>
        </p:nvSpPr>
        <p:spPr>
          <a:xfrm>
            <a:off x="225189" y="1207827"/>
            <a:ext cx="11764370" cy="2579427"/>
          </a:xfrm>
          <a:prstGeom prst="rect">
            <a:avLst/>
          </a:prstGeom>
          <a:solidFill>
            <a:schemeClr val="bg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3" name="ZoneTexte 52"/>
          <p:cNvSpPr txBox="1"/>
          <p:nvPr/>
        </p:nvSpPr>
        <p:spPr>
          <a:xfrm>
            <a:off x="302449" y="1314786"/>
            <a:ext cx="6473663" cy="2328164"/>
          </a:xfrm>
          <a:prstGeom prst="rect">
            <a:avLst/>
          </a:prstGeom>
          <a:noFill/>
          <a:effectLst/>
        </p:spPr>
        <p:txBody>
          <a:bodyPr wrap="square" rtlCol="0" anchor="ctr" anchorCtr="0">
            <a:noAutofit/>
          </a:bodyPr>
          <a:lstStyle/>
          <a:p>
            <a:pPr marL="0" marR="0" lvl="0" indent="0" algn="just" defTabSz="609585" rtl="0" eaLnBrk="1" fontAlgn="auto" latinLnBrk="0" hangingPunct="1">
              <a:lnSpc>
                <a:spcPct val="100000"/>
              </a:lnSpc>
              <a:spcAft>
                <a:spcPts val="600"/>
              </a:spcAft>
              <a:buClrTx/>
              <a:buSzTx/>
              <a:buFontTx/>
              <a:buNone/>
              <a:tabLst/>
              <a:defRPr/>
            </a:pPr>
            <a:r>
              <a:rPr kumimoji="0" lang="fr-FR" sz="1600" b="1" i="0" u="none" strike="noStrike" kern="1200" cap="none" spc="0" normalizeH="0" baseline="0" noProof="0" dirty="0">
                <a:ln>
                  <a:noFill/>
                </a:ln>
                <a:solidFill>
                  <a:srgbClr val="1423DC"/>
                </a:solidFill>
                <a:effectLst/>
                <a:uLnTx/>
                <a:uFillTx/>
                <a:latin typeface="Enedis" pitchFamily="2" charset="0"/>
                <a:ea typeface="+mn-ea"/>
                <a:cs typeface="+mn-cs"/>
              </a:rPr>
              <a:t>Expérimentation </a:t>
            </a:r>
            <a:r>
              <a:rPr kumimoji="0" lang="fr-FR" sz="1600" b="1" i="0" u="none" strike="noStrike" kern="1200" cap="none" spc="0" normalizeH="0" baseline="0" noProof="0" dirty="0" smtClean="0">
                <a:ln>
                  <a:noFill/>
                </a:ln>
                <a:solidFill>
                  <a:srgbClr val="1423DC"/>
                </a:solidFill>
                <a:effectLst/>
                <a:uLnTx/>
                <a:uFillTx/>
                <a:latin typeface="Enedis" pitchFamily="2" charset="0"/>
                <a:ea typeface="+mn-ea"/>
                <a:cs typeface="+mn-cs"/>
              </a:rPr>
              <a:t>de comptage tiers </a:t>
            </a:r>
            <a:r>
              <a:rPr kumimoji="0" lang="fr-FR" sz="1600" b="1" i="0" u="none" strike="noStrike" kern="1200" cap="none" spc="0" normalizeH="0" baseline="0" noProof="0" dirty="0">
                <a:ln>
                  <a:noFill/>
                </a:ln>
                <a:solidFill>
                  <a:srgbClr val="1423DC"/>
                </a:solidFill>
                <a:effectLst/>
                <a:uLnTx/>
                <a:uFillTx/>
                <a:latin typeface="Enedis" pitchFamily="2" charset="0"/>
                <a:ea typeface="+mn-ea"/>
                <a:cs typeface="+mn-cs"/>
              </a:rPr>
              <a:t>en décompte </a:t>
            </a:r>
            <a:r>
              <a:rPr kumimoji="0" lang="fr-FR" sz="1600" b="1" i="0" u="none" strike="noStrike" kern="1200" cap="none" spc="0" normalizeH="0" baseline="0" noProof="0" dirty="0" smtClean="0">
                <a:ln>
                  <a:noFill/>
                </a:ln>
                <a:solidFill>
                  <a:srgbClr val="1423DC"/>
                </a:solidFill>
                <a:effectLst/>
                <a:uLnTx/>
                <a:uFillTx/>
                <a:latin typeface="Enedis" pitchFamily="2" charset="0"/>
                <a:ea typeface="+mn-ea"/>
                <a:cs typeface="+mn-cs"/>
              </a:rPr>
              <a:t>IRVE</a:t>
            </a:r>
            <a:br>
              <a:rPr kumimoji="0" lang="fr-FR" sz="1600" b="1" i="0" u="none" strike="noStrike" kern="1200" cap="none" spc="0" normalizeH="0" baseline="0" noProof="0" dirty="0" smtClean="0">
                <a:ln>
                  <a:noFill/>
                </a:ln>
                <a:solidFill>
                  <a:srgbClr val="1423DC"/>
                </a:solidFill>
                <a:effectLst/>
                <a:uLnTx/>
                <a:uFillTx/>
                <a:latin typeface="Enedis" pitchFamily="2" charset="0"/>
                <a:ea typeface="+mn-ea"/>
                <a:cs typeface="+mn-cs"/>
              </a:rPr>
            </a:br>
            <a:r>
              <a:rPr kumimoji="0" lang="fr-FR" sz="1600" b="1" i="0" u="none" strike="noStrike" kern="1200" cap="none" spc="0" normalizeH="0" baseline="0" noProof="0" dirty="0" smtClean="0">
                <a:ln>
                  <a:noFill/>
                </a:ln>
                <a:solidFill>
                  <a:srgbClr val="1423DC"/>
                </a:solidFill>
                <a:effectLst/>
                <a:uLnTx/>
                <a:uFillTx/>
                <a:latin typeface="Enedis" pitchFamily="2" charset="0"/>
                <a:ea typeface="+mn-ea"/>
                <a:cs typeface="+mn-cs"/>
              </a:rPr>
              <a:t>--&gt; </a:t>
            </a:r>
            <a:r>
              <a:rPr kumimoji="0" lang="fr-FR" sz="1600" b="1" i="0" u="sng" strike="noStrike" kern="1200" cap="none" spc="0" normalizeH="0" baseline="0" noProof="0" dirty="0" smtClean="0">
                <a:ln>
                  <a:noFill/>
                </a:ln>
                <a:solidFill>
                  <a:srgbClr val="1423DC"/>
                </a:solidFill>
                <a:effectLst/>
                <a:uLnTx/>
                <a:uFillTx/>
                <a:latin typeface="Enedis" pitchFamily="2" charset="0"/>
                <a:ea typeface="+mn-ea"/>
                <a:cs typeface="+mn-cs"/>
              </a:rPr>
              <a:t>comptage à l’usage</a:t>
            </a:r>
            <a:endParaRPr kumimoji="0" lang="fr-FR" sz="1600" b="1" i="0" u="sng" strike="noStrike" kern="1200" cap="none" spc="0" normalizeH="0" baseline="0" noProof="0" dirty="0">
              <a:ln>
                <a:noFill/>
              </a:ln>
              <a:solidFill>
                <a:srgbClr val="1423DC"/>
              </a:solidFill>
              <a:effectLst/>
              <a:uLnTx/>
              <a:uFillTx/>
              <a:latin typeface="Enedis" pitchFamily="2" charset="0"/>
              <a:ea typeface="+mn-ea"/>
              <a:cs typeface="+mn-cs"/>
            </a:endParaRPr>
          </a:p>
          <a:p>
            <a:pPr marL="228600" indent="-228600" algn="just">
              <a:spcAft>
                <a:spcPts val="600"/>
              </a:spcAft>
              <a:buClr>
                <a:schemeClr val="tx2"/>
              </a:buClr>
              <a:buFont typeface="Wingdings" panose="05000000000000000000" pitchFamily="2" charset="2"/>
              <a:buChar char="q"/>
            </a:pPr>
            <a:endParaRPr lang="fr-FR" sz="1200" dirty="0" smtClean="0">
              <a:solidFill>
                <a:prstClr val="black"/>
              </a:solidFill>
              <a:latin typeface="Enedis" pitchFamily="2" charset="0"/>
            </a:endParaRPr>
          </a:p>
          <a:p>
            <a:pPr marL="228600" indent="-228600" algn="just">
              <a:spcAft>
                <a:spcPts val="600"/>
              </a:spcAft>
              <a:buClr>
                <a:schemeClr val="tx2"/>
              </a:buClr>
              <a:buFont typeface="Wingdings" panose="05000000000000000000" pitchFamily="2" charset="2"/>
              <a:buChar char="q"/>
            </a:pPr>
            <a:r>
              <a:rPr lang="fr-FR" sz="1200" dirty="0" smtClean="0">
                <a:solidFill>
                  <a:prstClr val="black"/>
                </a:solidFill>
                <a:latin typeface="Enedis" pitchFamily="2" charset="0"/>
              </a:rPr>
              <a:t>Bac </a:t>
            </a:r>
            <a:r>
              <a:rPr lang="fr-FR" sz="1200" dirty="0">
                <a:solidFill>
                  <a:prstClr val="black"/>
                </a:solidFill>
                <a:latin typeface="Enedis" pitchFamily="2" charset="0"/>
              </a:rPr>
              <a:t>à sable réglementaire </a:t>
            </a:r>
            <a:r>
              <a:rPr lang="fr-FR" sz="1200" dirty="0" err="1">
                <a:solidFill>
                  <a:prstClr val="black"/>
                </a:solidFill>
                <a:latin typeface="Enedis" pitchFamily="2" charset="0"/>
              </a:rPr>
              <a:t>Octopus</a:t>
            </a:r>
            <a:r>
              <a:rPr lang="fr-FR" sz="1200" dirty="0">
                <a:solidFill>
                  <a:prstClr val="black"/>
                </a:solidFill>
                <a:latin typeface="Enedis" pitchFamily="2" charset="0"/>
              </a:rPr>
              <a:t> </a:t>
            </a:r>
            <a:r>
              <a:rPr lang="fr-FR" sz="1200" dirty="0" err="1">
                <a:solidFill>
                  <a:prstClr val="black"/>
                </a:solidFill>
                <a:latin typeface="Enedis" pitchFamily="2" charset="0"/>
              </a:rPr>
              <a:t>Energy</a:t>
            </a:r>
            <a:r>
              <a:rPr lang="fr-FR" sz="1200" dirty="0">
                <a:solidFill>
                  <a:prstClr val="black"/>
                </a:solidFill>
                <a:latin typeface="Enedis" pitchFamily="2" charset="0"/>
              </a:rPr>
              <a:t> France(ex </a:t>
            </a:r>
            <a:r>
              <a:rPr lang="fr-FR" sz="1200" dirty="0" err="1">
                <a:solidFill>
                  <a:prstClr val="black"/>
                </a:solidFill>
                <a:latin typeface="Enedis" pitchFamily="2" charset="0"/>
              </a:rPr>
              <a:t>Plüm</a:t>
            </a:r>
            <a:r>
              <a:rPr lang="fr-FR" sz="1200" dirty="0">
                <a:solidFill>
                  <a:prstClr val="black"/>
                </a:solidFill>
                <a:latin typeface="Enedis" pitchFamily="2" charset="0"/>
              </a:rPr>
              <a:t>) déposé en juin 2022 auprès de la </a:t>
            </a:r>
            <a:r>
              <a:rPr lang="fr-FR" sz="1200" dirty="0" smtClean="0">
                <a:solidFill>
                  <a:prstClr val="black"/>
                </a:solidFill>
                <a:latin typeface="Enedis" pitchFamily="2" charset="0"/>
              </a:rPr>
              <a:t>DGEC</a:t>
            </a:r>
          </a:p>
          <a:p>
            <a:pPr marL="228600" indent="-228600" algn="just">
              <a:spcAft>
                <a:spcPts val="600"/>
              </a:spcAft>
              <a:buClr>
                <a:schemeClr val="tx2"/>
              </a:buClr>
              <a:buFont typeface="Wingdings" panose="05000000000000000000" pitchFamily="2" charset="2"/>
              <a:buChar char="q"/>
            </a:pPr>
            <a:r>
              <a:rPr lang="fr-FR" sz="1200" dirty="0" smtClean="0">
                <a:solidFill>
                  <a:prstClr val="black"/>
                </a:solidFill>
                <a:latin typeface="Enedis" pitchFamily="2" charset="0"/>
              </a:rPr>
              <a:t>Utilisation de </a:t>
            </a:r>
            <a:r>
              <a:rPr lang="fr-FR" sz="1200" dirty="0">
                <a:solidFill>
                  <a:prstClr val="black"/>
                </a:solidFill>
                <a:latin typeface="Enedis" pitchFamily="2" charset="0"/>
              </a:rPr>
              <a:t>comptages </a:t>
            </a:r>
            <a:r>
              <a:rPr lang="fr-FR" sz="1200" dirty="0" smtClean="0">
                <a:solidFill>
                  <a:prstClr val="black"/>
                </a:solidFill>
                <a:latin typeface="Enedis" pitchFamily="2" charset="0"/>
              </a:rPr>
              <a:t>tiers – </a:t>
            </a:r>
            <a:r>
              <a:rPr lang="fr-FR" sz="1200" dirty="0" err="1" smtClean="0">
                <a:solidFill>
                  <a:prstClr val="black"/>
                </a:solidFill>
                <a:latin typeface="Enedis" pitchFamily="2" charset="0"/>
              </a:rPr>
              <a:t>ie</a:t>
            </a:r>
            <a:r>
              <a:rPr lang="fr-FR" sz="1200" dirty="0" smtClean="0">
                <a:solidFill>
                  <a:prstClr val="black"/>
                </a:solidFill>
                <a:latin typeface="Enedis" pitchFamily="2" charset="0"/>
              </a:rPr>
              <a:t> données tierces - issus </a:t>
            </a:r>
            <a:r>
              <a:rPr lang="fr-FR" sz="1200" dirty="0">
                <a:solidFill>
                  <a:prstClr val="black"/>
                </a:solidFill>
                <a:latin typeface="Enedis" pitchFamily="2" charset="0"/>
              </a:rPr>
              <a:t>de compteurs certifiés  MID équipant des bornes de recharge et l’intégration de ces données au marché</a:t>
            </a:r>
            <a:r>
              <a:rPr lang="fr-FR" sz="1200" dirty="0" smtClean="0">
                <a:solidFill>
                  <a:prstClr val="black"/>
                </a:solidFill>
                <a:latin typeface="Enedis" pitchFamily="2" charset="0"/>
              </a:rPr>
              <a:t>.</a:t>
            </a:r>
            <a:endParaRPr lang="fr-FR" sz="1200" dirty="0">
              <a:solidFill>
                <a:prstClr val="black"/>
              </a:solidFill>
              <a:latin typeface="Enedis" pitchFamily="2" charset="0"/>
            </a:endParaRPr>
          </a:p>
          <a:p>
            <a:pPr marL="228600" indent="-228600" algn="just">
              <a:buClr>
                <a:schemeClr val="tx2"/>
              </a:buClr>
              <a:buFont typeface="Wingdings" panose="05000000000000000000" pitchFamily="2" charset="2"/>
              <a:buChar char="q"/>
            </a:pPr>
            <a:r>
              <a:rPr lang="fr-FR" sz="1200" dirty="0">
                <a:solidFill>
                  <a:prstClr val="black"/>
                </a:solidFill>
                <a:latin typeface="Enedis" pitchFamily="2" charset="0"/>
              </a:rPr>
              <a:t>Les travaux de cadrage opérationnel de l’expérimentation sont en cours.</a:t>
            </a:r>
          </a:p>
        </p:txBody>
      </p:sp>
      <p:sp>
        <p:nvSpPr>
          <p:cNvPr id="54" name="ZoneTexte 53"/>
          <p:cNvSpPr txBox="1"/>
          <p:nvPr/>
        </p:nvSpPr>
        <p:spPr>
          <a:xfrm>
            <a:off x="302450" y="4000773"/>
            <a:ext cx="6473662" cy="2328164"/>
          </a:xfrm>
          <a:prstGeom prst="rect">
            <a:avLst/>
          </a:prstGeom>
          <a:noFill/>
          <a:effectLst/>
        </p:spPr>
        <p:txBody>
          <a:bodyPr wrap="square" rtlCol="0" anchor="ctr" anchorCtr="0">
            <a:noAutofit/>
          </a:bodyPr>
          <a:lstStyle/>
          <a:p>
            <a:pPr marL="0" marR="0" lvl="0" indent="0" algn="just" defTabSz="609585" rtl="0" eaLnBrk="1" fontAlgn="auto" latinLnBrk="0" hangingPunct="1">
              <a:lnSpc>
                <a:spcPct val="100000"/>
              </a:lnSpc>
              <a:spcAft>
                <a:spcPts val="600"/>
              </a:spcAft>
              <a:buClrTx/>
              <a:buSzTx/>
              <a:buFontTx/>
              <a:buNone/>
              <a:tabLst/>
              <a:defRPr/>
            </a:pPr>
            <a:r>
              <a:rPr kumimoji="0" lang="fr-FR" sz="1600" b="1" i="0" u="none" strike="noStrike" kern="1200" cap="none" spc="0" normalizeH="0" baseline="0" noProof="0" dirty="0" smtClean="0">
                <a:ln>
                  <a:noFill/>
                </a:ln>
                <a:solidFill>
                  <a:srgbClr val="1423DC"/>
                </a:solidFill>
                <a:effectLst/>
                <a:uLnTx/>
                <a:uFillTx/>
                <a:latin typeface="Enedis" pitchFamily="2" charset="0"/>
                <a:ea typeface="+mn-ea"/>
                <a:cs typeface="+mn-cs"/>
              </a:rPr>
              <a:t>Expérimentation de </a:t>
            </a:r>
            <a:r>
              <a:rPr kumimoji="0" lang="fr-FR" sz="1600" b="1" i="0" u="sng" strike="noStrike" kern="1200" cap="none" spc="0" normalizeH="0" baseline="0" noProof="0" dirty="0" smtClean="0">
                <a:ln>
                  <a:noFill/>
                </a:ln>
                <a:solidFill>
                  <a:srgbClr val="1423DC"/>
                </a:solidFill>
                <a:effectLst/>
                <a:uLnTx/>
                <a:uFillTx/>
                <a:latin typeface="Enedis" pitchFamily="2" charset="0"/>
                <a:ea typeface="+mn-ea"/>
                <a:cs typeface="+mn-cs"/>
              </a:rPr>
              <a:t>comptage DC</a:t>
            </a:r>
            <a:r>
              <a:rPr kumimoji="0" lang="fr-FR" sz="1600" b="1" i="0" strike="noStrike" kern="1200" cap="none" spc="0" normalizeH="0" baseline="0" noProof="0" dirty="0" smtClean="0">
                <a:ln>
                  <a:noFill/>
                </a:ln>
                <a:solidFill>
                  <a:srgbClr val="1423DC"/>
                </a:solidFill>
                <a:effectLst/>
                <a:uLnTx/>
                <a:uFillTx/>
                <a:latin typeface="Enedis" pitchFamily="2" charset="0"/>
                <a:ea typeface="+mn-ea"/>
                <a:cs typeface="+mn-cs"/>
              </a:rPr>
              <a:t> </a:t>
            </a:r>
            <a:r>
              <a:rPr kumimoji="0" lang="fr-FR" sz="1600" b="1" i="0" u="none" strike="noStrike" kern="1200" cap="none" spc="0" normalizeH="0" baseline="0" noProof="0" dirty="0" smtClean="0">
                <a:ln>
                  <a:noFill/>
                </a:ln>
                <a:solidFill>
                  <a:srgbClr val="1423DC"/>
                </a:solidFill>
                <a:effectLst/>
                <a:uLnTx/>
                <a:uFillTx/>
                <a:latin typeface="Enedis" pitchFamily="2" charset="0"/>
                <a:ea typeface="+mn-ea"/>
                <a:cs typeface="+mn-cs"/>
              </a:rPr>
              <a:t>en décompte IRVE</a:t>
            </a:r>
            <a:endParaRPr kumimoji="0" lang="fr-FR" sz="1600" b="0" i="0" u="none" strike="noStrike" kern="1200" cap="none" spc="0" normalizeH="0" baseline="0" noProof="0" dirty="0">
              <a:ln>
                <a:noFill/>
              </a:ln>
              <a:solidFill>
                <a:prstClr val="black"/>
              </a:solidFill>
              <a:effectLst/>
              <a:uLnTx/>
              <a:uFillTx/>
              <a:latin typeface="Enedis" pitchFamily="2" charset="0"/>
              <a:ea typeface="+mn-ea"/>
              <a:cs typeface="+mn-cs"/>
            </a:endParaRPr>
          </a:p>
          <a:p>
            <a:pPr marL="228600" marR="0" lvl="0" indent="-228600" algn="just" fontAlgn="auto">
              <a:lnSpc>
                <a:spcPct val="100000"/>
              </a:lnSpc>
              <a:spcBef>
                <a:spcPts val="0"/>
              </a:spcBef>
              <a:spcAft>
                <a:spcPts val="600"/>
              </a:spcAft>
              <a:buClr>
                <a:schemeClr val="tx2"/>
              </a:buClr>
              <a:buSzTx/>
              <a:buFont typeface="Wingdings" panose="05000000000000000000" pitchFamily="2" charset="2"/>
              <a:buChar char="q"/>
              <a:tabLst/>
              <a:defRPr/>
            </a:pPr>
            <a:endParaRPr lang="fr-FR" sz="1200" dirty="0" smtClean="0">
              <a:solidFill>
                <a:prstClr val="black"/>
              </a:solidFill>
              <a:latin typeface="Enedis" pitchFamily="2" charset="0"/>
            </a:endParaRPr>
          </a:p>
          <a:p>
            <a:pPr marL="228600" marR="0" lvl="0" indent="-228600" algn="just" fontAlgn="auto">
              <a:lnSpc>
                <a:spcPct val="100000"/>
              </a:lnSpc>
              <a:spcBef>
                <a:spcPts val="0"/>
              </a:spcBef>
              <a:spcAft>
                <a:spcPts val="600"/>
              </a:spcAft>
              <a:buClr>
                <a:schemeClr val="tx2"/>
              </a:buClr>
              <a:buSzTx/>
              <a:buFont typeface="Wingdings" panose="05000000000000000000" pitchFamily="2" charset="2"/>
              <a:buChar char="q"/>
              <a:tabLst/>
              <a:defRPr/>
            </a:pPr>
            <a:r>
              <a:rPr lang="fr-FR" sz="1200" dirty="0" smtClean="0">
                <a:solidFill>
                  <a:prstClr val="black"/>
                </a:solidFill>
                <a:latin typeface="Enedis" pitchFamily="2" charset="0"/>
              </a:rPr>
              <a:t>Des </a:t>
            </a:r>
            <a:r>
              <a:rPr lang="fr-FR" sz="1200" dirty="0">
                <a:solidFill>
                  <a:prstClr val="black"/>
                </a:solidFill>
                <a:latin typeface="Enedis" pitchFamily="2" charset="0"/>
              </a:rPr>
              <a:t>acteurs souhaitent combiner sur un même site différents usages fonctionnant en courant continu, comme du stockage stationnaire, de la production renouvelable ou de la recharge de véhicules électriques et distinguer les flux d’énergie associés. Le comptage en courant continu, combiné au décompte, pourrait y répondre. </a:t>
            </a:r>
          </a:p>
          <a:p>
            <a:pPr marL="228600" marR="0" lvl="0" indent="-228600" algn="just" fontAlgn="auto">
              <a:lnSpc>
                <a:spcPct val="100000"/>
              </a:lnSpc>
              <a:spcBef>
                <a:spcPts val="0"/>
              </a:spcBef>
              <a:spcAft>
                <a:spcPts val="600"/>
              </a:spcAft>
              <a:buClr>
                <a:schemeClr val="tx2"/>
              </a:buClr>
              <a:buSzTx/>
              <a:buFont typeface="Wingdings" panose="05000000000000000000" pitchFamily="2" charset="2"/>
              <a:buChar char="q"/>
              <a:tabLst/>
              <a:defRPr/>
            </a:pPr>
            <a:r>
              <a:rPr lang="fr-FR" sz="1200" dirty="0" err="1">
                <a:solidFill>
                  <a:prstClr val="black"/>
                </a:solidFill>
                <a:latin typeface="Enedis" pitchFamily="2" charset="0"/>
              </a:rPr>
              <a:t>Enedis</a:t>
            </a:r>
            <a:r>
              <a:rPr lang="fr-FR" sz="1200" dirty="0">
                <a:solidFill>
                  <a:prstClr val="black"/>
                </a:solidFill>
                <a:latin typeface="Enedis" pitchFamily="2" charset="0"/>
              </a:rPr>
              <a:t> expérimente la mise en œuvre d’une solution de décompte en courant continu pour une installation IRVE raccordée en aval d’une installation de stockage. Ces travaux se poursuivent en 2024. </a:t>
            </a:r>
          </a:p>
        </p:txBody>
      </p:sp>
      <p:sp>
        <p:nvSpPr>
          <p:cNvPr id="11" name="Titre 1"/>
          <p:cNvSpPr txBox="1">
            <a:spLocks/>
          </p:cNvSpPr>
          <p:nvPr/>
        </p:nvSpPr>
        <p:spPr>
          <a:xfrm>
            <a:off x="302450" y="189610"/>
            <a:ext cx="11460764" cy="804698"/>
          </a:xfrm>
          <a:prstGeom prst="rect">
            <a:avLst/>
          </a:prstGeom>
        </p:spPr>
        <p:txBody>
          <a:bodyPr vert="horz" wrap="square" lIns="0" tIns="0" rIns="0" bIns="0" rtlCol="0" anchor="t">
            <a:noAutofit/>
          </a:bodyPr>
          <a:lstStyle>
            <a:lvl1pPr algn="l" defTabSz="914377" rtl="0" eaLnBrk="1" latinLnBrk="0" hangingPunct="1">
              <a:lnSpc>
                <a:spcPct val="80000"/>
              </a:lnSpc>
              <a:spcBef>
                <a:spcPct val="0"/>
              </a:spcBef>
              <a:buNone/>
              <a:defRPr sz="2800" b="1" kern="1200">
                <a:solidFill>
                  <a:schemeClr val="tx2"/>
                </a:solidFill>
                <a:latin typeface="+mj-lt"/>
                <a:ea typeface="+mj-ea"/>
                <a:cs typeface="+mj-cs"/>
              </a:defRPr>
            </a:lvl1pPr>
          </a:lstStyle>
          <a:p>
            <a:r>
              <a:rPr lang="fr-FR" dirty="0" smtClean="0"/>
              <a:t>La mobilité électrique conduit Enedis à instruire et proposer des réponses aux besoins croissants de « nouveaux types de comptage »</a:t>
            </a:r>
            <a:endParaRPr lang="fr-FR" dirty="0"/>
          </a:p>
        </p:txBody>
      </p:sp>
      <p:sp>
        <p:nvSpPr>
          <p:cNvPr id="12" name="Slide Number Placeholder 3">
            <a:extLst>
              <a:ext uri="{FF2B5EF4-FFF2-40B4-BE49-F238E27FC236}">
                <a16:creationId xmlns:a16="http://schemas.microsoft.com/office/drawing/2014/main" id="{29869B0A-245E-6617-42EE-AD9F74932BA2}"/>
              </a:ext>
            </a:extLst>
          </p:cNvPr>
          <p:cNvSpPr txBox="1">
            <a:spLocks/>
          </p:cNvSpPr>
          <p:nvPr/>
        </p:nvSpPr>
        <p:spPr>
          <a:xfrm>
            <a:off x="11288798" y="6645289"/>
            <a:ext cx="465150" cy="154849"/>
          </a:xfrm>
          <a:prstGeom prst="rect">
            <a:avLst/>
          </a:prstGeom>
        </p:spPr>
        <p:txBody>
          <a:bodyPr vert="horz" lIns="0" tIns="0" rIns="0" bIns="0" rtlCol="0" anchor="ctr"/>
          <a:lstStyle>
            <a:defPPr>
              <a:defRPr lang="en-US"/>
            </a:defPPr>
            <a:lvl1pPr marL="0" algn="r" defTabSz="609585" rtl="0" eaLnBrk="1" latinLnBrk="0" hangingPunct="1">
              <a:defRPr sz="750" b="1" kern="1200">
                <a:solidFill>
                  <a:schemeClr val="tx2"/>
                </a:solidFill>
                <a:latin typeface="+mj-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6B54B0F7-55DD-40D6-B7F4-70B586885C0B}" type="slidenum">
              <a:rPr lang="fr-FR" sz="800" smtClean="0"/>
              <a:pPr/>
              <a:t>25</a:t>
            </a:fld>
            <a:endParaRPr lang="fr-FR" sz="800" dirty="0"/>
          </a:p>
        </p:txBody>
      </p:sp>
      <p:pic>
        <p:nvPicPr>
          <p:cNvPr id="7" name="Image 6"/>
          <p:cNvPicPr>
            <a:picLocks noChangeAspect="1"/>
          </p:cNvPicPr>
          <p:nvPr/>
        </p:nvPicPr>
        <p:blipFill>
          <a:blip r:embed="rId2"/>
          <a:stretch>
            <a:fillRect/>
          </a:stretch>
        </p:blipFill>
        <p:spPr>
          <a:xfrm>
            <a:off x="7362492" y="1314786"/>
            <a:ext cx="4391455" cy="2328164"/>
          </a:xfrm>
          <a:prstGeom prst="rect">
            <a:avLst/>
          </a:prstGeom>
          <a:effectLst>
            <a:outerShdw blurRad="50800" dist="76200" dir="2700000" algn="tl" rotWithShape="0">
              <a:prstClr val="black">
                <a:alpha val="40000"/>
              </a:prstClr>
            </a:outerShdw>
          </a:effectLst>
        </p:spPr>
      </p:pic>
      <p:pic>
        <p:nvPicPr>
          <p:cNvPr id="15" name="Image 14"/>
          <p:cNvPicPr>
            <a:picLocks noChangeAspect="1"/>
          </p:cNvPicPr>
          <p:nvPr/>
        </p:nvPicPr>
        <p:blipFill>
          <a:blip r:embed="rId3"/>
          <a:stretch>
            <a:fillRect/>
          </a:stretch>
        </p:blipFill>
        <p:spPr>
          <a:xfrm>
            <a:off x="7353700" y="4000773"/>
            <a:ext cx="4400247" cy="2328164"/>
          </a:xfrm>
          <a:prstGeom prst="rect">
            <a:avLst/>
          </a:prstGeom>
          <a:effectLst>
            <a:outerShdw blurRad="50800" dist="76200" dir="2700000" algn="tl" rotWithShape="0">
              <a:prstClr val="black">
                <a:alpha val="40000"/>
              </a:prstClr>
            </a:outerShdw>
          </a:effectLst>
        </p:spPr>
      </p:pic>
    </p:spTree>
    <p:extLst>
      <p:ext uri="{BB962C8B-B14F-4D97-AF65-F5344CB8AC3E}">
        <p14:creationId xmlns:p14="http://schemas.microsoft.com/office/powerpoint/2010/main" val="166881427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p:cNvPicPr>
            <a:picLocks noChangeAspect="1"/>
          </p:cNvPicPr>
          <p:nvPr/>
        </p:nvPicPr>
        <p:blipFill>
          <a:blip r:embed="rId2"/>
          <a:stretch>
            <a:fillRect/>
          </a:stretch>
        </p:blipFill>
        <p:spPr>
          <a:xfrm>
            <a:off x="4134338" y="1987546"/>
            <a:ext cx="7573351" cy="4462411"/>
          </a:xfrm>
          <a:prstGeom prst="rect">
            <a:avLst/>
          </a:prstGeom>
          <a:solidFill>
            <a:schemeClr val="bg1">
              <a:lumMod val="95000"/>
            </a:schemeClr>
          </a:solidFill>
          <a:effectLst>
            <a:outerShdw blurRad="50800" dist="76200" dir="2700000" algn="tl" rotWithShape="0">
              <a:prstClr val="black">
                <a:alpha val="40000"/>
              </a:prstClr>
            </a:outerShdw>
          </a:effectLst>
        </p:spPr>
      </p:pic>
      <p:sp>
        <p:nvSpPr>
          <p:cNvPr id="2" name="Titre 1"/>
          <p:cNvSpPr>
            <a:spLocks noGrp="1"/>
          </p:cNvSpPr>
          <p:nvPr>
            <p:ph type="title"/>
          </p:nvPr>
        </p:nvSpPr>
        <p:spPr>
          <a:xfrm>
            <a:off x="296781" y="308895"/>
            <a:ext cx="11745163" cy="361959"/>
          </a:xfrm>
        </p:spPr>
        <p:txBody>
          <a:bodyPr/>
          <a:lstStyle/>
          <a:p>
            <a:r>
              <a:rPr lang="en-US" sz="2800" dirty="0" err="1" smtClean="0"/>
              <a:t>Autoroutes</a:t>
            </a:r>
            <a:r>
              <a:rPr lang="en-US" sz="2800" dirty="0" smtClean="0"/>
              <a:t> : </a:t>
            </a:r>
            <a:r>
              <a:rPr lang="en-US" sz="2800" dirty="0" err="1" smtClean="0"/>
              <a:t>s’assurer</a:t>
            </a:r>
            <a:r>
              <a:rPr lang="en-US" sz="2800" dirty="0" smtClean="0"/>
              <a:t> que le </a:t>
            </a:r>
            <a:r>
              <a:rPr lang="en-US" sz="2800" dirty="0" err="1" smtClean="0"/>
              <a:t>réseau</a:t>
            </a:r>
            <a:r>
              <a:rPr lang="en-US" sz="2800" dirty="0" smtClean="0"/>
              <a:t> sera prêt au bon moment</a:t>
            </a:r>
            <a:endParaRPr lang="en-US" sz="2800" dirty="0"/>
          </a:p>
        </p:txBody>
      </p:sp>
      <p:sp>
        <p:nvSpPr>
          <p:cNvPr id="5" name="Espace réservé du texte 8">
            <a:extLst>
              <a:ext uri="{FF2B5EF4-FFF2-40B4-BE49-F238E27FC236}">
                <a16:creationId xmlns:a16="http://schemas.microsoft.com/office/drawing/2014/main" id="{1CB64D0D-FD36-4BF3-A9AC-F85AFD40BA2E}"/>
              </a:ext>
            </a:extLst>
          </p:cNvPr>
          <p:cNvSpPr>
            <a:spLocks noGrp="1"/>
          </p:cNvSpPr>
          <p:nvPr>
            <p:ph type="body" sz="quarter" idx="18"/>
          </p:nvPr>
        </p:nvSpPr>
        <p:spPr>
          <a:xfrm>
            <a:off x="296782" y="1253687"/>
            <a:ext cx="3921549" cy="264111"/>
          </a:xfrm>
          <a:solidFill>
            <a:schemeClr val="bg1"/>
          </a:solidFill>
          <a:effectLst>
            <a:outerShdw blurRad="50800" dist="76200" dir="2700000" algn="tl" rotWithShape="0">
              <a:prstClr val="black">
                <a:alpha val="40000"/>
              </a:prstClr>
            </a:outerShdw>
          </a:effectLst>
        </p:spPr>
        <p:txBody>
          <a:bodyPr/>
          <a:lstStyle/>
          <a:p>
            <a:pPr>
              <a:spcAft>
                <a:spcPts val="1200"/>
              </a:spcAft>
            </a:pPr>
            <a:r>
              <a:rPr lang="en-CA" sz="1800" b="1" dirty="0" err="1" smtClean="0">
                <a:solidFill>
                  <a:schemeClr val="tx2"/>
                </a:solidFill>
                <a:latin typeface="+mj-lt"/>
                <a:ea typeface="Times New Roman" panose="02020603050405020304" pitchFamily="18" charset="0"/>
                <a:cs typeface="Times New Roman" panose="02020603050405020304" pitchFamily="18" charset="0"/>
              </a:rPr>
              <a:t>Cas</a:t>
            </a:r>
            <a:r>
              <a:rPr lang="en-CA" sz="1800" b="1" dirty="0" smtClean="0">
                <a:solidFill>
                  <a:schemeClr val="tx2"/>
                </a:solidFill>
                <a:latin typeface="+mj-lt"/>
                <a:ea typeface="Times New Roman" panose="02020603050405020304" pitchFamily="18" charset="0"/>
                <a:cs typeface="Times New Roman" panose="02020603050405020304" pitchFamily="18" charset="0"/>
              </a:rPr>
              <a:t> de </a:t>
            </a:r>
            <a:r>
              <a:rPr lang="en-CA" sz="1800" b="1" dirty="0" err="1" smtClean="0">
                <a:solidFill>
                  <a:schemeClr val="tx2"/>
                </a:solidFill>
                <a:latin typeface="+mj-lt"/>
                <a:ea typeface="Times New Roman" panose="02020603050405020304" pitchFamily="18" charset="0"/>
                <a:cs typeface="Times New Roman" panose="02020603050405020304" pitchFamily="18" charset="0"/>
              </a:rPr>
              <a:t>l’aire</a:t>
            </a:r>
            <a:r>
              <a:rPr lang="en-CA" sz="1800" b="1" dirty="0" smtClean="0">
                <a:solidFill>
                  <a:schemeClr val="tx2"/>
                </a:solidFill>
                <a:latin typeface="+mj-lt"/>
                <a:ea typeface="Times New Roman" panose="02020603050405020304" pitchFamily="18" charset="0"/>
                <a:cs typeface="Times New Roman" panose="02020603050405020304" pitchFamily="18" charset="0"/>
              </a:rPr>
              <a:t> de </a:t>
            </a:r>
            <a:r>
              <a:rPr lang="en-CA" sz="1800" b="1" dirty="0" err="1" smtClean="0">
                <a:solidFill>
                  <a:schemeClr val="tx2"/>
                </a:solidFill>
                <a:latin typeface="+mj-lt"/>
                <a:ea typeface="Times New Roman" panose="02020603050405020304" pitchFamily="18" charset="0"/>
                <a:cs typeface="Times New Roman" panose="02020603050405020304" pitchFamily="18" charset="0"/>
              </a:rPr>
              <a:t>Montélimar</a:t>
            </a:r>
            <a:endParaRPr lang="en-CA" sz="1800" b="1" dirty="0" smtClean="0">
              <a:solidFill>
                <a:schemeClr val="tx2"/>
              </a:solidFill>
              <a:latin typeface="+mj-lt"/>
            </a:endParaRPr>
          </a:p>
        </p:txBody>
      </p:sp>
      <p:pic>
        <p:nvPicPr>
          <p:cNvPr id="28" name="Image 27"/>
          <p:cNvPicPr>
            <a:picLocks noChangeAspect="1"/>
          </p:cNvPicPr>
          <p:nvPr/>
        </p:nvPicPr>
        <p:blipFill>
          <a:blip r:embed="rId3"/>
          <a:stretch>
            <a:fillRect/>
          </a:stretch>
        </p:blipFill>
        <p:spPr>
          <a:xfrm>
            <a:off x="296782" y="1633415"/>
            <a:ext cx="3921549" cy="3846567"/>
          </a:xfrm>
          <a:prstGeom prst="rect">
            <a:avLst/>
          </a:prstGeom>
          <a:solidFill>
            <a:schemeClr val="bg1"/>
          </a:solidFill>
          <a:effectLst>
            <a:outerShdw blurRad="50800" dist="76200" dir="2700000" algn="tl" rotWithShape="0">
              <a:prstClr val="black">
                <a:alpha val="40000"/>
              </a:prstClr>
            </a:outerShdw>
          </a:effectLst>
        </p:spPr>
      </p:pic>
      <p:sp>
        <p:nvSpPr>
          <p:cNvPr id="6" name="ZoneTexte 5"/>
          <p:cNvSpPr txBox="1"/>
          <p:nvPr/>
        </p:nvSpPr>
        <p:spPr>
          <a:xfrm>
            <a:off x="4605889" y="2045946"/>
            <a:ext cx="1485206" cy="161583"/>
          </a:xfrm>
          <a:prstGeom prst="rect">
            <a:avLst/>
          </a:prstGeom>
          <a:solidFill>
            <a:schemeClr val="bg1">
              <a:lumMod val="95000"/>
            </a:schemeClr>
          </a:solidFill>
        </p:spPr>
        <p:txBody>
          <a:bodyPr wrap="square" lIns="36000" tIns="0" rIns="36000" bIns="0" rtlCol="0">
            <a:spAutoFit/>
          </a:bodyPr>
          <a:lstStyle/>
          <a:p>
            <a:pPr algn="ctr"/>
            <a:r>
              <a:rPr lang="fr-FR" sz="1050" dirty="0" err="1" smtClean="0">
                <a:solidFill>
                  <a:schemeClr val="tx2"/>
                </a:solidFill>
                <a:latin typeface="+mj-lt"/>
              </a:rPr>
              <a:t>Grid</a:t>
            </a:r>
            <a:r>
              <a:rPr lang="fr-FR" sz="1050" dirty="0" smtClean="0">
                <a:solidFill>
                  <a:schemeClr val="tx2"/>
                </a:solidFill>
                <a:latin typeface="+mj-lt"/>
              </a:rPr>
              <a:t> adaptation </a:t>
            </a:r>
            <a:r>
              <a:rPr lang="fr-FR" sz="1050" dirty="0" err="1" smtClean="0">
                <a:solidFill>
                  <a:schemeClr val="tx2"/>
                </a:solidFill>
                <a:latin typeface="+mj-lt"/>
              </a:rPr>
              <a:t>cost</a:t>
            </a:r>
            <a:endParaRPr lang="en-US" sz="1200" dirty="0">
              <a:solidFill>
                <a:srgbClr val="C00000"/>
              </a:solidFill>
              <a:latin typeface="+mj-lt"/>
            </a:endParaRPr>
          </a:p>
        </p:txBody>
      </p:sp>
      <p:pic>
        <p:nvPicPr>
          <p:cNvPr id="9" name="Image 8"/>
          <p:cNvPicPr>
            <a:picLocks noChangeAspect="1"/>
          </p:cNvPicPr>
          <p:nvPr/>
        </p:nvPicPr>
        <p:blipFill>
          <a:blip r:embed="rId4"/>
          <a:stretch>
            <a:fillRect/>
          </a:stretch>
        </p:blipFill>
        <p:spPr>
          <a:xfrm>
            <a:off x="6351045" y="2139698"/>
            <a:ext cx="3225215" cy="3106527"/>
          </a:xfrm>
          <a:prstGeom prst="rect">
            <a:avLst/>
          </a:prstGeom>
        </p:spPr>
      </p:pic>
      <p:sp>
        <p:nvSpPr>
          <p:cNvPr id="10" name="Slide Number Placeholder 3">
            <a:extLst>
              <a:ext uri="{FF2B5EF4-FFF2-40B4-BE49-F238E27FC236}">
                <a16:creationId xmlns:a16="http://schemas.microsoft.com/office/drawing/2014/main" id="{29869B0A-245E-6617-42EE-AD9F74932BA2}"/>
              </a:ext>
            </a:extLst>
          </p:cNvPr>
          <p:cNvSpPr txBox="1">
            <a:spLocks/>
          </p:cNvSpPr>
          <p:nvPr/>
        </p:nvSpPr>
        <p:spPr>
          <a:xfrm>
            <a:off x="11323660" y="6514468"/>
            <a:ext cx="465150" cy="154849"/>
          </a:xfrm>
          <a:prstGeom prst="rect">
            <a:avLst/>
          </a:prstGeom>
        </p:spPr>
        <p:txBody>
          <a:bodyPr vert="horz" lIns="0" tIns="0" rIns="0" bIns="0" rtlCol="0" anchor="ctr"/>
          <a:lstStyle>
            <a:defPPr>
              <a:defRPr lang="en-US"/>
            </a:defPPr>
            <a:lvl1pPr marL="0" algn="r" defTabSz="609585" rtl="0" eaLnBrk="1" latinLnBrk="0" hangingPunct="1">
              <a:defRPr sz="750" b="1" kern="1200">
                <a:solidFill>
                  <a:schemeClr val="tx2"/>
                </a:solidFill>
                <a:latin typeface="+mj-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ts val="0"/>
              </a:spcBef>
              <a:spcAft>
                <a:spcPts val="0"/>
              </a:spcAft>
              <a:buClrTx/>
              <a:buSzTx/>
              <a:buFontTx/>
              <a:buNone/>
              <a:tabLst/>
              <a:defRPr/>
            </a:pPr>
            <a:fld id="{6B54B0F7-55DD-40D6-B7F4-70B586885C0B}" type="slidenum">
              <a:rPr kumimoji="0" lang="fr-FR" sz="800" b="1" i="0" u="none" strike="noStrike" kern="1200" cap="none" spc="0" normalizeH="0" baseline="0" noProof="0" smtClean="0">
                <a:ln>
                  <a:noFill/>
                </a:ln>
                <a:solidFill>
                  <a:srgbClr val="1423DC"/>
                </a:solidFill>
                <a:effectLst/>
                <a:uLnTx/>
                <a:uFillTx/>
                <a:latin typeface="Enedis"/>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6</a:t>
            </a:fld>
            <a:endParaRPr kumimoji="0" lang="fr-FR" sz="800" b="1" i="0" u="none" strike="noStrike" kern="1200" cap="none" spc="0" normalizeH="0" baseline="0" noProof="0" dirty="0">
              <a:ln>
                <a:noFill/>
              </a:ln>
              <a:solidFill>
                <a:srgbClr val="1423DC"/>
              </a:solidFill>
              <a:effectLst/>
              <a:uLnTx/>
              <a:uFillTx/>
              <a:latin typeface="Enedis"/>
              <a:ea typeface="+mn-ea"/>
              <a:cs typeface="+mn-cs"/>
            </a:endParaRPr>
          </a:p>
        </p:txBody>
      </p:sp>
    </p:spTree>
    <p:extLst>
      <p:ext uri="{BB962C8B-B14F-4D97-AF65-F5344CB8AC3E}">
        <p14:creationId xmlns:p14="http://schemas.microsoft.com/office/powerpoint/2010/main" val="1030146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Espace réservé du texte 8"/>
          <p:cNvSpPr txBox="1">
            <a:spLocks/>
          </p:cNvSpPr>
          <p:nvPr/>
        </p:nvSpPr>
        <p:spPr>
          <a:xfrm>
            <a:off x="8112125" y="1021165"/>
            <a:ext cx="3720067" cy="2603031"/>
          </a:xfrm>
          <a:prstGeom prst="rect">
            <a:avLst/>
          </a:prstGeom>
          <a:solidFill>
            <a:schemeClr val="bg1"/>
          </a:solidFill>
          <a:effectLst>
            <a:outerShdw blurRad="50800" dist="76200" dir="2700000" algn="tl" rotWithShape="0">
              <a:prstClr val="black">
                <a:alpha val="40000"/>
              </a:prstClr>
            </a:outerShdw>
          </a:effectLst>
        </p:spPr>
        <p:txBody>
          <a:bodyPr wrap="square" anchor="ctr" anchorCtr="1">
            <a:noAutofit/>
          </a:bodyPr>
          <a:lstStyle>
            <a:defPPr>
              <a:defRPr lang="en-US"/>
            </a:defPPr>
            <a:lvl1pPr marL="285750" indent="-285750" defTabSz="914377">
              <a:lnSpc>
                <a:spcPct val="101000"/>
              </a:lnSpc>
              <a:spcBef>
                <a:spcPts val="0"/>
              </a:spcBef>
              <a:spcAft>
                <a:spcPts val="600"/>
              </a:spcAft>
              <a:buClr>
                <a:schemeClr val="tx2"/>
              </a:buClr>
              <a:buFont typeface="Wingdings" panose="05000000000000000000" pitchFamily="2" charset="2"/>
              <a:buChar char="q"/>
              <a:defRPr sz="1200">
                <a:latin typeface="+mj-lt"/>
              </a:defRPr>
            </a:lvl1pPr>
            <a:lvl2pPr marL="216000" indent="-216000" defTabSz="914377">
              <a:lnSpc>
                <a:spcPct val="101000"/>
              </a:lnSpc>
              <a:spcBef>
                <a:spcPts val="0"/>
              </a:spcBef>
              <a:buClr>
                <a:schemeClr val="tx2"/>
              </a:buClr>
              <a:buSzPct val="120000"/>
              <a:buFont typeface="Public Sans" pitchFamily="2" charset="0"/>
              <a:buChar char="—"/>
              <a:defRPr sz="1200" b="1">
                <a:solidFill>
                  <a:schemeClr val="tx2"/>
                </a:solidFill>
                <a:latin typeface="Public Sans" pitchFamily="2" charset="0"/>
              </a:defRPr>
            </a:lvl2pPr>
            <a:lvl3pPr marL="576000" indent="-108000" defTabSz="914377">
              <a:lnSpc>
                <a:spcPct val="101000"/>
              </a:lnSpc>
              <a:spcBef>
                <a:spcPts val="0"/>
              </a:spcBef>
              <a:buFont typeface="Arial" panose="020B0604020202020204" pitchFamily="34" charset="0"/>
              <a:buChar char="-"/>
              <a:defRPr sz="1200">
                <a:latin typeface="Public Sans" pitchFamily="2" charset="0"/>
              </a:defRPr>
            </a:lvl3pPr>
            <a:lvl4pPr marL="1152000" indent="-216000" defTabSz="914377">
              <a:lnSpc>
                <a:spcPct val="101000"/>
              </a:lnSpc>
              <a:spcBef>
                <a:spcPts val="0"/>
              </a:spcBef>
              <a:buFont typeface="Arial" panose="020B0604020202020204" pitchFamily="34" charset="0"/>
              <a:buChar char="•"/>
              <a:defRPr sz="1100"/>
            </a:lvl4pPr>
            <a:lvl5pPr marL="0" indent="0" defTabSz="914377">
              <a:lnSpc>
                <a:spcPct val="101000"/>
              </a:lnSpc>
              <a:spcBef>
                <a:spcPts val="0"/>
              </a:spcBef>
              <a:buFont typeface="Arial" panose="020B0604020202020204" pitchFamily="34" charset="0"/>
              <a:buNone/>
              <a:defRPr sz="1600">
                <a:solidFill>
                  <a:schemeClr val="tx2"/>
                </a:solidFill>
                <a:latin typeface="+mj-lt"/>
              </a:defRPr>
            </a:lvl5pPr>
            <a:lvl6pPr marL="0" indent="0" defTabSz="914377">
              <a:lnSpc>
                <a:spcPct val="101000"/>
              </a:lnSpc>
              <a:spcBef>
                <a:spcPts val="0"/>
              </a:spcBef>
              <a:buFont typeface="Arial" panose="020B0604020202020204" pitchFamily="34" charset="0"/>
              <a:buNone/>
              <a:defRPr sz="600" i="1">
                <a:latin typeface="Public Sans" pitchFamily="2" charset="0"/>
              </a:defRPr>
            </a:lvl6pPr>
            <a:lvl7pPr marL="2971726" indent="-228594" defTabSz="914377">
              <a:lnSpc>
                <a:spcPct val="90000"/>
              </a:lnSpc>
              <a:spcBef>
                <a:spcPts val="500"/>
              </a:spcBef>
              <a:buFont typeface="Arial" panose="020B0604020202020204" pitchFamily="34" charset="0"/>
              <a:buChar char="•"/>
              <a:defRPr sz="1800"/>
            </a:lvl7pPr>
            <a:lvl8pPr marL="3428914" indent="-228594" defTabSz="914377">
              <a:lnSpc>
                <a:spcPct val="90000"/>
              </a:lnSpc>
              <a:spcBef>
                <a:spcPts val="500"/>
              </a:spcBef>
              <a:buFont typeface="Arial" panose="020B0604020202020204" pitchFamily="34" charset="0"/>
              <a:buChar char="•"/>
              <a:defRPr sz="1800"/>
            </a:lvl8pPr>
            <a:lvl9pPr marL="3886103" indent="-228594" defTabSz="914377">
              <a:lnSpc>
                <a:spcPct val="90000"/>
              </a:lnSpc>
              <a:spcBef>
                <a:spcPts val="500"/>
              </a:spcBef>
              <a:buFont typeface="Arial" panose="020B0604020202020204" pitchFamily="34" charset="0"/>
              <a:buChar char="•"/>
              <a:defRPr sz="1800"/>
            </a:lvl9pPr>
          </a:lstStyle>
          <a:p>
            <a:endParaRPr lang="fr-FR" b="1" dirty="0" smtClean="0"/>
          </a:p>
        </p:txBody>
      </p:sp>
      <p:sp>
        <p:nvSpPr>
          <p:cNvPr id="14" name="Espace réservé du texte 8"/>
          <p:cNvSpPr txBox="1">
            <a:spLocks/>
          </p:cNvSpPr>
          <p:nvPr/>
        </p:nvSpPr>
        <p:spPr>
          <a:xfrm>
            <a:off x="8112125" y="3734006"/>
            <a:ext cx="3718813" cy="741813"/>
          </a:xfrm>
          <a:prstGeom prst="rect">
            <a:avLst/>
          </a:prstGeom>
          <a:solidFill>
            <a:schemeClr val="bg1"/>
          </a:solidFill>
          <a:effectLst>
            <a:outerShdw blurRad="50800" dist="76200" dir="2700000" algn="tl" rotWithShape="0">
              <a:prstClr val="black">
                <a:alpha val="40000"/>
              </a:prstClr>
            </a:outerShdw>
          </a:effectLst>
        </p:spPr>
        <p:txBody>
          <a:bodyPr wrap="square" anchor="ctr" anchorCtr="1">
            <a:noAutofit/>
          </a:bodyPr>
          <a:lstStyle>
            <a:defPPr>
              <a:defRPr lang="en-US"/>
            </a:defPPr>
            <a:lvl1pPr marL="285750" indent="-285750" defTabSz="914377">
              <a:lnSpc>
                <a:spcPct val="101000"/>
              </a:lnSpc>
              <a:spcBef>
                <a:spcPts val="0"/>
              </a:spcBef>
              <a:spcAft>
                <a:spcPts val="600"/>
              </a:spcAft>
              <a:buClr>
                <a:schemeClr val="tx2"/>
              </a:buClr>
              <a:buFont typeface="Wingdings" panose="05000000000000000000" pitchFamily="2" charset="2"/>
              <a:buChar char="q"/>
              <a:defRPr sz="1200">
                <a:latin typeface="+mj-lt"/>
              </a:defRPr>
            </a:lvl1pPr>
            <a:lvl2pPr marL="216000" indent="-216000" defTabSz="914377">
              <a:lnSpc>
                <a:spcPct val="101000"/>
              </a:lnSpc>
              <a:spcBef>
                <a:spcPts val="0"/>
              </a:spcBef>
              <a:buClr>
                <a:schemeClr val="tx2"/>
              </a:buClr>
              <a:buSzPct val="120000"/>
              <a:buFont typeface="Public Sans" pitchFamily="2" charset="0"/>
              <a:buChar char="—"/>
              <a:defRPr sz="1200" b="1">
                <a:solidFill>
                  <a:schemeClr val="tx2"/>
                </a:solidFill>
                <a:latin typeface="Public Sans" pitchFamily="2" charset="0"/>
              </a:defRPr>
            </a:lvl2pPr>
            <a:lvl3pPr marL="576000" indent="-108000" defTabSz="914377">
              <a:lnSpc>
                <a:spcPct val="101000"/>
              </a:lnSpc>
              <a:spcBef>
                <a:spcPts val="0"/>
              </a:spcBef>
              <a:buFont typeface="Arial" panose="020B0604020202020204" pitchFamily="34" charset="0"/>
              <a:buChar char="-"/>
              <a:defRPr sz="1200">
                <a:latin typeface="Public Sans" pitchFamily="2" charset="0"/>
              </a:defRPr>
            </a:lvl3pPr>
            <a:lvl4pPr marL="1152000" indent="-216000" defTabSz="914377">
              <a:lnSpc>
                <a:spcPct val="101000"/>
              </a:lnSpc>
              <a:spcBef>
                <a:spcPts val="0"/>
              </a:spcBef>
              <a:buFont typeface="Arial" panose="020B0604020202020204" pitchFamily="34" charset="0"/>
              <a:buChar char="•"/>
              <a:defRPr sz="1100"/>
            </a:lvl4pPr>
            <a:lvl5pPr marL="0" indent="0" defTabSz="914377">
              <a:lnSpc>
                <a:spcPct val="101000"/>
              </a:lnSpc>
              <a:spcBef>
                <a:spcPts val="0"/>
              </a:spcBef>
              <a:buFont typeface="Arial" panose="020B0604020202020204" pitchFamily="34" charset="0"/>
              <a:buNone/>
              <a:defRPr sz="1600">
                <a:solidFill>
                  <a:schemeClr val="tx2"/>
                </a:solidFill>
                <a:latin typeface="+mj-lt"/>
              </a:defRPr>
            </a:lvl5pPr>
            <a:lvl6pPr marL="0" indent="0" defTabSz="914377">
              <a:lnSpc>
                <a:spcPct val="101000"/>
              </a:lnSpc>
              <a:spcBef>
                <a:spcPts val="0"/>
              </a:spcBef>
              <a:buFont typeface="Arial" panose="020B0604020202020204" pitchFamily="34" charset="0"/>
              <a:buNone/>
              <a:defRPr sz="600" i="1">
                <a:latin typeface="Public Sans" pitchFamily="2" charset="0"/>
              </a:defRPr>
            </a:lvl6pPr>
            <a:lvl7pPr marL="2971726" indent="-228594" defTabSz="914377">
              <a:lnSpc>
                <a:spcPct val="90000"/>
              </a:lnSpc>
              <a:spcBef>
                <a:spcPts val="500"/>
              </a:spcBef>
              <a:buFont typeface="Arial" panose="020B0604020202020204" pitchFamily="34" charset="0"/>
              <a:buChar char="•"/>
              <a:defRPr sz="1800"/>
            </a:lvl7pPr>
            <a:lvl8pPr marL="3428914" indent="-228594" defTabSz="914377">
              <a:lnSpc>
                <a:spcPct val="90000"/>
              </a:lnSpc>
              <a:spcBef>
                <a:spcPts val="500"/>
              </a:spcBef>
              <a:buFont typeface="Arial" panose="020B0604020202020204" pitchFamily="34" charset="0"/>
              <a:buChar char="•"/>
              <a:defRPr sz="1800"/>
            </a:lvl8pPr>
            <a:lvl9pPr marL="3886103" indent="-228594" defTabSz="914377">
              <a:lnSpc>
                <a:spcPct val="90000"/>
              </a:lnSpc>
              <a:spcBef>
                <a:spcPts val="500"/>
              </a:spcBef>
              <a:buFont typeface="Arial" panose="020B0604020202020204" pitchFamily="34" charset="0"/>
              <a:buChar char="•"/>
              <a:defRPr sz="1800"/>
            </a:lvl9pPr>
          </a:lstStyle>
          <a:p>
            <a:endParaRPr lang="fr-FR" b="1" dirty="0" smtClean="0"/>
          </a:p>
        </p:txBody>
      </p:sp>
      <p:sp>
        <p:nvSpPr>
          <p:cNvPr id="18" name="Espace réservé du texte 8"/>
          <p:cNvSpPr txBox="1">
            <a:spLocks/>
          </p:cNvSpPr>
          <p:nvPr/>
        </p:nvSpPr>
        <p:spPr>
          <a:xfrm>
            <a:off x="8112125" y="5461641"/>
            <a:ext cx="3718813" cy="756000"/>
          </a:xfrm>
          <a:prstGeom prst="rect">
            <a:avLst/>
          </a:prstGeom>
          <a:solidFill>
            <a:schemeClr val="bg1"/>
          </a:solidFill>
          <a:effectLst>
            <a:outerShdw blurRad="50800" dist="76200" dir="2700000" algn="tl" rotWithShape="0">
              <a:prstClr val="black">
                <a:alpha val="40000"/>
              </a:prstClr>
            </a:outerShdw>
          </a:effectLst>
        </p:spPr>
        <p:txBody>
          <a:bodyPr wrap="square" anchor="ctr" anchorCtr="1">
            <a:noAutofit/>
          </a:bodyPr>
          <a:lstStyle>
            <a:defPPr>
              <a:defRPr lang="en-US"/>
            </a:defPPr>
            <a:lvl1pPr marL="285750" indent="-285750" defTabSz="914377">
              <a:lnSpc>
                <a:spcPct val="101000"/>
              </a:lnSpc>
              <a:spcBef>
                <a:spcPts val="0"/>
              </a:spcBef>
              <a:spcAft>
                <a:spcPts val="600"/>
              </a:spcAft>
              <a:buClr>
                <a:schemeClr val="tx2"/>
              </a:buClr>
              <a:buFont typeface="Wingdings" panose="05000000000000000000" pitchFamily="2" charset="2"/>
              <a:buChar char="q"/>
              <a:defRPr sz="1200">
                <a:latin typeface="+mj-lt"/>
              </a:defRPr>
            </a:lvl1pPr>
            <a:lvl2pPr marL="216000" indent="-216000" defTabSz="914377">
              <a:lnSpc>
                <a:spcPct val="101000"/>
              </a:lnSpc>
              <a:spcBef>
                <a:spcPts val="0"/>
              </a:spcBef>
              <a:buClr>
                <a:schemeClr val="tx2"/>
              </a:buClr>
              <a:buSzPct val="120000"/>
              <a:buFont typeface="Public Sans" pitchFamily="2" charset="0"/>
              <a:buChar char="—"/>
              <a:defRPr sz="1200" b="1">
                <a:solidFill>
                  <a:schemeClr val="tx2"/>
                </a:solidFill>
                <a:latin typeface="Public Sans" pitchFamily="2" charset="0"/>
              </a:defRPr>
            </a:lvl2pPr>
            <a:lvl3pPr marL="576000" indent="-108000" defTabSz="914377">
              <a:lnSpc>
                <a:spcPct val="101000"/>
              </a:lnSpc>
              <a:spcBef>
                <a:spcPts val="0"/>
              </a:spcBef>
              <a:buFont typeface="Arial" panose="020B0604020202020204" pitchFamily="34" charset="0"/>
              <a:buChar char="-"/>
              <a:defRPr sz="1200">
                <a:latin typeface="Public Sans" pitchFamily="2" charset="0"/>
              </a:defRPr>
            </a:lvl3pPr>
            <a:lvl4pPr marL="1152000" indent="-216000" defTabSz="914377">
              <a:lnSpc>
                <a:spcPct val="101000"/>
              </a:lnSpc>
              <a:spcBef>
                <a:spcPts val="0"/>
              </a:spcBef>
              <a:buFont typeface="Arial" panose="020B0604020202020204" pitchFamily="34" charset="0"/>
              <a:buChar char="•"/>
              <a:defRPr sz="1100"/>
            </a:lvl4pPr>
            <a:lvl5pPr marL="0" indent="0" defTabSz="914377">
              <a:lnSpc>
                <a:spcPct val="101000"/>
              </a:lnSpc>
              <a:spcBef>
                <a:spcPts val="0"/>
              </a:spcBef>
              <a:buFont typeface="Arial" panose="020B0604020202020204" pitchFamily="34" charset="0"/>
              <a:buNone/>
              <a:defRPr sz="1600">
                <a:solidFill>
                  <a:schemeClr val="tx2"/>
                </a:solidFill>
                <a:latin typeface="+mj-lt"/>
              </a:defRPr>
            </a:lvl5pPr>
            <a:lvl6pPr marL="0" indent="0" defTabSz="914377">
              <a:lnSpc>
                <a:spcPct val="101000"/>
              </a:lnSpc>
              <a:spcBef>
                <a:spcPts val="0"/>
              </a:spcBef>
              <a:buFont typeface="Arial" panose="020B0604020202020204" pitchFamily="34" charset="0"/>
              <a:buNone/>
              <a:defRPr sz="600" i="1">
                <a:latin typeface="Public Sans" pitchFamily="2" charset="0"/>
              </a:defRPr>
            </a:lvl6pPr>
            <a:lvl7pPr marL="2971726" indent="-228594" defTabSz="914377">
              <a:lnSpc>
                <a:spcPct val="90000"/>
              </a:lnSpc>
              <a:spcBef>
                <a:spcPts val="500"/>
              </a:spcBef>
              <a:buFont typeface="Arial" panose="020B0604020202020204" pitchFamily="34" charset="0"/>
              <a:buChar char="•"/>
              <a:defRPr sz="1800"/>
            </a:lvl7pPr>
            <a:lvl8pPr marL="3428914" indent="-228594" defTabSz="914377">
              <a:lnSpc>
                <a:spcPct val="90000"/>
              </a:lnSpc>
              <a:spcBef>
                <a:spcPts val="500"/>
              </a:spcBef>
              <a:buFont typeface="Arial" panose="020B0604020202020204" pitchFamily="34" charset="0"/>
              <a:buChar char="•"/>
              <a:defRPr sz="1800"/>
            </a:lvl8pPr>
            <a:lvl9pPr marL="3886103" indent="-228594" defTabSz="914377">
              <a:lnSpc>
                <a:spcPct val="90000"/>
              </a:lnSpc>
              <a:spcBef>
                <a:spcPts val="500"/>
              </a:spcBef>
              <a:buFont typeface="Arial" panose="020B0604020202020204" pitchFamily="34" charset="0"/>
              <a:buChar char="•"/>
              <a:defRPr sz="1800"/>
            </a:lvl9pPr>
          </a:lstStyle>
          <a:p>
            <a:endParaRPr lang="fr-FR" b="1" dirty="0" smtClean="0"/>
          </a:p>
        </p:txBody>
      </p:sp>
      <p:sp>
        <p:nvSpPr>
          <p:cNvPr id="19" name="Espace réservé du texte 8"/>
          <p:cNvSpPr txBox="1">
            <a:spLocks/>
          </p:cNvSpPr>
          <p:nvPr/>
        </p:nvSpPr>
        <p:spPr>
          <a:xfrm>
            <a:off x="8112125" y="4576362"/>
            <a:ext cx="3718813" cy="756000"/>
          </a:xfrm>
          <a:prstGeom prst="rect">
            <a:avLst/>
          </a:prstGeom>
          <a:solidFill>
            <a:schemeClr val="bg1"/>
          </a:solidFill>
          <a:effectLst>
            <a:outerShdw blurRad="50800" dist="76200" dir="2700000" algn="tl" rotWithShape="0">
              <a:prstClr val="black">
                <a:alpha val="40000"/>
              </a:prstClr>
            </a:outerShdw>
          </a:effectLst>
        </p:spPr>
        <p:txBody>
          <a:bodyPr wrap="square" anchor="ctr" anchorCtr="1">
            <a:noAutofit/>
          </a:bodyPr>
          <a:lstStyle>
            <a:defPPr>
              <a:defRPr lang="en-US"/>
            </a:defPPr>
            <a:lvl1pPr marL="285750" indent="-285750" defTabSz="914377">
              <a:lnSpc>
                <a:spcPct val="101000"/>
              </a:lnSpc>
              <a:spcBef>
                <a:spcPts val="0"/>
              </a:spcBef>
              <a:spcAft>
                <a:spcPts val="600"/>
              </a:spcAft>
              <a:buClr>
                <a:schemeClr val="tx2"/>
              </a:buClr>
              <a:buFont typeface="Wingdings" panose="05000000000000000000" pitchFamily="2" charset="2"/>
              <a:buChar char="q"/>
              <a:defRPr sz="1200">
                <a:latin typeface="+mj-lt"/>
              </a:defRPr>
            </a:lvl1pPr>
            <a:lvl2pPr marL="216000" indent="-216000" defTabSz="914377">
              <a:lnSpc>
                <a:spcPct val="101000"/>
              </a:lnSpc>
              <a:spcBef>
                <a:spcPts val="0"/>
              </a:spcBef>
              <a:buClr>
                <a:schemeClr val="tx2"/>
              </a:buClr>
              <a:buSzPct val="120000"/>
              <a:buFont typeface="Public Sans" pitchFamily="2" charset="0"/>
              <a:buChar char="—"/>
              <a:defRPr sz="1200" b="1">
                <a:solidFill>
                  <a:schemeClr val="tx2"/>
                </a:solidFill>
                <a:latin typeface="Public Sans" pitchFamily="2" charset="0"/>
              </a:defRPr>
            </a:lvl2pPr>
            <a:lvl3pPr marL="576000" indent="-108000" defTabSz="914377">
              <a:lnSpc>
                <a:spcPct val="101000"/>
              </a:lnSpc>
              <a:spcBef>
                <a:spcPts val="0"/>
              </a:spcBef>
              <a:buFont typeface="Arial" panose="020B0604020202020204" pitchFamily="34" charset="0"/>
              <a:buChar char="-"/>
              <a:defRPr sz="1200">
                <a:latin typeface="Public Sans" pitchFamily="2" charset="0"/>
              </a:defRPr>
            </a:lvl3pPr>
            <a:lvl4pPr marL="1152000" indent="-216000" defTabSz="914377">
              <a:lnSpc>
                <a:spcPct val="101000"/>
              </a:lnSpc>
              <a:spcBef>
                <a:spcPts val="0"/>
              </a:spcBef>
              <a:buFont typeface="Arial" panose="020B0604020202020204" pitchFamily="34" charset="0"/>
              <a:buChar char="•"/>
              <a:defRPr sz="1100"/>
            </a:lvl4pPr>
            <a:lvl5pPr marL="0" indent="0" defTabSz="914377">
              <a:lnSpc>
                <a:spcPct val="101000"/>
              </a:lnSpc>
              <a:spcBef>
                <a:spcPts val="0"/>
              </a:spcBef>
              <a:buFont typeface="Arial" panose="020B0604020202020204" pitchFamily="34" charset="0"/>
              <a:buNone/>
              <a:defRPr sz="1600">
                <a:solidFill>
                  <a:schemeClr val="tx2"/>
                </a:solidFill>
                <a:latin typeface="+mj-lt"/>
              </a:defRPr>
            </a:lvl5pPr>
            <a:lvl6pPr marL="0" indent="0" defTabSz="914377">
              <a:lnSpc>
                <a:spcPct val="101000"/>
              </a:lnSpc>
              <a:spcBef>
                <a:spcPts val="0"/>
              </a:spcBef>
              <a:buFont typeface="Arial" panose="020B0604020202020204" pitchFamily="34" charset="0"/>
              <a:buNone/>
              <a:defRPr sz="600" i="1">
                <a:latin typeface="Public Sans" pitchFamily="2" charset="0"/>
              </a:defRPr>
            </a:lvl6pPr>
            <a:lvl7pPr marL="2971726" indent="-228594" defTabSz="914377">
              <a:lnSpc>
                <a:spcPct val="90000"/>
              </a:lnSpc>
              <a:spcBef>
                <a:spcPts val="500"/>
              </a:spcBef>
              <a:buFont typeface="Arial" panose="020B0604020202020204" pitchFamily="34" charset="0"/>
              <a:buChar char="•"/>
              <a:defRPr sz="1800"/>
            </a:lvl7pPr>
            <a:lvl8pPr marL="3428914" indent="-228594" defTabSz="914377">
              <a:lnSpc>
                <a:spcPct val="90000"/>
              </a:lnSpc>
              <a:spcBef>
                <a:spcPts val="500"/>
              </a:spcBef>
              <a:buFont typeface="Arial" panose="020B0604020202020204" pitchFamily="34" charset="0"/>
              <a:buChar char="•"/>
              <a:defRPr sz="1800"/>
            </a:lvl8pPr>
            <a:lvl9pPr marL="3886103" indent="-228594" defTabSz="914377">
              <a:lnSpc>
                <a:spcPct val="90000"/>
              </a:lnSpc>
              <a:spcBef>
                <a:spcPts val="500"/>
              </a:spcBef>
              <a:buFont typeface="Arial" panose="020B0604020202020204" pitchFamily="34" charset="0"/>
              <a:buChar char="•"/>
              <a:defRPr sz="1800"/>
            </a:lvl9pPr>
          </a:lstStyle>
          <a:p>
            <a:endParaRPr lang="fr-FR" b="1" dirty="0" smtClean="0"/>
          </a:p>
        </p:txBody>
      </p:sp>
      <p:sp>
        <p:nvSpPr>
          <p:cNvPr id="4" name="Titre 3"/>
          <p:cNvSpPr>
            <a:spLocks noGrp="1"/>
          </p:cNvSpPr>
          <p:nvPr>
            <p:ph type="title"/>
          </p:nvPr>
        </p:nvSpPr>
        <p:spPr>
          <a:xfrm>
            <a:off x="351356" y="253016"/>
            <a:ext cx="11175540" cy="620426"/>
          </a:xfrm>
        </p:spPr>
        <p:txBody>
          <a:bodyPr/>
          <a:lstStyle/>
          <a:p>
            <a:r>
              <a:rPr lang="fr-FR" sz="2400" dirty="0" smtClean="0"/>
              <a:t>Les 24 derniers mois ont vu une convergence de la mobilité lourde routière vers l’électrification comme voie prépondérante de </a:t>
            </a:r>
            <a:r>
              <a:rPr lang="fr-FR" sz="2400" dirty="0" err="1" smtClean="0"/>
              <a:t>décarbonation</a:t>
            </a:r>
            <a:endParaRPr lang="fr-FR" sz="2400" dirty="0"/>
          </a:p>
        </p:txBody>
      </p:sp>
      <p:sp>
        <p:nvSpPr>
          <p:cNvPr id="51" name="Espace réservé du texte 8"/>
          <p:cNvSpPr txBox="1">
            <a:spLocks/>
          </p:cNvSpPr>
          <p:nvPr/>
        </p:nvSpPr>
        <p:spPr>
          <a:xfrm>
            <a:off x="351356" y="1021165"/>
            <a:ext cx="7613307" cy="2712841"/>
          </a:xfrm>
          <a:prstGeom prst="rect">
            <a:avLst/>
          </a:prstGeom>
          <a:solidFill>
            <a:schemeClr val="bg1"/>
          </a:solidFill>
          <a:effectLst>
            <a:outerShdw blurRad="50800" dist="76200" dir="2700000" algn="tl" rotWithShape="0">
              <a:prstClr val="black">
                <a:alpha val="40000"/>
              </a:prstClr>
            </a:outerShdw>
          </a:effectLst>
        </p:spPr>
        <p:txBody>
          <a:bodyPr wrap="square" anchor="t" anchorCtr="0">
            <a:noAutofit/>
          </a:bodyPr>
          <a:lstStyle>
            <a:defPPr>
              <a:defRPr lang="en-US"/>
            </a:defPPr>
            <a:lvl1pPr marL="285750" indent="-285750" defTabSz="914377">
              <a:lnSpc>
                <a:spcPct val="101000"/>
              </a:lnSpc>
              <a:spcBef>
                <a:spcPts val="0"/>
              </a:spcBef>
              <a:spcAft>
                <a:spcPts val="600"/>
              </a:spcAft>
              <a:buClr>
                <a:schemeClr val="tx2"/>
              </a:buClr>
              <a:buFont typeface="Wingdings" panose="05000000000000000000" pitchFamily="2" charset="2"/>
              <a:buChar char="q"/>
              <a:defRPr sz="1200">
                <a:latin typeface="+mj-lt"/>
              </a:defRPr>
            </a:lvl1pPr>
            <a:lvl2pPr marL="216000" indent="-216000" defTabSz="914377">
              <a:lnSpc>
                <a:spcPct val="101000"/>
              </a:lnSpc>
              <a:spcBef>
                <a:spcPts val="0"/>
              </a:spcBef>
              <a:buClr>
                <a:schemeClr val="tx2"/>
              </a:buClr>
              <a:buSzPct val="120000"/>
              <a:buFont typeface="Public Sans" pitchFamily="2" charset="0"/>
              <a:buChar char="—"/>
              <a:defRPr sz="1200" b="1">
                <a:solidFill>
                  <a:schemeClr val="tx2"/>
                </a:solidFill>
                <a:latin typeface="Public Sans" pitchFamily="2" charset="0"/>
              </a:defRPr>
            </a:lvl2pPr>
            <a:lvl3pPr marL="576000" indent="-108000" defTabSz="914377">
              <a:lnSpc>
                <a:spcPct val="101000"/>
              </a:lnSpc>
              <a:spcBef>
                <a:spcPts val="0"/>
              </a:spcBef>
              <a:buFont typeface="Arial" panose="020B0604020202020204" pitchFamily="34" charset="0"/>
              <a:buChar char="-"/>
              <a:defRPr sz="1200">
                <a:latin typeface="Public Sans" pitchFamily="2" charset="0"/>
              </a:defRPr>
            </a:lvl3pPr>
            <a:lvl4pPr marL="1152000" indent="-216000" defTabSz="914377">
              <a:lnSpc>
                <a:spcPct val="101000"/>
              </a:lnSpc>
              <a:spcBef>
                <a:spcPts val="0"/>
              </a:spcBef>
              <a:buFont typeface="Arial" panose="020B0604020202020204" pitchFamily="34" charset="0"/>
              <a:buChar char="•"/>
              <a:defRPr sz="1100"/>
            </a:lvl4pPr>
            <a:lvl5pPr marL="0" indent="0" defTabSz="914377">
              <a:lnSpc>
                <a:spcPct val="101000"/>
              </a:lnSpc>
              <a:spcBef>
                <a:spcPts val="0"/>
              </a:spcBef>
              <a:buFont typeface="Arial" panose="020B0604020202020204" pitchFamily="34" charset="0"/>
              <a:buNone/>
              <a:defRPr sz="1600">
                <a:solidFill>
                  <a:schemeClr val="tx2"/>
                </a:solidFill>
                <a:latin typeface="+mj-lt"/>
              </a:defRPr>
            </a:lvl5pPr>
            <a:lvl6pPr marL="0" indent="0" defTabSz="914377">
              <a:lnSpc>
                <a:spcPct val="101000"/>
              </a:lnSpc>
              <a:spcBef>
                <a:spcPts val="0"/>
              </a:spcBef>
              <a:buFont typeface="Arial" panose="020B0604020202020204" pitchFamily="34" charset="0"/>
              <a:buNone/>
              <a:defRPr sz="600" i="1">
                <a:latin typeface="Public Sans" pitchFamily="2" charset="0"/>
              </a:defRPr>
            </a:lvl6pPr>
            <a:lvl7pPr marL="2971726" indent="-228594" defTabSz="914377">
              <a:lnSpc>
                <a:spcPct val="90000"/>
              </a:lnSpc>
              <a:spcBef>
                <a:spcPts val="500"/>
              </a:spcBef>
              <a:buFont typeface="Arial" panose="020B0604020202020204" pitchFamily="34" charset="0"/>
              <a:buChar char="•"/>
              <a:defRPr sz="1800"/>
            </a:lvl7pPr>
            <a:lvl8pPr marL="3428914" indent="-228594" defTabSz="914377">
              <a:lnSpc>
                <a:spcPct val="90000"/>
              </a:lnSpc>
              <a:spcBef>
                <a:spcPts val="500"/>
              </a:spcBef>
              <a:buFont typeface="Arial" panose="020B0604020202020204" pitchFamily="34" charset="0"/>
              <a:buChar char="•"/>
              <a:defRPr sz="1800"/>
            </a:lvl8pPr>
            <a:lvl9pPr marL="3886103" indent="-228594" defTabSz="914377">
              <a:lnSpc>
                <a:spcPct val="90000"/>
              </a:lnSpc>
              <a:spcBef>
                <a:spcPts val="500"/>
              </a:spcBef>
              <a:buFont typeface="Arial" panose="020B0604020202020204" pitchFamily="34" charset="0"/>
              <a:buChar char="•"/>
              <a:defRPr sz="1800"/>
            </a:lvl9pPr>
          </a:lstStyle>
          <a:p>
            <a:pPr algn="just"/>
            <a:r>
              <a:rPr lang="fr-FR" dirty="0"/>
              <a:t>L</a:t>
            </a:r>
            <a:r>
              <a:rPr lang="fr-FR" dirty="0" smtClean="0"/>
              <a:t>a </a:t>
            </a:r>
            <a:r>
              <a:rPr lang="fr-FR" b="1" dirty="0" smtClean="0"/>
              <a:t>mobilité routière lourde </a:t>
            </a:r>
            <a:r>
              <a:rPr lang="fr-FR" dirty="0" smtClean="0"/>
              <a:t>s’est aussi mise en mouvement : la stratégie des constructeurs s’est précisée sur les 18 derniers mois pour </a:t>
            </a:r>
            <a:r>
              <a:rPr lang="fr-FR" b="1" dirty="0" smtClean="0"/>
              <a:t>converger largement vers le véhicule à batterie. L’hydrogène </a:t>
            </a:r>
            <a:r>
              <a:rPr lang="fr-FR" dirty="0" smtClean="0"/>
              <a:t>ne sera que </a:t>
            </a:r>
            <a:r>
              <a:rPr lang="fr-FR" b="1" dirty="0" smtClean="0"/>
              <a:t>marginalement représenté </a:t>
            </a:r>
            <a:r>
              <a:rPr lang="fr-FR" dirty="0" smtClean="0"/>
              <a:t>dans le mix à horizon 2035, son coût demeurant nettement moins compétitif que l’électrique</a:t>
            </a:r>
          </a:p>
          <a:p>
            <a:pPr algn="just"/>
            <a:r>
              <a:rPr lang="fr-FR" b="1" dirty="0" smtClean="0"/>
              <a:t>Tous les grands constructeurs </a:t>
            </a:r>
            <a:r>
              <a:rPr lang="fr-FR" dirty="0" smtClean="0"/>
              <a:t>s’orientent vers le </a:t>
            </a:r>
            <a:r>
              <a:rPr lang="fr-FR" b="1" dirty="0" smtClean="0"/>
              <a:t>camion électrique à batterie</a:t>
            </a:r>
            <a:r>
              <a:rPr lang="fr-FR" dirty="0" smtClean="0"/>
              <a:t>, y compris pour la longue distance et les tracteurs (40 tonnes) et développent une approche « Truck as a Service »</a:t>
            </a:r>
          </a:p>
          <a:p>
            <a:pPr algn="just"/>
            <a:r>
              <a:rPr lang="fr-FR" b="1" dirty="0" smtClean="0"/>
              <a:t>Renault Trucks </a:t>
            </a:r>
            <a:r>
              <a:rPr lang="fr-FR" dirty="0" smtClean="0"/>
              <a:t>commercialisera dès fin 2023 un 44 t qui sera produit à plus de 1000 exemplaires dès 2024 dans son usine de Bourg en Bresse, les commandes sont là</a:t>
            </a:r>
          </a:p>
          <a:p>
            <a:pPr algn="just"/>
            <a:r>
              <a:rPr lang="fr-FR" dirty="0" smtClean="0"/>
              <a:t>La </a:t>
            </a:r>
            <a:r>
              <a:rPr lang="fr-FR" b="1" dirty="0" smtClean="0"/>
              <a:t>règlementation européenne </a:t>
            </a:r>
            <a:r>
              <a:rPr lang="fr-FR" dirty="0" smtClean="0"/>
              <a:t>prévoit depuis début 2023 pour </a:t>
            </a:r>
            <a:r>
              <a:rPr lang="fr-FR" dirty="0"/>
              <a:t>les poids lourds vendus en Europe une </a:t>
            </a:r>
            <a:r>
              <a:rPr lang="fr-FR" dirty="0" smtClean="0"/>
              <a:t>réduction par rapport à 2019 des émissions de CO2 de 45% en 2030 et de 90% en 2040</a:t>
            </a:r>
          </a:p>
          <a:p>
            <a:pPr algn="just"/>
            <a:r>
              <a:rPr lang="fr-FR" dirty="0" smtClean="0"/>
              <a:t>Enedis accompagne une </a:t>
            </a:r>
            <a:r>
              <a:rPr lang="fr-FR" b="1" dirty="0"/>
              <a:t>trentaine de villes </a:t>
            </a:r>
            <a:r>
              <a:rPr lang="fr-FR" b="1" dirty="0" smtClean="0"/>
              <a:t>françaises </a:t>
            </a:r>
            <a:r>
              <a:rPr lang="fr-FR" dirty="0" smtClean="0"/>
              <a:t>ont </a:t>
            </a:r>
            <a:r>
              <a:rPr lang="fr-FR" dirty="0"/>
              <a:t>initié ou déjà mené à bien des projets ambitieux </a:t>
            </a:r>
            <a:r>
              <a:rPr lang="fr-FR" b="1" dirty="0"/>
              <a:t>d’électrification de leur flotte de </a:t>
            </a:r>
            <a:r>
              <a:rPr lang="fr-FR" b="1" dirty="0" smtClean="0"/>
              <a:t>bus</a:t>
            </a:r>
            <a:endParaRPr lang="fr-FR" dirty="0" smtClean="0"/>
          </a:p>
        </p:txBody>
      </p:sp>
      <p:pic>
        <p:nvPicPr>
          <p:cNvPr id="36" name="Image 3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350425" y="3753476"/>
            <a:ext cx="490239" cy="711664"/>
          </a:xfrm>
          <a:prstGeom prst="rect">
            <a:avLst/>
          </a:prstGeom>
        </p:spPr>
      </p:pic>
      <p:pic>
        <p:nvPicPr>
          <p:cNvPr id="37" name="Image 3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112126" y="4613090"/>
            <a:ext cx="1137049" cy="633765"/>
          </a:xfrm>
          <a:prstGeom prst="rect">
            <a:avLst/>
          </a:prstGeom>
        </p:spPr>
      </p:pic>
      <p:pic>
        <p:nvPicPr>
          <p:cNvPr id="38" name="Image 37"/>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316424" y="5540623"/>
            <a:ext cx="558240" cy="558240"/>
          </a:xfrm>
          <a:prstGeom prst="rect">
            <a:avLst/>
          </a:prstGeom>
        </p:spPr>
      </p:pic>
      <p:pic>
        <p:nvPicPr>
          <p:cNvPr id="2" name="Image 1"/>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636291" y="4634155"/>
            <a:ext cx="1047185" cy="640413"/>
          </a:xfrm>
          <a:prstGeom prst="rect">
            <a:avLst/>
          </a:prstGeom>
        </p:spPr>
      </p:pic>
      <p:sp>
        <p:nvSpPr>
          <p:cNvPr id="20" name="ZoneTexte 19"/>
          <p:cNvSpPr txBox="1"/>
          <p:nvPr/>
        </p:nvSpPr>
        <p:spPr>
          <a:xfrm>
            <a:off x="9127259" y="3825239"/>
            <a:ext cx="1461358" cy="558614"/>
          </a:xfrm>
          <a:prstGeom prst="rect">
            <a:avLst/>
          </a:prstGeom>
          <a:noFill/>
        </p:spPr>
        <p:txBody>
          <a:bodyPr wrap="square" rtlCol="0">
            <a:spAutoFit/>
          </a:bodyPr>
          <a:lstStyle/>
          <a:p>
            <a:pPr lvl="0" defTabSz="914377">
              <a:lnSpc>
                <a:spcPct val="101000"/>
              </a:lnSpc>
              <a:spcAft>
                <a:spcPts val="600"/>
              </a:spcAft>
              <a:buClr>
                <a:srgbClr val="1423DC"/>
              </a:buClr>
            </a:pPr>
            <a:r>
              <a:rPr lang="fr-FR" sz="1000" dirty="0" smtClean="0">
                <a:solidFill>
                  <a:schemeClr val="tx2"/>
                </a:solidFill>
                <a:latin typeface="Enedis"/>
              </a:rPr>
              <a:t>Gamme complète en électrique disponible 2023 jusqu’à 44 t</a:t>
            </a:r>
            <a:endParaRPr lang="fr-FR" sz="600" i="1" dirty="0">
              <a:solidFill>
                <a:schemeClr val="tx2"/>
              </a:solidFill>
              <a:latin typeface="Enedis"/>
            </a:endParaRPr>
          </a:p>
        </p:txBody>
      </p:sp>
      <p:pic>
        <p:nvPicPr>
          <p:cNvPr id="3" name="Image 2"/>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783308" y="5507248"/>
            <a:ext cx="837764" cy="705925"/>
          </a:xfrm>
          <a:prstGeom prst="rect">
            <a:avLst/>
          </a:prstGeom>
        </p:spPr>
      </p:pic>
      <p:pic>
        <p:nvPicPr>
          <p:cNvPr id="5" name="Image 4"/>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577095" y="3775361"/>
            <a:ext cx="1106381" cy="664422"/>
          </a:xfrm>
          <a:prstGeom prst="rect">
            <a:avLst/>
          </a:prstGeom>
        </p:spPr>
      </p:pic>
      <p:sp>
        <p:nvSpPr>
          <p:cNvPr id="21" name="ZoneTexte 20"/>
          <p:cNvSpPr txBox="1"/>
          <p:nvPr/>
        </p:nvSpPr>
        <p:spPr>
          <a:xfrm>
            <a:off x="9127258" y="4654976"/>
            <a:ext cx="1644209" cy="558614"/>
          </a:xfrm>
          <a:prstGeom prst="rect">
            <a:avLst/>
          </a:prstGeom>
          <a:noFill/>
        </p:spPr>
        <p:txBody>
          <a:bodyPr wrap="square" rtlCol="0">
            <a:spAutoFit/>
          </a:bodyPr>
          <a:lstStyle/>
          <a:p>
            <a:pPr lvl="0" defTabSz="914377">
              <a:lnSpc>
                <a:spcPct val="101000"/>
              </a:lnSpc>
              <a:spcAft>
                <a:spcPts val="600"/>
              </a:spcAft>
              <a:buClr>
                <a:srgbClr val="1423DC"/>
              </a:buClr>
            </a:pPr>
            <a:r>
              <a:rPr lang="fr-FR" sz="1000" dirty="0" smtClean="0">
                <a:solidFill>
                  <a:schemeClr val="tx2"/>
                </a:solidFill>
                <a:latin typeface="Enedis"/>
              </a:rPr>
              <a:t>Hypothèse de parité du TCO entre électrique et diesel dès 2025 </a:t>
            </a:r>
            <a:endParaRPr lang="fr-FR" sz="600" i="1" dirty="0">
              <a:solidFill>
                <a:schemeClr val="tx2"/>
              </a:solidFill>
              <a:latin typeface="Enedis"/>
            </a:endParaRPr>
          </a:p>
        </p:txBody>
      </p:sp>
      <p:sp>
        <p:nvSpPr>
          <p:cNvPr id="22" name="ZoneTexte 21"/>
          <p:cNvSpPr txBox="1"/>
          <p:nvPr/>
        </p:nvSpPr>
        <p:spPr>
          <a:xfrm>
            <a:off x="9127259" y="5642113"/>
            <a:ext cx="1644209" cy="403187"/>
          </a:xfrm>
          <a:prstGeom prst="rect">
            <a:avLst/>
          </a:prstGeom>
          <a:noFill/>
        </p:spPr>
        <p:txBody>
          <a:bodyPr wrap="square" rtlCol="0">
            <a:spAutoFit/>
          </a:bodyPr>
          <a:lstStyle/>
          <a:p>
            <a:pPr lvl="0" defTabSz="914377">
              <a:lnSpc>
                <a:spcPct val="101000"/>
              </a:lnSpc>
              <a:spcAft>
                <a:spcPts val="600"/>
              </a:spcAft>
              <a:buClr>
                <a:srgbClr val="1423DC"/>
              </a:buClr>
            </a:pPr>
            <a:r>
              <a:rPr lang="fr-FR" sz="1000" dirty="0" smtClean="0">
                <a:solidFill>
                  <a:schemeClr val="tx2"/>
                </a:solidFill>
                <a:latin typeface="Enedis"/>
              </a:rPr>
              <a:t>Modèle 40t électrique disponible dès 2022</a:t>
            </a:r>
            <a:endParaRPr lang="fr-FR" sz="600" i="1" dirty="0">
              <a:solidFill>
                <a:schemeClr val="tx2"/>
              </a:solidFill>
              <a:latin typeface="Enedis"/>
            </a:endParaRPr>
          </a:p>
        </p:txBody>
      </p:sp>
      <p:pic>
        <p:nvPicPr>
          <p:cNvPr id="6" name="Image 5"/>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473615" y="1231823"/>
            <a:ext cx="2951494" cy="2181713"/>
          </a:xfrm>
          <a:prstGeom prst="rect">
            <a:avLst/>
          </a:prstGeom>
        </p:spPr>
      </p:pic>
      <p:sp>
        <p:nvSpPr>
          <p:cNvPr id="24" name="ZoneTexte 23"/>
          <p:cNvSpPr txBox="1"/>
          <p:nvPr/>
        </p:nvSpPr>
        <p:spPr>
          <a:xfrm>
            <a:off x="8344332" y="1073583"/>
            <a:ext cx="3210060" cy="403187"/>
          </a:xfrm>
          <a:prstGeom prst="rect">
            <a:avLst/>
          </a:prstGeom>
          <a:solidFill>
            <a:schemeClr val="bg1"/>
          </a:solidFill>
        </p:spPr>
        <p:txBody>
          <a:bodyPr wrap="square" rtlCol="0">
            <a:spAutoFit/>
          </a:bodyPr>
          <a:lstStyle/>
          <a:p>
            <a:pPr lvl="0" defTabSz="914377">
              <a:lnSpc>
                <a:spcPct val="101000"/>
              </a:lnSpc>
              <a:spcAft>
                <a:spcPts val="600"/>
              </a:spcAft>
              <a:buClr>
                <a:srgbClr val="1423DC"/>
              </a:buClr>
            </a:pPr>
            <a:r>
              <a:rPr lang="fr-FR" sz="1000" b="1" dirty="0" smtClean="0">
                <a:solidFill>
                  <a:schemeClr val="accent3"/>
                </a:solidFill>
                <a:latin typeface="Enedis"/>
              </a:rPr>
              <a:t>Les constructeurs de camions annoncent 50% de ventes zéro émission dès 2030 </a:t>
            </a:r>
            <a:r>
              <a:rPr lang="fr-FR" sz="1000" dirty="0" smtClean="0">
                <a:solidFill>
                  <a:schemeClr val="accent3"/>
                </a:solidFill>
                <a:latin typeface="Enedis"/>
              </a:rPr>
              <a:t>(100% en 2040)</a:t>
            </a:r>
            <a:endParaRPr lang="fr-FR" sz="600" i="1" dirty="0">
              <a:solidFill>
                <a:schemeClr val="accent3"/>
              </a:solidFill>
              <a:latin typeface="Enedis"/>
            </a:endParaRPr>
          </a:p>
        </p:txBody>
      </p:sp>
      <p:sp>
        <p:nvSpPr>
          <p:cNvPr id="30" name="Slide Number Placeholder 3">
            <a:extLst>
              <a:ext uri="{FF2B5EF4-FFF2-40B4-BE49-F238E27FC236}">
                <a16:creationId xmlns:a16="http://schemas.microsoft.com/office/drawing/2014/main" id="{29869B0A-245E-6617-42EE-AD9F74932BA2}"/>
              </a:ext>
            </a:extLst>
          </p:cNvPr>
          <p:cNvSpPr txBox="1">
            <a:spLocks/>
          </p:cNvSpPr>
          <p:nvPr/>
        </p:nvSpPr>
        <p:spPr>
          <a:xfrm>
            <a:off x="11203781" y="6514718"/>
            <a:ext cx="465150" cy="154849"/>
          </a:xfrm>
          <a:prstGeom prst="rect">
            <a:avLst/>
          </a:prstGeom>
        </p:spPr>
        <p:txBody>
          <a:bodyPr vert="horz" lIns="0" tIns="0" rIns="0" bIns="0" rtlCol="0" anchor="ctr"/>
          <a:lstStyle>
            <a:defPPr>
              <a:defRPr lang="en-US"/>
            </a:defPPr>
            <a:lvl1pPr marL="0" algn="r" defTabSz="609585" rtl="0" eaLnBrk="1" latinLnBrk="0" hangingPunct="1">
              <a:defRPr sz="750" b="1" kern="1200">
                <a:solidFill>
                  <a:schemeClr val="tx2"/>
                </a:solidFill>
                <a:latin typeface="+mj-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6B54B0F7-55DD-40D6-B7F4-70B586885C0B}" type="slidenum">
              <a:rPr lang="fr-FR" sz="800" smtClean="0"/>
              <a:pPr/>
              <a:t>3</a:t>
            </a:fld>
            <a:endParaRPr lang="fr-FR" sz="800"/>
          </a:p>
        </p:txBody>
      </p:sp>
      <p:sp>
        <p:nvSpPr>
          <p:cNvPr id="32" name="Titre 3"/>
          <p:cNvSpPr txBox="1">
            <a:spLocks/>
          </p:cNvSpPr>
          <p:nvPr/>
        </p:nvSpPr>
        <p:spPr>
          <a:xfrm>
            <a:off x="456317" y="3996054"/>
            <a:ext cx="660382" cy="1034129"/>
          </a:xfrm>
          <a:prstGeom prst="rect">
            <a:avLst/>
          </a:prstGeom>
        </p:spPr>
        <p:txBody>
          <a:bodyPr vert="horz" wrap="square" lIns="0" tIns="0" rIns="0" bIns="0" rtlCol="0" anchor="t">
            <a:spAutoFit/>
          </a:bodyPr>
          <a:lstStyle>
            <a:lvl1pPr algn="l" defTabSz="914377" rtl="0" eaLnBrk="1" latinLnBrk="0" hangingPunct="1">
              <a:lnSpc>
                <a:spcPct val="84000"/>
              </a:lnSpc>
              <a:spcBef>
                <a:spcPct val="0"/>
              </a:spcBef>
              <a:buNone/>
              <a:defRPr sz="3450" b="1" kern="1200">
                <a:solidFill>
                  <a:schemeClr val="tx2"/>
                </a:solidFill>
                <a:latin typeface="+mj-lt"/>
                <a:ea typeface="+mj-ea"/>
                <a:cs typeface="+mj-cs"/>
              </a:defRPr>
            </a:lvl1pPr>
          </a:lstStyle>
          <a:p>
            <a:r>
              <a:rPr lang="fr-FR" sz="1000" b="0" i="1" dirty="0" smtClean="0">
                <a:solidFill>
                  <a:schemeClr val="tx1"/>
                </a:solidFill>
              </a:rPr>
              <a:t>* Projet de bus haut niveau de service (BHNS) électrique à Clermont Ferrand</a:t>
            </a:r>
            <a:endParaRPr lang="fr-FR" sz="1000" b="0" i="1" dirty="0">
              <a:solidFill>
                <a:schemeClr val="tx1"/>
              </a:solidFill>
            </a:endParaRPr>
          </a:p>
        </p:txBody>
      </p:sp>
      <p:pic>
        <p:nvPicPr>
          <p:cNvPr id="47" name="Image 46"/>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195217" y="4018644"/>
            <a:ext cx="3532023" cy="2196992"/>
          </a:xfrm>
          <a:prstGeom prst="rect">
            <a:avLst/>
          </a:prstGeom>
          <a:solidFill>
            <a:schemeClr val="bg1"/>
          </a:solidFill>
          <a:effectLst>
            <a:outerShdw blurRad="50800" dist="76200" dir="2700000" algn="tl" rotWithShape="0">
              <a:prstClr val="black">
                <a:alpha val="40000"/>
              </a:prstClr>
            </a:outerShdw>
          </a:effectLst>
        </p:spPr>
      </p:pic>
      <p:pic>
        <p:nvPicPr>
          <p:cNvPr id="9" name="Image 8"/>
          <p:cNvPicPr>
            <a:picLocks noChangeAspect="1"/>
          </p:cNvPicPr>
          <p:nvPr/>
        </p:nvPicPr>
        <p:blipFill>
          <a:blip r:embed="rId11"/>
          <a:stretch>
            <a:fillRect/>
          </a:stretch>
        </p:blipFill>
        <p:spPr>
          <a:xfrm>
            <a:off x="5013835" y="4217024"/>
            <a:ext cx="2919092" cy="1995159"/>
          </a:xfrm>
          <a:prstGeom prst="rect">
            <a:avLst/>
          </a:prstGeom>
          <a:solidFill>
            <a:schemeClr val="bg1"/>
          </a:solidFill>
          <a:effectLst>
            <a:outerShdw blurRad="50800" dist="76200" dir="2700000" algn="tl" rotWithShape="0">
              <a:prstClr val="black">
                <a:alpha val="40000"/>
              </a:prstClr>
            </a:outerShdw>
          </a:effectLst>
        </p:spPr>
      </p:pic>
      <p:pic>
        <p:nvPicPr>
          <p:cNvPr id="10" name="Image 9"/>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7115997" y="5846549"/>
            <a:ext cx="828770" cy="365634"/>
          </a:xfrm>
          <a:prstGeom prst="rect">
            <a:avLst/>
          </a:prstGeom>
        </p:spPr>
      </p:pic>
    </p:spTree>
    <p:extLst>
      <p:ext uri="{BB962C8B-B14F-4D97-AF65-F5344CB8AC3E}">
        <p14:creationId xmlns:p14="http://schemas.microsoft.com/office/powerpoint/2010/main" val="171779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Graphique 30"/>
          <p:cNvGraphicFramePr>
            <a:graphicFrameLocks/>
          </p:cNvGraphicFramePr>
          <p:nvPr>
            <p:extLst>
              <p:ext uri="{D42A27DB-BD31-4B8C-83A1-F6EECF244321}">
                <p14:modId xmlns:p14="http://schemas.microsoft.com/office/powerpoint/2010/main" val="1767786308"/>
              </p:ext>
            </p:extLst>
          </p:nvPr>
        </p:nvGraphicFramePr>
        <p:xfrm>
          <a:off x="1230897" y="1267629"/>
          <a:ext cx="9746343" cy="4990893"/>
        </p:xfrm>
        <a:graphic>
          <a:graphicData uri="http://schemas.openxmlformats.org/drawingml/2006/chart">
            <c:chart xmlns:c="http://schemas.openxmlformats.org/drawingml/2006/chart" xmlns:r="http://schemas.openxmlformats.org/officeDocument/2006/relationships" r:id="rId3"/>
          </a:graphicData>
        </a:graphic>
      </p:graphicFrame>
      <p:sp>
        <p:nvSpPr>
          <p:cNvPr id="4" name="Titre 3"/>
          <p:cNvSpPr>
            <a:spLocks noGrp="1"/>
          </p:cNvSpPr>
          <p:nvPr>
            <p:ph type="title"/>
          </p:nvPr>
        </p:nvSpPr>
        <p:spPr>
          <a:xfrm>
            <a:off x="299215" y="287768"/>
            <a:ext cx="11609709" cy="723916"/>
          </a:xfrm>
        </p:spPr>
        <p:txBody>
          <a:bodyPr/>
          <a:lstStyle/>
          <a:p>
            <a:r>
              <a:rPr lang="en-US" sz="2800" dirty="0" err="1" smtClean="0"/>
              <a:t>Selon</a:t>
            </a:r>
            <a:r>
              <a:rPr lang="en-US" sz="2800" dirty="0" smtClean="0"/>
              <a:t> les </a:t>
            </a:r>
            <a:r>
              <a:rPr lang="en-US" sz="2800" dirty="0" err="1" smtClean="0"/>
              <a:t>prévisions</a:t>
            </a:r>
            <a:r>
              <a:rPr lang="en-US" sz="2800" dirty="0" smtClean="0"/>
              <a:t> </a:t>
            </a:r>
            <a:r>
              <a:rPr lang="en-US" sz="2800" dirty="0" err="1" smtClean="0"/>
              <a:t>d’Enedis</a:t>
            </a:r>
            <a:r>
              <a:rPr lang="en-US" sz="2800" dirty="0" smtClean="0"/>
              <a:t>, </a:t>
            </a:r>
            <a:r>
              <a:rPr lang="en-US" sz="2800" dirty="0" err="1" smtClean="0"/>
              <a:t>il</a:t>
            </a:r>
            <a:r>
              <a:rPr lang="en-US" sz="2800" dirty="0" smtClean="0"/>
              <a:t> y aura 18 millions de VE/VHR </a:t>
            </a:r>
            <a:r>
              <a:rPr lang="en-US" sz="2800" dirty="0" err="1" smtClean="0"/>
              <a:t>légers</a:t>
            </a:r>
            <a:r>
              <a:rPr lang="en-US" sz="2800" dirty="0" smtClean="0"/>
              <a:t> </a:t>
            </a:r>
            <a:r>
              <a:rPr lang="en-US" sz="2800" dirty="0" err="1" smtClean="0"/>
              <a:t>en</a:t>
            </a:r>
            <a:r>
              <a:rPr lang="en-US" sz="2800" dirty="0" smtClean="0"/>
              <a:t> France </a:t>
            </a:r>
            <a:r>
              <a:rPr lang="en-US" sz="2800" dirty="0" err="1" smtClean="0"/>
              <a:t>en</a:t>
            </a:r>
            <a:r>
              <a:rPr lang="en-US" sz="2800" dirty="0" smtClean="0"/>
              <a:t> 2035, </a:t>
            </a:r>
            <a:r>
              <a:rPr lang="en-US" sz="2800" dirty="0" err="1" smtClean="0"/>
              <a:t>soit</a:t>
            </a:r>
            <a:r>
              <a:rPr lang="en-US" sz="2800" dirty="0" smtClean="0"/>
              <a:t> environ 40% du </a:t>
            </a:r>
            <a:r>
              <a:rPr lang="en-US" sz="2800" dirty="0" err="1" smtClean="0"/>
              <a:t>parc</a:t>
            </a:r>
            <a:r>
              <a:rPr lang="en-US" sz="2800" dirty="0" smtClean="0"/>
              <a:t> </a:t>
            </a:r>
            <a:r>
              <a:rPr lang="en-US" sz="2800" dirty="0" err="1" smtClean="0"/>
              <a:t>roulant</a:t>
            </a:r>
            <a:endParaRPr lang="en-US" sz="2800" dirty="0"/>
          </a:p>
        </p:txBody>
      </p:sp>
      <p:sp>
        <p:nvSpPr>
          <p:cNvPr id="33" name="Rectangle à coins arrondis 32"/>
          <p:cNvSpPr/>
          <p:nvPr/>
        </p:nvSpPr>
        <p:spPr>
          <a:xfrm>
            <a:off x="9914053" y="1450084"/>
            <a:ext cx="852729" cy="287238"/>
          </a:xfrm>
          <a:prstGeom prst="round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fr-FR" sz="1800" b="1" dirty="0" smtClean="0">
                <a:solidFill>
                  <a:schemeClr val="accent1">
                    <a:lumMod val="75000"/>
                  </a:schemeClr>
                </a:solidFill>
                <a:latin typeface="+mj-lt"/>
              </a:rPr>
              <a:t>18 M</a:t>
            </a:r>
            <a:endParaRPr lang="fr-FR" sz="1800" b="1" dirty="0">
              <a:solidFill>
                <a:schemeClr val="accent1">
                  <a:lumMod val="75000"/>
                </a:schemeClr>
              </a:solidFill>
              <a:latin typeface="+mj-lt"/>
            </a:endParaRPr>
          </a:p>
        </p:txBody>
      </p:sp>
      <p:sp>
        <p:nvSpPr>
          <p:cNvPr id="34" name="Rectangle 33"/>
          <p:cNvSpPr/>
          <p:nvPr/>
        </p:nvSpPr>
        <p:spPr>
          <a:xfrm>
            <a:off x="5068451" y="1808562"/>
            <a:ext cx="2802732" cy="276999"/>
          </a:xfrm>
          <a:prstGeom prst="rect">
            <a:avLst/>
          </a:prstGeom>
        </p:spPr>
        <p:txBody>
          <a:bodyPr wrap="square">
            <a:spAutoFit/>
          </a:bodyPr>
          <a:lstStyle/>
          <a:p>
            <a:pPr algn="ctr">
              <a:spcAft>
                <a:spcPts val="800"/>
              </a:spcAft>
            </a:pPr>
            <a:r>
              <a:rPr lang="fr-FR" sz="1200" i="1" dirty="0" smtClean="0">
                <a:solidFill>
                  <a:schemeClr val="tx1">
                    <a:lumMod val="65000"/>
                    <a:lumOff val="35000"/>
                  </a:schemeClr>
                </a:solidFill>
                <a:latin typeface="+mj-lt"/>
              </a:rPr>
              <a:t>VE et VHR légers et utilitaires légers-</a:t>
            </a:r>
            <a:endParaRPr lang="fr-FR" sz="1200" i="1" dirty="0">
              <a:solidFill>
                <a:schemeClr val="tx1">
                  <a:lumMod val="65000"/>
                  <a:lumOff val="35000"/>
                </a:schemeClr>
              </a:solidFill>
              <a:latin typeface="+mj-lt"/>
            </a:endParaRPr>
          </a:p>
        </p:txBody>
      </p:sp>
      <p:sp>
        <p:nvSpPr>
          <p:cNvPr id="35" name="Rectangle 34"/>
          <p:cNvSpPr/>
          <p:nvPr/>
        </p:nvSpPr>
        <p:spPr>
          <a:xfrm>
            <a:off x="9827597" y="5835660"/>
            <a:ext cx="1025639" cy="200055"/>
          </a:xfrm>
          <a:prstGeom prst="rect">
            <a:avLst/>
          </a:prstGeom>
        </p:spPr>
        <p:txBody>
          <a:bodyPr wrap="square">
            <a:spAutoFit/>
          </a:bodyPr>
          <a:lstStyle/>
          <a:p>
            <a:pPr>
              <a:spcAft>
                <a:spcPts val="800"/>
              </a:spcAft>
            </a:pPr>
            <a:r>
              <a:rPr lang="fr-FR" sz="700" i="1" dirty="0" smtClean="0">
                <a:solidFill>
                  <a:schemeClr val="accent1">
                    <a:lumMod val="50000"/>
                  </a:schemeClr>
                </a:solidFill>
                <a:latin typeface="+mj-lt"/>
              </a:rPr>
              <a:t>Enedis </a:t>
            </a:r>
            <a:r>
              <a:rPr lang="fr-FR" sz="700" i="1" dirty="0" err="1" smtClean="0">
                <a:solidFill>
                  <a:schemeClr val="accent1">
                    <a:lumMod val="50000"/>
                  </a:schemeClr>
                </a:solidFill>
                <a:latin typeface="+mj-lt"/>
              </a:rPr>
              <a:t>estimates</a:t>
            </a:r>
            <a:endParaRPr lang="fr-FR" sz="700" i="1" dirty="0">
              <a:solidFill>
                <a:schemeClr val="accent1">
                  <a:lumMod val="50000"/>
                </a:schemeClr>
              </a:solidFill>
              <a:latin typeface="+mj-lt"/>
            </a:endParaRPr>
          </a:p>
        </p:txBody>
      </p:sp>
      <p:sp>
        <p:nvSpPr>
          <p:cNvPr id="27" name="ZoneTexte 26"/>
          <p:cNvSpPr txBox="1"/>
          <p:nvPr/>
        </p:nvSpPr>
        <p:spPr>
          <a:xfrm>
            <a:off x="2712472" y="4526253"/>
            <a:ext cx="869739" cy="278859"/>
          </a:xfrm>
          <a:prstGeom prst="rect">
            <a:avLst/>
          </a:prstGeom>
          <a:solidFill>
            <a:schemeClr val="bg1"/>
          </a:solidFill>
        </p:spPr>
        <p:txBody>
          <a:bodyPr wrap="square" rtlCol="0">
            <a:spAutoFit/>
          </a:bodyPr>
          <a:lstStyle/>
          <a:p>
            <a:pPr lvl="0" defTabSz="914377">
              <a:lnSpc>
                <a:spcPct val="101000"/>
              </a:lnSpc>
              <a:spcAft>
                <a:spcPts val="600"/>
              </a:spcAft>
              <a:buClr>
                <a:srgbClr val="1423DC"/>
              </a:buClr>
            </a:pPr>
            <a:r>
              <a:rPr lang="fr-FR" sz="1200" b="1" dirty="0" err="1" smtClean="0">
                <a:solidFill>
                  <a:schemeClr val="accent1"/>
                </a:solidFill>
                <a:latin typeface="Enedis"/>
              </a:rPr>
              <a:t>Forecast</a:t>
            </a:r>
            <a:endParaRPr lang="fr-FR" sz="900" b="1" dirty="0">
              <a:solidFill>
                <a:schemeClr val="accent1"/>
              </a:solidFill>
              <a:latin typeface="Enedis"/>
            </a:endParaRPr>
          </a:p>
        </p:txBody>
      </p:sp>
      <p:sp>
        <p:nvSpPr>
          <p:cNvPr id="28" name="ZoneTexte 27"/>
          <p:cNvSpPr txBox="1"/>
          <p:nvPr/>
        </p:nvSpPr>
        <p:spPr>
          <a:xfrm>
            <a:off x="2712472" y="4329820"/>
            <a:ext cx="869739" cy="278859"/>
          </a:xfrm>
          <a:prstGeom prst="rect">
            <a:avLst/>
          </a:prstGeom>
          <a:solidFill>
            <a:schemeClr val="bg1"/>
          </a:solidFill>
        </p:spPr>
        <p:txBody>
          <a:bodyPr wrap="square" rtlCol="0">
            <a:spAutoFit/>
          </a:bodyPr>
          <a:lstStyle/>
          <a:p>
            <a:pPr lvl="0" defTabSz="914377">
              <a:lnSpc>
                <a:spcPct val="101000"/>
              </a:lnSpc>
              <a:spcAft>
                <a:spcPts val="600"/>
              </a:spcAft>
              <a:buClr>
                <a:srgbClr val="1423DC"/>
              </a:buClr>
            </a:pPr>
            <a:r>
              <a:rPr lang="fr-FR" sz="1200" b="1" dirty="0" err="1" smtClean="0">
                <a:solidFill>
                  <a:schemeClr val="accent3"/>
                </a:solidFill>
                <a:latin typeface="Enedis"/>
              </a:rPr>
              <a:t>Actual</a:t>
            </a:r>
            <a:endParaRPr lang="fr-FR" sz="1200" b="1" dirty="0" smtClean="0">
              <a:solidFill>
                <a:schemeClr val="accent3"/>
              </a:solidFill>
              <a:latin typeface="Enedis"/>
            </a:endParaRPr>
          </a:p>
        </p:txBody>
      </p:sp>
      <p:sp>
        <p:nvSpPr>
          <p:cNvPr id="45" name="Slide Number Placeholder 3">
            <a:extLst>
              <a:ext uri="{FF2B5EF4-FFF2-40B4-BE49-F238E27FC236}">
                <a16:creationId xmlns:a16="http://schemas.microsoft.com/office/drawing/2014/main" id="{29869B0A-245E-6617-42EE-AD9F74932BA2}"/>
              </a:ext>
            </a:extLst>
          </p:cNvPr>
          <p:cNvSpPr txBox="1">
            <a:spLocks/>
          </p:cNvSpPr>
          <p:nvPr/>
        </p:nvSpPr>
        <p:spPr>
          <a:xfrm>
            <a:off x="11323660" y="6514468"/>
            <a:ext cx="465150" cy="154849"/>
          </a:xfrm>
          <a:prstGeom prst="rect">
            <a:avLst/>
          </a:prstGeom>
        </p:spPr>
        <p:txBody>
          <a:bodyPr vert="horz" lIns="0" tIns="0" rIns="0" bIns="0" rtlCol="0" anchor="ctr"/>
          <a:lstStyle>
            <a:defPPr>
              <a:defRPr lang="en-US"/>
            </a:defPPr>
            <a:lvl1pPr marL="0" algn="r" defTabSz="609585" rtl="0" eaLnBrk="1" latinLnBrk="0" hangingPunct="1">
              <a:defRPr sz="750" b="1" kern="1200">
                <a:solidFill>
                  <a:schemeClr val="tx2"/>
                </a:solidFill>
                <a:latin typeface="+mj-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6B54B0F7-55DD-40D6-B7F4-70B586885C0B}" type="slidenum">
              <a:rPr lang="fr-FR" sz="800" smtClean="0"/>
              <a:pPr/>
              <a:t>4</a:t>
            </a:fld>
            <a:endParaRPr lang="fr-FR" sz="800" dirty="0"/>
          </a:p>
        </p:txBody>
      </p:sp>
    </p:spTree>
    <p:extLst>
      <p:ext uri="{BB962C8B-B14F-4D97-AF65-F5344CB8AC3E}">
        <p14:creationId xmlns:p14="http://schemas.microsoft.com/office/powerpoint/2010/main" val="3456826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5658947" y="1282167"/>
            <a:ext cx="2886319" cy="461665"/>
          </a:xfrm>
          <a:prstGeom prst="rect">
            <a:avLst/>
          </a:prstGeom>
          <a:solidFill>
            <a:schemeClr val="bg1"/>
          </a:solidFill>
          <a:effectLst>
            <a:outerShdw blurRad="50800" dist="76200" dir="2700000" algn="tl" rotWithShape="0">
              <a:prstClr val="black">
                <a:alpha val="40000"/>
              </a:prstClr>
            </a:outerShdw>
          </a:effectLst>
        </p:spPr>
        <p:txBody>
          <a:bodyPr wrap="square" lIns="91440" tIns="45720" rIns="91440" bIns="45720">
            <a:spAutoFit/>
          </a:bodyPr>
          <a:lstStyle/>
          <a:p>
            <a:r>
              <a:rPr lang="fr-FR" sz="1200" b="1" dirty="0" smtClean="0">
                <a:ln w="0"/>
                <a:solidFill>
                  <a:schemeClr val="accent3"/>
                </a:solidFill>
                <a:latin typeface="+mj-lt"/>
              </a:rPr>
              <a:t>Projets de giga-</a:t>
            </a:r>
            <a:r>
              <a:rPr lang="fr-FR" sz="1200" b="1" dirty="0" err="1" smtClean="0">
                <a:ln w="0"/>
                <a:solidFill>
                  <a:schemeClr val="accent3"/>
                </a:solidFill>
                <a:latin typeface="+mj-lt"/>
              </a:rPr>
              <a:t>factories</a:t>
            </a:r>
            <a:r>
              <a:rPr lang="fr-FR" sz="1200" b="1" dirty="0" smtClean="0">
                <a:ln w="0"/>
                <a:solidFill>
                  <a:schemeClr val="accent3"/>
                </a:solidFill>
                <a:latin typeface="+mj-lt"/>
              </a:rPr>
              <a:t> de batteries en Europe</a:t>
            </a:r>
            <a:endParaRPr lang="fr-FR" sz="1200" b="1" cap="none" spc="0" dirty="0">
              <a:ln w="0"/>
              <a:solidFill>
                <a:schemeClr val="accent3"/>
              </a:solidFill>
              <a:effectLst>
                <a:outerShdw blurRad="38100" dist="25400" dir="5400000" algn="ctr" rotWithShape="0">
                  <a:srgbClr val="6E747A">
                    <a:alpha val="43000"/>
                  </a:srgbClr>
                </a:outerShdw>
              </a:effectLst>
              <a:latin typeface="+mj-lt"/>
            </a:endParaRPr>
          </a:p>
        </p:txBody>
      </p:sp>
      <p:sp>
        <p:nvSpPr>
          <p:cNvPr id="60" name="Rectangle 59"/>
          <p:cNvSpPr/>
          <p:nvPr/>
        </p:nvSpPr>
        <p:spPr>
          <a:xfrm>
            <a:off x="8621486" y="1279268"/>
            <a:ext cx="3078290" cy="4941218"/>
          </a:xfrm>
          <a:prstGeom prst="rect">
            <a:avLst/>
          </a:prstGeom>
          <a:solidFill>
            <a:schemeClr val="bg1"/>
          </a:solidFill>
          <a:effectLst>
            <a:outerShdw blurRad="50800" dist="76200" dir="2700000" algn="tl" rotWithShape="0">
              <a:prstClr val="black">
                <a:alpha val="40000"/>
              </a:prstClr>
            </a:outerShdw>
          </a:effectLst>
        </p:spPr>
        <p:txBody>
          <a:bodyPr wrap="square" anchor="ctr" anchorCtr="1">
            <a:noAutofit/>
          </a:bodyPr>
          <a:lstStyle/>
          <a:p>
            <a:pPr defTabSz="914377">
              <a:lnSpc>
                <a:spcPct val="101000"/>
              </a:lnSpc>
              <a:spcAft>
                <a:spcPts val="600"/>
              </a:spcAft>
              <a:buClr>
                <a:schemeClr val="tx2"/>
              </a:buClr>
            </a:pPr>
            <a:endParaRPr lang="fr-FR" sz="800" dirty="0">
              <a:latin typeface="+mj-lt"/>
            </a:endParaRPr>
          </a:p>
        </p:txBody>
      </p:sp>
      <p:sp>
        <p:nvSpPr>
          <p:cNvPr id="2" name="Titre 1"/>
          <p:cNvSpPr>
            <a:spLocks noGrp="1"/>
          </p:cNvSpPr>
          <p:nvPr>
            <p:ph type="title"/>
          </p:nvPr>
        </p:nvSpPr>
        <p:spPr>
          <a:xfrm>
            <a:off x="378184" y="213380"/>
            <a:ext cx="11629785" cy="775597"/>
          </a:xfrm>
        </p:spPr>
        <p:txBody>
          <a:bodyPr/>
          <a:lstStyle/>
          <a:p>
            <a:r>
              <a:rPr lang="fr-FR" sz="2800" dirty="0" smtClean="0"/>
              <a:t>Le secteur de la mobilité électrique en France – recharge, batterie - a concentré plus de 2 milliards de levées de fonds en un an</a:t>
            </a:r>
            <a:endParaRPr lang="fr-FR" sz="2800" dirty="0"/>
          </a:p>
        </p:txBody>
      </p:sp>
      <p:sp>
        <p:nvSpPr>
          <p:cNvPr id="26" name="Rectangle 25"/>
          <p:cNvSpPr/>
          <p:nvPr/>
        </p:nvSpPr>
        <p:spPr>
          <a:xfrm>
            <a:off x="8694310" y="1279267"/>
            <a:ext cx="2857799" cy="677108"/>
          </a:xfrm>
          <a:prstGeom prst="rect">
            <a:avLst/>
          </a:prstGeom>
          <a:noFill/>
        </p:spPr>
        <p:txBody>
          <a:bodyPr wrap="square" lIns="91440" tIns="45720" rIns="91440" bIns="45720">
            <a:spAutoFit/>
          </a:bodyPr>
          <a:lstStyle/>
          <a:p>
            <a:r>
              <a:rPr lang="fr-FR" sz="1200" b="1" dirty="0" smtClean="0">
                <a:ln w="0"/>
                <a:solidFill>
                  <a:schemeClr val="accent3"/>
                </a:solidFill>
                <a:latin typeface="+mj-lt"/>
              </a:rPr>
              <a:t>Levées de fonds en France secteur mobilité électrique </a:t>
            </a:r>
            <a:r>
              <a:rPr lang="fr-FR" sz="1200" dirty="0" smtClean="0">
                <a:ln w="0"/>
                <a:solidFill>
                  <a:schemeClr val="accent3"/>
                </a:solidFill>
                <a:latin typeface="+mj-lt"/>
              </a:rPr>
              <a:t>depuis février 2022 : </a:t>
            </a:r>
            <a:r>
              <a:rPr lang="fr-FR" sz="1400" b="1" dirty="0" smtClean="0">
                <a:ln w="0"/>
                <a:solidFill>
                  <a:schemeClr val="accent3"/>
                </a:solidFill>
                <a:effectLst>
                  <a:outerShdw blurRad="38100" dist="25400" dir="5400000" algn="ctr" rotWithShape="0">
                    <a:srgbClr val="6E747A">
                      <a:alpha val="43000"/>
                    </a:srgbClr>
                  </a:outerShdw>
                </a:effectLst>
                <a:latin typeface="+mj-lt"/>
              </a:rPr>
              <a:t>2,1 Md€</a:t>
            </a:r>
            <a:endParaRPr lang="fr-FR" sz="1400" b="1" cap="none" spc="0" dirty="0">
              <a:ln w="0"/>
              <a:solidFill>
                <a:schemeClr val="accent3"/>
              </a:solidFill>
              <a:effectLst>
                <a:outerShdw blurRad="38100" dist="25400" dir="5400000" algn="ctr" rotWithShape="0">
                  <a:srgbClr val="6E747A">
                    <a:alpha val="43000"/>
                  </a:srgbClr>
                </a:outerShdw>
              </a:effectLst>
              <a:latin typeface="+mj-lt"/>
            </a:endParaRPr>
          </a:p>
        </p:txBody>
      </p:sp>
      <p:pic>
        <p:nvPicPr>
          <p:cNvPr id="8" name="Imag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777507" y="1942510"/>
            <a:ext cx="815067" cy="402051"/>
          </a:xfrm>
          <a:prstGeom prst="rect">
            <a:avLst/>
          </a:prstGeom>
        </p:spPr>
      </p:pic>
      <p:pic>
        <p:nvPicPr>
          <p:cNvPr id="9" name="Image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777507" y="2396241"/>
            <a:ext cx="902389" cy="405919"/>
          </a:xfrm>
          <a:prstGeom prst="rect">
            <a:avLst/>
          </a:prstGeom>
        </p:spPr>
      </p:pic>
      <p:pic>
        <p:nvPicPr>
          <p:cNvPr id="10" name="Image 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777507" y="2853840"/>
            <a:ext cx="687113" cy="329515"/>
          </a:xfrm>
          <a:prstGeom prst="rect">
            <a:avLst/>
          </a:prstGeom>
        </p:spPr>
      </p:pic>
      <p:pic>
        <p:nvPicPr>
          <p:cNvPr id="11" name="Image 10"/>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777507" y="3235035"/>
            <a:ext cx="776672" cy="251124"/>
          </a:xfrm>
          <a:prstGeom prst="rect">
            <a:avLst/>
          </a:prstGeom>
        </p:spPr>
      </p:pic>
      <p:pic>
        <p:nvPicPr>
          <p:cNvPr id="14" name="Image 13"/>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77507" y="3537839"/>
            <a:ext cx="881471" cy="265898"/>
          </a:xfrm>
          <a:prstGeom prst="rect">
            <a:avLst/>
          </a:prstGeom>
        </p:spPr>
      </p:pic>
      <p:pic>
        <p:nvPicPr>
          <p:cNvPr id="15" name="Image 14"/>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777507" y="3855417"/>
            <a:ext cx="1095837" cy="387222"/>
          </a:xfrm>
          <a:prstGeom prst="rect">
            <a:avLst/>
          </a:prstGeom>
        </p:spPr>
      </p:pic>
      <p:pic>
        <p:nvPicPr>
          <p:cNvPr id="27" name="Image 26"/>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777507" y="4294319"/>
            <a:ext cx="684658" cy="330083"/>
          </a:xfrm>
          <a:prstGeom prst="rect">
            <a:avLst/>
          </a:prstGeom>
        </p:spPr>
      </p:pic>
      <p:pic>
        <p:nvPicPr>
          <p:cNvPr id="16" name="Image 15"/>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777507" y="4676082"/>
            <a:ext cx="1136807" cy="324248"/>
          </a:xfrm>
          <a:prstGeom prst="rect">
            <a:avLst/>
          </a:prstGeom>
        </p:spPr>
      </p:pic>
      <p:pic>
        <p:nvPicPr>
          <p:cNvPr id="17" name="Image 16"/>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777507" y="5052010"/>
            <a:ext cx="973952" cy="307089"/>
          </a:xfrm>
          <a:prstGeom prst="rect">
            <a:avLst/>
          </a:prstGeom>
        </p:spPr>
      </p:pic>
      <p:pic>
        <p:nvPicPr>
          <p:cNvPr id="18" name="Image 17"/>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777507" y="5410779"/>
            <a:ext cx="979765" cy="423521"/>
          </a:xfrm>
          <a:prstGeom prst="rect">
            <a:avLst/>
          </a:prstGeom>
        </p:spPr>
      </p:pic>
      <p:pic>
        <p:nvPicPr>
          <p:cNvPr id="30" name="Image 29"/>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281664" y="4909127"/>
            <a:ext cx="1402472" cy="1314452"/>
          </a:xfrm>
          <a:prstGeom prst="rect">
            <a:avLst/>
          </a:prstGeom>
          <a:solidFill>
            <a:schemeClr val="bg1"/>
          </a:solidFill>
          <a:effectLst>
            <a:outerShdw blurRad="50800" dist="76200" dir="2700000" algn="tl" rotWithShape="0">
              <a:prstClr val="black">
                <a:alpha val="40000"/>
              </a:prstClr>
            </a:outerShdw>
          </a:effectLst>
        </p:spPr>
      </p:pic>
      <p:sp>
        <p:nvSpPr>
          <p:cNvPr id="31" name="Rectangle 30"/>
          <p:cNvSpPr/>
          <p:nvPr/>
        </p:nvSpPr>
        <p:spPr>
          <a:xfrm>
            <a:off x="412904" y="1279267"/>
            <a:ext cx="5141304" cy="3452151"/>
          </a:xfrm>
          <a:prstGeom prst="rect">
            <a:avLst/>
          </a:prstGeom>
          <a:solidFill>
            <a:schemeClr val="bg1"/>
          </a:solidFill>
          <a:effectLst>
            <a:outerShdw blurRad="50800" dist="76200" dir="2700000" algn="tl" rotWithShape="0">
              <a:prstClr val="black">
                <a:alpha val="40000"/>
              </a:prstClr>
            </a:outerShdw>
          </a:effectLst>
        </p:spPr>
        <p:txBody>
          <a:bodyPr wrap="square" anchor="ctr" anchorCtr="0">
            <a:noAutofit/>
          </a:bodyPr>
          <a:lstStyle/>
          <a:p>
            <a:pPr marL="285750" indent="-285750" algn="just" defTabSz="914377">
              <a:lnSpc>
                <a:spcPct val="101000"/>
              </a:lnSpc>
              <a:spcAft>
                <a:spcPts val="600"/>
              </a:spcAft>
              <a:buClr>
                <a:schemeClr val="tx2"/>
              </a:buClr>
              <a:buFont typeface="Wingdings" panose="05000000000000000000" pitchFamily="2" charset="2"/>
              <a:buChar char="q"/>
            </a:pPr>
            <a:r>
              <a:rPr lang="fr-FR" sz="1200" dirty="0">
                <a:solidFill>
                  <a:schemeClr val="tx1"/>
                </a:solidFill>
                <a:latin typeface="+mj-lt"/>
              </a:rPr>
              <a:t>Entre février 2022 et mars 2023, </a:t>
            </a:r>
            <a:r>
              <a:rPr lang="fr-FR" sz="1200" b="1" dirty="0">
                <a:solidFill>
                  <a:schemeClr val="tx1"/>
                </a:solidFill>
                <a:latin typeface="+mj-lt"/>
              </a:rPr>
              <a:t>2.1 milliards d’euros</a:t>
            </a:r>
            <a:r>
              <a:rPr lang="fr-FR" sz="1200" dirty="0">
                <a:solidFill>
                  <a:schemeClr val="tx1"/>
                </a:solidFill>
                <a:latin typeface="+mj-lt"/>
              </a:rPr>
              <a:t> ont été </a:t>
            </a:r>
            <a:r>
              <a:rPr lang="fr-FR" sz="1200" b="1" dirty="0">
                <a:solidFill>
                  <a:schemeClr val="tx1"/>
                </a:solidFill>
                <a:latin typeface="+mj-lt"/>
              </a:rPr>
              <a:t>investis au capital </a:t>
            </a:r>
            <a:r>
              <a:rPr lang="fr-FR" sz="1200" dirty="0">
                <a:solidFill>
                  <a:schemeClr val="tx1"/>
                </a:solidFill>
                <a:latin typeface="+mj-lt"/>
              </a:rPr>
              <a:t>de </a:t>
            </a:r>
            <a:r>
              <a:rPr lang="fr-FR" sz="1200" b="1" dirty="0">
                <a:solidFill>
                  <a:schemeClr val="tx1"/>
                </a:solidFill>
                <a:latin typeface="+mj-lt"/>
              </a:rPr>
              <a:t>11 acteurs français </a:t>
            </a:r>
            <a:r>
              <a:rPr lang="fr-FR" sz="1200" dirty="0">
                <a:solidFill>
                  <a:schemeClr val="tx1"/>
                </a:solidFill>
                <a:latin typeface="+mj-lt"/>
              </a:rPr>
              <a:t>du secteur de la </a:t>
            </a:r>
            <a:r>
              <a:rPr lang="fr-FR" sz="1200" b="1" dirty="0">
                <a:solidFill>
                  <a:schemeClr val="tx1"/>
                </a:solidFill>
                <a:latin typeface="+mj-lt"/>
              </a:rPr>
              <a:t>mobilité électrique</a:t>
            </a:r>
          </a:p>
          <a:p>
            <a:pPr marL="285750" indent="-285750" algn="just" defTabSz="914377">
              <a:lnSpc>
                <a:spcPct val="101000"/>
              </a:lnSpc>
              <a:spcAft>
                <a:spcPts val="600"/>
              </a:spcAft>
              <a:buClr>
                <a:schemeClr val="tx2"/>
              </a:buClr>
              <a:buFont typeface="Wingdings" panose="05000000000000000000" pitchFamily="2" charset="2"/>
              <a:buChar char="q"/>
            </a:pPr>
            <a:r>
              <a:rPr lang="fr-FR" sz="1200" dirty="0" smtClean="0">
                <a:latin typeface="+mj-lt"/>
              </a:rPr>
              <a:t>Cinq de ces acteurs sont des </a:t>
            </a:r>
            <a:r>
              <a:rPr lang="fr-FR" sz="1200" b="1" dirty="0" smtClean="0">
                <a:latin typeface="+mj-lt"/>
              </a:rPr>
              <a:t>grands comptes </a:t>
            </a:r>
            <a:r>
              <a:rPr lang="fr-FR" sz="1200" dirty="0" smtClean="0">
                <a:latin typeface="+mj-lt"/>
              </a:rPr>
              <a:t>multi-</a:t>
            </a:r>
            <a:r>
              <a:rPr lang="fr-FR" sz="1200" dirty="0" err="1" smtClean="0">
                <a:latin typeface="+mj-lt"/>
              </a:rPr>
              <a:t>raccordeurs</a:t>
            </a:r>
            <a:r>
              <a:rPr lang="fr-FR" sz="1200" dirty="0" smtClean="0">
                <a:latin typeface="+mj-lt"/>
              </a:rPr>
              <a:t> IRVE, trois sont des </a:t>
            </a:r>
            <a:r>
              <a:rPr lang="fr-FR" sz="1200" b="1" dirty="0" smtClean="0">
                <a:latin typeface="+mj-lt"/>
              </a:rPr>
              <a:t>partenaires industriels d’Enedis</a:t>
            </a:r>
          </a:p>
          <a:p>
            <a:pPr marL="285750" indent="-285750" algn="just" defTabSz="914377">
              <a:lnSpc>
                <a:spcPct val="101000"/>
              </a:lnSpc>
              <a:spcAft>
                <a:spcPts val="600"/>
              </a:spcAft>
              <a:buClr>
                <a:schemeClr val="tx2"/>
              </a:buClr>
              <a:buFont typeface="Wingdings" panose="05000000000000000000" pitchFamily="2" charset="2"/>
              <a:buChar char="q"/>
            </a:pPr>
            <a:r>
              <a:rPr lang="fr-FR" sz="1200" b="1" dirty="0" err="1" smtClean="0">
                <a:solidFill>
                  <a:schemeClr val="tx1"/>
                </a:solidFill>
                <a:latin typeface="+mj-lt"/>
              </a:rPr>
              <a:t>Verkor</a:t>
            </a:r>
            <a:r>
              <a:rPr lang="fr-FR" sz="1200" dirty="0" smtClean="0">
                <a:latin typeface="+mj-lt"/>
              </a:rPr>
              <a:t>, qui a commencé la construction de sa </a:t>
            </a:r>
            <a:r>
              <a:rPr lang="fr-FR" sz="1200" b="1" dirty="0" smtClean="0">
                <a:latin typeface="+mj-lt"/>
              </a:rPr>
              <a:t>giga-</a:t>
            </a:r>
            <a:r>
              <a:rPr lang="fr-FR" sz="1200" b="1" dirty="0" err="1">
                <a:latin typeface="+mj-lt"/>
              </a:rPr>
              <a:t>f</a:t>
            </a:r>
            <a:r>
              <a:rPr lang="fr-FR" sz="1200" b="1" dirty="0" err="1" smtClean="0">
                <a:latin typeface="+mj-lt"/>
              </a:rPr>
              <a:t>actory</a:t>
            </a:r>
            <a:r>
              <a:rPr lang="fr-FR" sz="1200" dirty="0" smtClean="0">
                <a:latin typeface="+mj-lt"/>
              </a:rPr>
              <a:t> à Dunkerque, est en passe de réaliser une </a:t>
            </a:r>
            <a:r>
              <a:rPr lang="fr-FR" sz="1200" b="1" dirty="0" smtClean="0">
                <a:latin typeface="+mj-lt"/>
              </a:rPr>
              <a:t>levée de fonds </a:t>
            </a:r>
            <a:r>
              <a:rPr lang="fr-FR" sz="1200" dirty="0" smtClean="0">
                <a:latin typeface="+mj-lt"/>
              </a:rPr>
              <a:t>historique d’un </a:t>
            </a:r>
            <a:r>
              <a:rPr lang="fr-FR" sz="1200" b="1" dirty="0" smtClean="0">
                <a:latin typeface="+mj-lt"/>
              </a:rPr>
              <a:t>montant record</a:t>
            </a:r>
            <a:r>
              <a:rPr lang="fr-FR" sz="1200" dirty="0" smtClean="0">
                <a:latin typeface="+mj-lt"/>
              </a:rPr>
              <a:t>. Les premières cellules sortiront de l’usine en 2025</a:t>
            </a:r>
          </a:p>
          <a:p>
            <a:pPr marL="285750" indent="-285750" algn="just" defTabSz="914377">
              <a:lnSpc>
                <a:spcPct val="101000"/>
              </a:lnSpc>
              <a:spcAft>
                <a:spcPts val="600"/>
              </a:spcAft>
              <a:buClr>
                <a:schemeClr val="tx2"/>
              </a:buClr>
              <a:buFont typeface="Wingdings" panose="05000000000000000000" pitchFamily="2" charset="2"/>
              <a:buChar char="q"/>
            </a:pPr>
            <a:r>
              <a:rPr lang="fr-FR" sz="1200" dirty="0" smtClean="0">
                <a:latin typeface="+mj-lt"/>
              </a:rPr>
              <a:t>La </a:t>
            </a:r>
            <a:r>
              <a:rPr lang="fr-FR" sz="1200" b="1" dirty="0" smtClean="0">
                <a:latin typeface="+mj-lt"/>
              </a:rPr>
              <a:t>France </a:t>
            </a:r>
            <a:r>
              <a:rPr lang="fr-FR" sz="1200" dirty="0" smtClean="0">
                <a:latin typeface="+mj-lt"/>
              </a:rPr>
              <a:t>devrait compter </a:t>
            </a:r>
            <a:r>
              <a:rPr lang="fr-FR" sz="1200" b="1" dirty="0" smtClean="0">
                <a:latin typeface="+mj-lt"/>
              </a:rPr>
              <a:t>4 giga-</a:t>
            </a:r>
            <a:r>
              <a:rPr lang="fr-FR" sz="1200" b="1" dirty="0" err="1" smtClean="0">
                <a:latin typeface="+mj-lt"/>
              </a:rPr>
              <a:t>factories</a:t>
            </a:r>
            <a:r>
              <a:rPr lang="fr-FR" sz="1200" b="1" dirty="0" smtClean="0">
                <a:latin typeface="+mj-lt"/>
              </a:rPr>
              <a:t> </a:t>
            </a:r>
            <a:r>
              <a:rPr lang="fr-FR" sz="1200" dirty="0" smtClean="0">
                <a:latin typeface="+mj-lt"/>
              </a:rPr>
              <a:t>de batteries à horizon 2030</a:t>
            </a:r>
          </a:p>
          <a:p>
            <a:pPr marL="285750" indent="-285750" algn="just" defTabSz="914377">
              <a:lnSpc>
                <a:spcPct val="101000"/>
              </a:lnSpc>
              <a:spcAft>
                <a:spcPts val="600"/>
              </a:spcAft>
              <a:buClr>
                <a:schemeClr val="tx2"/>
              </a:buClr>
              <a:buFont typeface="Wingdings" panose="05000000000000000000" pitchFamily="2" charset="2"/>
              <a:buChar char="q"/>
            </a:pPr>
            <a:r>
              <a:rPr lang="fr-FR" sz="1200" dirty="0" smtClean="0">
                <a:latin typeface="+mj-lt"/>
              </a:rPr>
              <a:t>La promotion 2023 de la </a:t>
            </a:r>
            <a:r>
              <a:rPr lang="fr-FR" sz="1200" b="1" dirty="0" smtClean="0">
                <a:latin typeface="+mj-lt"/>
              </a:rPr>
              <a:t>French Tech </a:t>
            </a:r>
            <a:r>
              <a:rPr lang="fr-FR" sz="1200" b="1" dirty="0" err="1" smtClean="0">
                <a:latin typeface="+mj-lt"/>
              </a:rPr>
              <a:t>Next</a:t>
            </a:r>
            <a:r>
              <a:rPr lang="fr-FR" sz="1200" b="1" dirty="0" smtClean="0">
                <a:latin typeface="+mj-lt"/>
              </a:rPr>
              <a:t> 40</a:t>
            </a:r>
            <a:r>
              <a:rPr lang="fr-FR" sz="1200" dirty="0" smtClean="0">
                <a:latin typeface="+mj-lt"/>
              </a:rPr>
              <a:t>, club des start-ups françaises ayant atteint le statut de licorne ou ayant levé plus de 150 M€, a vu l’entrée de </a:t>
            </a:r>
            <a:r>
              <a:rPr lang="fr-FR" sz="1200" b="1" dirty="0" smtClean="0">
                <a:latin typeface="+mj-lt"/>
              </a:rPr>
              <a:t>4 nouveaux membres </a:t>
            </a:r>
            <a:r>
              <a:rPr lang="fr-FR" sz="1200" dirty="0" smtClean="0">
                <a:latin typeface="+mj-lt"/>
              </a:rPr>
              <a:t>issus du secteur de la </a:t>
            </a:r>
            <a:r>
              <a:rPr lang="fr-FR" sz="1200" b="1" dirty="0" smtClean="0">
                <a:latin typeface="+mj-lt"/>
              </a:rPr>
              <a:t>mobilité électrique </a:t>
            </a:r>
            <a:r>
              <a:rPr lang="fr-FR" sz="1200" dirty="0" smtClean="0">
                <a:latin typeface="+mj-lt"/>
              </a:rPr>
              <a:t>: </a:t>
            </a:r>
            <a:r>
              <a:rPr lang="fr-FR" sz="1200" b="1" dirty="0" smtClean="0">
                <a:latin typeface="+mj-lt"/>
              </a:rPr>
              <a:t>NW (licorne), </a:t>
            </a:r>
            <a:r>
              <a:rPr lang="fr-FR" sz="1200" b="1" dirty="0" err="1" smtClean="0">
                <a:latin typeface="+mj-lt"/>
              </a:rPr>
              <a:t>Verkor</a:t>
            </a:r>
            <a:r>
              <a:rPr lang="fr-FR" sz="1200" b="1" dirty="0" smtClean="0">
                <a:latin typeface="+mj-lt"/>
              </a:rPr>
              <a:t>, </a:t>
            </a:r>
            <a:r>
              <a:rPr lang="fr-FR" sz="1200" b="1" dirty="0" err="1" smtClean="0">
                <a:latin typeface="+mj-lt"/>
              </a:rPr>
              <a:t>Ze</a:t>
            </a:r>
            <a:r>
              <a:rPr lang="fr-FR" sz="1200" b="1" dirty="0" smtClean="0">
                <a:latin typeface="+mj-lt"/>
              </a:rPr>
              <a:t> Plug et </a:t>
            </a:r>
            <a:r>
              <a:rPr lang="fr-FR" sz="1200" b="1" dirty="0" err="1" smtClean="0">
                <a:latin typeface="+mj-lt"/>
              </a:rPr>
              <a:t>Electra</a:t>
            </a:r>
            <a:endParaRPr lang="fr-FR" sz="1200" b="1" dirty="0" smtClean="0">
              <a:latin typeface="+mj-lt"/>
            </a:endParaRPr>
          </a:p>
        </p:txBody>
      </p:sp>
      <p:pic>
        <p:nvPicPr>
          <p:cNvPr id="34" name="Image 33"/>
          <p:cNvPicPr>
            <a:picLocks noChangeAspect="1"/>
          </p:cNvPicPr>
          <p:nvPr/>
        </p:nvPicPr>
        <p:blipFill>
          <a:blip r:embed="rId14"/>
          <a:stretch>
            <a:fillRect/>
          </a:stretch>
        </p:blipFill>
        <p:spPr>
          <a:xfrm>
            <a:off x="409842" y="4917057"/>
            <a:ext cx="5190147" cy="1300212"/>
          </a:xfrm>
          <a:prstGeom prst="rect">
            <a:avLst/>
          </a:prstGeom>
          <a:solidFill>
            <a:schemeClr val="bg1"/>
          </a:solidFill>
          <a:effectLst>
            <a:outerShdw blurRad="50800" dist="76200" dir="2700000" algn="tl" rotWithShape="0">
              <a:prstClr val="black">
                <a:alpha val="40000"/>
              </a:prstClr>
            </a:outerShdw>
          </a:effectLst>
        </p:spPr>
      </p:pic>
      <p:pic>
        <p:nvPicPr>
          <p:cNvPr id="19" name="Image 18"/>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777507" y="5885977"/>
            <a:ext cx="672804" cy="229980"/>
          </a:xfrm>
          <a:prstGeom prst="rect">
            <a:avLst/>
          </a:prstGeom>
        </p:spPr>
      </p:pic>
      <p:sp>
        <p:nvSpPr>
          <p:cNvPr id="35" name="Rectangle 34"/>
          <p:cNvSpPr/>
          <p:nvPr/>
        </p:nvSpPr>
        <p:spPr>
          <a:xfrm>
            <a:off x="10870522" y="201476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500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39" name="Rectangle 38"/>
          <p:cNvSpPr/>
          <p:nvPr/>
        </p:nvSpPr>
        <p:spPr>
          <a:xfrm>
            <a:off x="10870523" y="240000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300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0" name="Rectangle 39"/>
          <p:cNvSpPr/>
          <p:nvPr/>
        </p:nvSpPr>
        <p:spPr>
          <a:xfrm>
            <a:off x="10870523" y="278524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250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1" name="Rectangle 40"/>
          <p:cNvSpPr/>
          <p:nvPr/>
        </p:nvSpPr>
        <p:spPr>
          <a:xfrm>
            <a:off x="10870523" y="317048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250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2" name="Rectangle 41"/>
          <p:cNvSpPr/>
          <p:nvPr/>
        </p:nvSpPr>
        <p:spPr>
          <a:xfrm>
            <a:off x="10870523" y="355572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240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3" name="Rectangle 42"/>
          <p:cNvSpPr/>
          <p:nvPr/>
        </p:nvSpPr>
        <p:spPr>
          <a:xfrm>
            <a:off x="10870523" y="394096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180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4" name="Rectangle 43"/>
          <p:cNvSpPr/>
          <p:nvPr/>
        </p:nvSpPr>
        <p:spPr>
          <a:xfrm>
            <a:off x="10870523" y="432620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180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5" name="Rectangle 44"/>
          <p:cNvSpPr/>
          <p:nvPr/>
        </p:nvSpPr>
        <p:spPr>
          <a:xfrm>
            <a:off x="10870523" y="471144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160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6" name="Rectangle 45"/>
          <p:cNvSpPr/>
          <p:nvPr/>
        </p:nvSpPr>
        <p:spPr>
          <a:xfrm>
            <a:off x="10870523" y="509668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27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7" name="Rectangle 46"/>
          <p:cNvSpPr/>
          <p:nvPr/>
        </p:nvSpPr>
        <p:spPr>
          <a:xfrm>
            <a:off x="10870523" y="548192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12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8" name="Rectangle 47"/>
          <p:cNvSpPr/>
          <p:nvPr/>
        </p:nvSpPr>
        <p:spPr>
          <a:xfrm>
            <a:off x="10870521" y="5867165"/>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12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9" name="Rectangle 48"/>
          <p:cNvSpPr/>
          <p:nvPr/>
        </p:nvSpPr>
        <p:spPr>
          <a:xfrm>
            <a:off x="9966527" y="2036530"/>
            <a:ext cx="745993" cy="261610"/>
          </a:xfrm>
          <a:prstGeom prst="rect">
            <a:avLst/>
          </a:prstGeom>
          <a:noFill/>
        </p:spPr>
        <p:txBody>
          <a:bodyPr wrap="square" lIns="91440" tIns="45720" rIns="91440" bIns="45720">
            <a:spAutoFit/>
          </a:bodyPr>
          <a:lstStyle/>
          <a:p>
            <a:pPr algn="r"/>
            <a:r>
              <a:rPr lang="fr-FR" sz="1100" i="1" dirty="0" err="1" smtClean="0">
                <a:ln w="0"/>
                <a:solidFill>
                  <a:srgbClr val="002060"/>
                </a:solidFill>
                <a:effectLst>
                  <a:outerShdw blurRad="38100" dist="25400" dir="5400000" algn="ctr" rotWithShape="0">
                    <a:srgbClr val="6E747A">
                      <a:alpha val="43000"/>
                    </a:srgbClr>
                  </a:outerShdw>
                </a:effectLst>
                <a:latin typeface="+mj-lt"/>
              </a:rPr>
              <a:t>Fév</a:t>
            </a:r>
            <a:r>
              <a:rPr lang="fr-FR" sz="1100" i="1" dirty="0" smtClean="0">
                <a:ln w="0"/>
                <a:solidFill>
                  <a:srgbClr val="002060"/>
                </a:solidFill>
                <a:effectLst>
                  <a:outerShdw blurRad="38100" dist="25400" dir="5400000" algn="ctr" rotWithShape="0">
                    <a:srgbClr val="6E747A">
                      <a:alpha val="43000"/>
                    </a:srgbClr>
                  </a:outerShdw>
                </a:effectLst>
                <a:latin typeface="+mj-lt"/>
              </a:rPr>
              <a:t> 22</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0" name="Rectangle 49"/>
          <p:cNvSpPr/>
          <p:nvPr/>
        </p:nvSpPr>
        <p:spPr>
          <a:xfrm>
            <a:off x="9966528" y="2416377"/>
            <a:ext cx="745993" cy="267603"/>
          </a:xfrm>
          <a:prstGeom prst="rect">
            <a:avLst/>
          </a:prstGeom>
          <a:noFill/>
        </p:spPr>
        <p:txBody>
          <a:bodyPr wrap="square" lIns="91440" tIns="45720" rIns="91440" bIns="45720">
            <a:spAutoFit/>
          </a:bodyPr>
          <a:lstStyle/>
          <a:p>
            <a:pPr algn="r"/>
            <a:r>
              <a:rPr lang="fr-FR" sz="1100" i="1" dirty="0" smtClean="0">
                <a:ln w="0"/>
                <a:solidFill>
                  <a:srgbClr val="002060"/>
                </a:solidFill>
                <a:effectLst>
                  <a:outerShdw blurRad="38100" dist="25400" dir="5400000" algn="ctr" rotWithShape="0">
                    <a:srgbClr val="6E747A">
                      <a:alpha val="43000"/>
                    </a:srgbClr>
                  </a:outerShdw>
                </a:effectLst>
                <a:latin typeface="+mj-lt"/>
              </a:rPr>
              <a:t>Juin 22</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1" name="Rectangle 50"/>
          <p:cNvSpPr/>
          <p:nvPr/>
        </p:nvSpPr>
        <p:spPr>
          <a:xfrm>
            <a:off x="9966528" y="2802217"/>
            <a:ext cx="745993" cy="267603"/>
          </a:xfrm>
          <a:prstGeom prst="rect">
            <a:avLst/>
          </a:prstGeom>
          <a:noFill/>
        </p:spPr>
        <p:txBody>
          <a:bodyPr wrap="square" lIns="91440" tIns="45720" rIns="91440" bIns="45720">
            <a:spAutoFit/>
          </a:bodyPr>
          <a:lstStyle/>
          <a:p>
            <a:pPr algn="r"/>
            <a:r>
              <a:rPr lang="fr-FR" sz="1100" i="1" dirty="0" err="1" smtClean="0">
                <a:ln w="0"/>
                <a:solidFill>
                  <a:srgbClr val="002060"/>
                </a:solidFill>
                <a:effectLst>
                  <a:outerShdw blurRad="38100" dist="25400" dir="5400000" algn="ctr" rotWithShape="0">
                    <a:srgbClr val="6E747A">
                      <a:alpha val="43000"/>
                    </a:srgbClr>
                  </a:outerShdw>
                </a:effectLst>
                <a:latin typeface="+mj-lt"/>
              </a:rPr>
              <a:t>Nov</a:t>
            </a:r>
            <a:r>
              <a:rPr lang="fr-FR" sz="1100" i="1" dirty="0" smtClean="0">
                <a:ln w="0"/>
                <a:solidFill>
                  <a:srgbClr val="002060"/>
                </a:solidFill>
                <a:effectLst>
                  <a:outerShdw blurRad="38100" dist="25400" dir="5400000" algn="ctr" rotWithShape="0">
                    <a:srgbClr val="6E747A">
                      <a:alpha val="43000"/>
                    </a:srgbClr>
                  </a:outerShdw>
                </a:effectLst>
                <a:latin typeface="+mj-lt"/>
              </a:rPr>
              <a:t> 22</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2" name="Rectangle 51"/>
          <p:cNvSpPr/>
          <p:nvPr/>
        </p:nvSpPr>
        <p:spPr>
          <a:xfrm>
            <a:off x="9966528" y="3188057"/>
            <a:ext cx="745993" cy="267603"/>
          </a:xfrm>
          <a:prstGeom prst="rect">
            <a:avLst/>
          </a:prstGeom>
          <a:noFill/>
        </p:spPr>
        <p:txBody>
          <a:bodyPr wrap="square" lIns="91440" tIns="45720" rIns="91440" bIns="45720">
            <a:spAutoFit/>
          </a:bodyPr>
          <a:lstStyle/>
          <a:p>
            <a:pPr algn="r"/>
            <a:r>
              <a:rPr lang="fr-FR" sz="1100" i="1" dirty="0" smtClean="0">
                <a:ln w="0"/>
                <a:solidFill>
                  <a:srgbClr val="002060"/>
                </a:solidFill>
                <a:effectLst>
                  <a:outerShdw blurRad="38100" dist="25400" dir="5400000" algn="ctr" rotWithShape="0">
                    <a:srgbClr val="6E747A">
                      <a:alpha val="43000"/>
                    </a:srgbClr>
                  </a:outerShdw>
                </a:effectLst>
                <a:latin typeface="+mj-lt"/>
              </a:rPr>
              <a:t>Mai 23</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3" name="Rectangle 52"/>
          <p:cNvSpPr/>
          <p:nvPr/>
        </p:nvSpPr>
        <p:spPr>
          <a:xfrm>
            <a:off x="9966528" y="3573897"/>
            <a:ext cx="745993" cy="267603"/>
          </a:xfrm>
          <a:prstGeom prst="rect">
            <a:avLst/>
          </a:prstGeom>
          <a:noFill/>
        </p:spPr>
        <p:txBody>
          <a:bodyPr wrap="square" lIns="91440" tIns="45720" rIns="91440" bIns="45720">
            <a:spAutoFit/>
          </a:bodyPr>
          <a:lstStyle/>
          <a:p>
            <a:pPr algn="r"/>
            <a:r>
              <a:rPr lang="fr-FR" sz="1100" i="1" dirty="0" smtClean="0">
                <a:ln w="0"/>
                <a:solidFill>
                  <a:srgbClr val="002060"/>
                </a:solidFill>
                <a:effectLst>
                  <a:outerShdw blurRad="38100" dist="25400" dir="5400000" algn="ctr" rotWithShape="0">
                    <a:srgbClr val="6E747A">
                      <a:alpha val="43000"/>
                    </a:srgbClr>
                  </a:outerShdw>
                </a:effectLst>
                <a:latin typeface="+mj-lt"/>
              </a:rPr>
              <a:t>Sept 22</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4" name="Rectangle 53"/>
          <p:cNvSpPr/>
          <p:nvPr/>
        </p:nvSpPr>
        <p:spPr>
          <a:xfrm>
            <a:off x="9966528" y="3959737"/>
            <a:ext cx="745993" cy="267603"/>
          </a:xfrm>
          <a:prstGeom prst="rect">
            <a:avLst/>
          </a:prstGeom>
          <a:noFill/>
        </p:spPr>
        <p:txBody>
          <a:bodyPr wrap="square" lIns="91440" tIns="45720" rIns="91440" bIns="45720">
            <a:spAutoFit/>
          </a:bodyPr>
          <a:lstStyle/>
          <a:p>
            <a:pPr algn="r"/>
            <a:r>
              <a:rPr lang="fr-FR" sz="1100" i="1" dirty="0" smtClean="0">
                <a:ln w="0"/>
                <a:solidFill>
                  <a:srgbClr val="002060"/>
                </a:solidFill>
                <a:effectLst>
                  <a:outerShdw blurRad="38100" dist="25400" dir="5400000" algn="ctr" rotWithShape="0">
                    <a:srgbClr val="6E747A">
                      <a:alpha val="43000"/>
                    </a:srgbClr>
                  </a:outerShdw>
                </a:effectLst>
                <a:latin typeface="+mj-lt"/>
              </a:rPr>
              <a:t>Sept 22</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5" name="Rectangle 54"/>
          <p:cNvSpPr/>
          <p:nvPr/>
        </p:nvSpPr>
        <p:spPr>
          <a:xfrm>
            <a:off x="9966528" y="4345577"/>
            <a:ext cx="745993" cy="267603"/>
          </a:xfrm>
          <a:prstGeom prst="rect">
            <a:avLst/>
          </a:prstGeom>
          <a:noFill/>
        </p:spPr>
        <p:txBody>
          <a:bodyPr wrap="square" lIns="91440" tIns="45720" rIns="91440" bIns="45720">
            <a:spAutoFit/>
          </a:bodyPr>
          <a:lstStyle/>
          <a:p>
            <a:pPr algn="r"/>
            <a:r>
              <a:rPr lang="fr-FR" sz="1100" i="1" dirty="0" err="1" smtClean="0">
                <a:ln w="0"/>
                <a:solidFill>
                  <a:srgbClr val="002060"/>
                </a:solidFill>
                <a:effectLst>
                  <a:outerShdw blurRad="38100" dist="25400" dir="5400000" algn="ctr" rotWithShape="0">
                    <a:srgbClr val="6E747A">
                      <a:alpha val="43000"/>
                    </a:srgbClr>
                  </a:outerShdw>
                </a:effectLst>
                <a:latin typeface="+mj-lt"/>
              </a:rPr>
              <a:t>Nov</a:t>
            </a:r>
            <a:r>
              <a:rPr lang="fr-FR" sz="1100" i="1" dirty="0" smtClean="0">
                <a:ln w="0"/>
                <a:solidFill>
                  <a:srgbClr val="002060"/>
                </a:solidFill>
                <a:effectLst>
                  <a:outerShdw blurRad="38100" dist="25400" dir="5400000" algn="ctr" rotWithShape="0">
                    <a:srgbClr val="6E747A">
                      <a:alpha val="43000"/>
                    </a:srgbClr>
                  </a:outerShdw>
                </a:effectLst>
                <a:latin typeface="+mj-lt"/>
              </a:rPr>
              <a:t> 22</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6" name="Rectangle 55"/>
          <p:cNvSpPr/>
          <p:nvPr/>
        </p:nvSpPr>
        <p:spPr>
          <a:xfrm>
            <a:off x="9966528" y="4731417"/>
            <a:ext cx="745993" cy="267603"/>
          </a:xfrm>
          <a:prstGeom prst="rect">
            <a:avLst/>
          </a:prstGeom>
          <a:noFill/>
        </p:spPr>
        <p:txBody>
          <a:bodyPr wrap="square" lIns="91440" tIns="45720" rIns="91440" bIns="45720">
            <a:spAutoFit/>
          </a:bodyPr>
          <a:lstStyle/>
          <a:p>
            <a:pPr algn="r"/>
            <a:r>
              <a:rPr lang="fr-FR" sz="1100" i="1" dirty="0" smtClean="0">
                <a:ln w="0"/>
                <a:solidFill>
                  <a:srgbClr val="002060"/>
                </a:solidFill>
                <a:effectLst>
                  <a:outerShdw blurRad="38100" dist="25400" dir="5400000" algn="ctr" rotWithShape="0">
                    <a:srgbClr val="6E747A">
                      <a:alpha val="43000"/>
                    </a:srgbClr>
                  </a:outerShdw>
                </a:effectLst>
                <a:latin typeface="+mj-lt"/>
              </a:rPr>
              <a:t>Juin 22</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7" name="Rectangle 56"/>
          <p:cNvSpPr/>
          <p:nvPr/>
        </p:nvSpPr>
        <p:spPr>
          <a:xfrm>
            <a:off x="9966528" y="5117257"/>
            <a:ext cx="745993" cy="267603"/>
          </a:xfrm>
          <a:prstGeom prst="rect">
            <a:avLst/>
          </a:prstGeom>
          <a:noFill/>
        </p:spPr>
        <p:txBody>
          <a:bodyPr wrap="square" lIns="91440" tIns="45720" rIns="91440" bIns="45720">
            <a:spAutoFit/>
          </a:bodyPr>
          <a:lstStyle/>
          <a:p>
            <a:pPr algn="r"/>
            <a:r>
              <a:rPr lang="fr-FR" sz="1100" i="1" dirty="0" smtClean="0">
                <a:ln w="0"/>
                <a:solidFill>
                  <a:srgbClr val="002060"/>
                </a:solidFill>
                <a:effectLst>
                  <a:outerShdw blurRad="38100" dist="25400" dir="5400000" algn="ctr" rotWithShape="0">
                    <a:srgbClr val="6E747A">
                      <a:alpha val="43000"/>
                    </a:srgbClr>
                  </a:outerShdw>
                </a:effectLst>
                <a:latin typeface="+mj-lt"/>
              </a:rPr>
              <a:t>Mars 23</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8" name="Rectangle 57"/>
          <p:cNvSpPr/>
          <p:nvPr/>
        </p:nvSpPr>
        <p:spPr>
          <a:xfrm>
            <a:off x="9966528" y="5503097"/>
            <a:ext cx="745993" cy="267603"/>
          </a:xfrm>
          <a:prstGeom prst="rect">
            <a:avLst/>
          </a:prstGeom>
          <a:noFill/>
        </p:spPr>
        <p:txBody>
          <a:bodyPr wrap="square" lIns="91440" tIns="45720" rIns="91440" bIns="45720">
            <a:spAutoFit/>
          </a:bodyPr>
          <a:lstStyle/>
          <a:p>
            <a:pPr algn="r"/>
            <a:r>
              <a:rPr lang="fr-FR" sz="1100" i="1" dirty="0" err="1" smtClean="0">
                <a:ln w="0"/>
                <a:solidFill>
                  <a:srgbClr val="002060"/>
                </a:solidFill>
                <a:effectLst>
                  <a:outerShdw blurRad="38100" dist="25400" dir="5400000" algn="ctr" rotWithShape="0">
                    <a:srgbClr val="6E747A">
                      <a:alpha val="43000"/>
                    </a:srgbClr>
                  </a:outerShdw>
                </a:effectLst>
                <a:latin typeface="+mj-lt"/>
              </a:rPr>
              <a:t>Fév</a:t>
            </a:r>
            <a:r>
              <a:rPr lang="fr-FR" sz="1100" i="1" dirty="0" smtClean="0">
                <a:ln w="0"/>
                <a:solidFill>
                  <a:srgbClr val="002060"/>
                </a:solidFill>
                <a:effectLst>
                  <a:outerShdw blurRad="38100" dist="25400" dir="5400000" algn="ctr" rotWithShape="0">
                    <a:srgbClr val="6E747A">
                      <a:alpha val="43000"/>
                    </a:srgbClr>
                  </a:outerShdw>
                </a:effectLst>
                <a:latin typeface="+mj-lt"/>
              </a:rPr>
              <a:t> 23</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9" name="Rectangle 58"/>
          <p:cNvSpPr/>
          <p:nvPr/>
        </p:nvSpPr>
        <p:spPr>
          <a:xfrm>
            <a:off x="9966526" y="5888933"/>
            <a:ext cx="745993" cy="267603"/>
          </a:xfrm>
          <a:prstGeom prst="rect">
            <a:avLst/>
          </a:prstGeom>
          <a:noFill/>
        </p:spPr>
        <p:txBody>
          <a:bodyPr wrap="square" lIns="91440" tIns="45720" rIns="91440" bIns="45720">
            <a:spAutoFit/>
          </a:bodyPr>
          <a:lstStyle/>
          <a:p>
            <a:pPr algn="r"/>
            <a:r>
              <a:rPr lang="fr-FR" sz="1100" i="1" dirty="0" err="1" smtClean="0">
                <a:ln w="0"/>
                <a:solidFill>
                  <a:srgbClr val="002060"/>
                </a:solidFill>
                <a:effectLst>
                  <a:outerShdw blurRad="38100" dist="25400" dir="5400000" algn="ctr" rotWithShape="0">
                    <a:srgbClr val="6E747A">
                      <a:alpha val="43000"/>
                    </a:srgbClr>
                  </a:outerShdw>
                </a:effectLst>
                <a:latin typeface="+mj-lt"/>
              </a:rPr>
              <a:t>Fév</a:t>
            </a:r>
            <a:r>
              <a:rPr lang="fr-FR" sz="1100" i="1" dirty="0" smtClean="0">
                <a:ln w="0"/>
                <a:solidFill>
                  <a:srgbClr val="002060"/>
                </a:solidFill>
                <a:effectLst>
                  <a:outerShdw blurRad="38100" dist="25400" dir="5400000" algn="ctr" rotWithShape="0">
                    <a:srgbClr val="6E747A">
                      <a:alpha val="43000"/>
                    </a:srgbClr>
                  </a:outerShdw>
                </a:effectLst>
                <a:latin typeface="+mj-lt"/>
              </a:rPr>
              <a:t> 23</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61" name="Slide Number Placeholder 3">
            <a:extLst>
              <a:ext uri="{FF2B5EF4-FFF2-40B4-BE49-F238E27FC236}">
                <a16:creationId xmlns:a16="http://schemas.microsoft.com/office/drawing/2014/main" id="{29869B0A-245E-6617-42EE-AD9F74932BA2}"/>
              </a:ext>
            </a:extLst>
          </p:cNvPr>
          <p:cNvSpPr txBox="1">
            <a:spLocks/>
          </p:cNvSpPr>
          <p:nvPr/>
        </p:nvSpPr>
        <p:spPr>
          <a:xfrm>
            <a:off x="11203781" y="6514718"/>
            <a:ext cx="465150" cy="154849"/>
          </a:xfrm>
          <a:prstGeom prst="rect">
            <a:avLst/>
          </a:prstGeom>
        </p:spPr>
        <p:txBody>
          <a:bodyPr vert="horz" lIns="0" tIns="0" rIns="0" bIns="0" rtlCol="0" anchor="ctr"/>
          <a:lstStyle>
            <a:defPPr>
              <a:defRPr lang="en-US"/>
            </a:defPPr>
            <a:lvl1pPr marL="0" algn="r" defTabSz="609585" rtl="0" eaLnBrk="1" latinLnBrk="0" hangingPunct="1">
              <a:defRPr sz="750" b="1" kern="1200">
                <a:solidFill>
                  <a:schemeClr val="tx2"/>
                </a:solidFill>
                <a:latin typeface="+mj-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6B54B0F7-55DD-40D6-B7F4-70B586885C0B}" type="slidenum">
              <a:rPr lang="fr-FR" sz="800" smtClean="0"/>
              <a:pPr/>
              <a:t>5</a:t>
            </a:fld>
            <a:endParaRPr lang="fr-FR" sz="800" dirty="0"/>
          </a:p>
        </p:txBody>
      </p:sp>
      <p:pic>
        <p:nvPicPr>
          <p:cNvPr id="21" name="Image 20"/>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709378" y="1744771"/>
            <a:ext cx="2835888" cy="2976415"/>
          </a:xfrm>
          <a:prstGeom prst="rect">
            <a:avLst/>
          </a:prstGeom>
          <a:solidFill>
            <a:schemeClr val="bg1"/>
          </a:solidFill>
          <a:effectLst>
            <a:outerShdw blurRad="50800" dist="76200" dir="2700000" algn="tl" rotWithShape="0">
              <a:prstClr val="black">
                <a:alpha val="40000"/>
              </a:prstClr>
            </a:outerShdw>
          </a:effectLst>
        </p:spPr>
      </p:pic>
      <p:sp>
        <p:nvSpPr>
          <p:cNvPr id="12" name="ZoneTexte 11"/>
          <p:cNvSpPr txBox="1"/>
          <p:nvPr/>
        </p:nvSpPr>
        <p:spPr>
          <a:xfrm>
            <a:off x="9198654" y="1652397"/>
            <a:ext cx="1138453" cy="338554"/>
          </a:xfrm>
          <a:prstGeom prst="rect">
            <a:avLst/>
          </a:prstGeom>
          <a:solidFill>
            <a:schemeClr val="bg1"/>
          </a:solidFill>
        </p:spPr>
        <p:txBody>
          <a:bodyPr wrap="none" rtlCol="0">
            <a:spAutoFit/>
          </a:bodyPr>
          <a:lstStyle/>
          <a:p>
            <a:r>
              <a:rPr lang="fr-FR" sz="1600" b="1" dirty="0" smtClean="0">
                <a:ln w="0"/>
                <a:solidFill>
                  <a:schemeClr val="accent3"/>
                </a:solidFill>
                <a:effectLst>
                  <a:outerShdw blurRad="38100" dist="25400" dir="5400000" algn="ctr" rotWithShape="0">
                    <a:srgbClr val="6E747A">
                      <a:alpha val="43000"/>
                    </a:srgbClr>
                  </a:outerShdw>
                </a:effectLst>
                <a:latin typeface="+mj-lt"/>
              </a:rPr>
              <a:t>~ 2.1 </a:t>
            </a:r>
            <a:r>
              <a:rPr lang="fr-FR" sz="1600" b="1" dirty="0">
                <a:ln w="0"/>
                <a:solidFill>
                  <a:schemeClr val="accent3"/>
                </a:solidFill>
                <a:effectLst>
                  <a:outerShdw blurRad="38100" dist="25400" dir="5400000" algn="ctr" rotWithShape="0">
                    <a:srgbClr val="6E747A">
                      <a:alpha val="43000"/>
                    </a:srgbClr>
                  </a:outerShdw>
                </a:effectLst>
                <a:latin typeface="+mj-lt"/>
              </a:rPr>
              <a:t>Md</a:t>
            </a:r>
            <a:r>
              <a:rPr lang="fr-FR" sz="1600" b="1" dirty="0" smtClean="0">
                <a:ln w="0"/>
                <a:solidFill>
                  <a:schemeClr val="accent3"/>
                </a:solidFill>
                <a:effectLst>
                  <a:outerShdw blurRad="38100" dist="25400" dir="5400000" algn="ctr" rotWithShape="0">
                    <a:srgbClr val="6E747A">
                      <a:alpha val="43000"/>
                    </a:srgbClr>
                  </a:outerShdw>
                </a:effectLst>
                <a:latin typeface="+mj-lt"/>
              </a:rPr>
              <a:t>€</a:t>
            </a:r>
            <a:endParaRPr lang="fr-FR" sz="1600" b="1" dirty="0">
              <a:ln w="0"/>
              <a:solidFill>
                <a:schemeClr val="accent3"/>
              </a:solidFill>
              <a:effectLst>
                <a:outerShdw blurRad="38100" dist="25400" dir="5400000" algn="ctr" rotWithShape="0">
                  <a:srgbClr val="6E747A">
                    <a:alpha val="43000"/>
                  </a:srgbClr>
                </a:outerShdw>
              </a:effectLst>
              <a:latin typeface="+mj-lt"/>
            </a:endParaRPr>
          </a:p>
        </p:txBody>
      </p:sp>
    </p:spTree>
    <p:extLst>
      <p:ext uri="{BB962C8B-B14F-4D97-AF65-F5344CB8AC3E}">
        <p14:creationId xmlns:p14="http://schemas.microsoft.com/office/powerpoint/2010/main" val="486641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3" name="Rectangle 62"/>
          <p:cNvSpPr/>
          <p:nvPr/>
        </p:nvSpPr>
        <p:spPr>
          <a:xfrm>
            <a:off x="5658947" y="1282167"/>
            <a:ext cx="2886319" cy="461665"/>
          </a:xfrm>
          <a:prstGeom prst="rect">
            <a:avLst/>
          </a:prstGeom>
          <a:solidFill>
            <a:schemeClr val="bg1"/>
          </a:solidFill>
          <a:effectLst>
            <a:outerShdw blurRad="50800" dist="76200" dir="2700000" algn="tl" rotWithShape="0">
              <a:prstClr val="black">
                <a:alpha val="40000"/>
              </a:prstClr>
            </a:outerShdw>
          </a:effectLst>
        </p:spPr>
        <p:txBody>
          <a:bodyPr wrap="square" lIns="91440" tIns="45720" rIns="91440" bIns="45720">
            <a:spAutoFit/>
          </a:bodyPr>
          <a:lstStyle/>
          <a:p>
            <a:r>
              <a:rPr lang="fr-FR" sz="1200" b="1" dirty="0" smtClean="0">
                <a:ln w="0"/>
                <a:solidFill>
                  <a:schemeClr val="accent3"/>
                </a:solidFill>
                <a:latin typeface="+mj-lt"/>
              </a:rPr>
              <a:t>Projets de giga-</a:t>
            </a:r>
            <a:r>
              <a:rPr lang="fr-FR" sz="1200" b="1" dirty="0" err="1" smtClean="0">
                <a:ln w="0"/>
                <a:solidFill>
                  <a:schemeClr val="accent3"/>
                </a:solidFill>
                <a:latin typeface="+mj-lt"/>
              </a:rPr>
              <a:t>factories</a:t>
            </a:r>
            <a:r>
              <a:rPr lang="fr-FR" sz="1200" b="1" dirty="0" smtClean="0">
                <a:ln w="0"/>
                <a:solidFill>
                  <a:schemeClr val="accent3"/>
                </a:solidFill>
                <a:latin typeface="+mj-lt"/>
              </a:rPr>
              <a:t> de batteries en Europe</a:t>
            </a:r>
            <a:endParaRPr lang="fr-FR" sz="1200" b="1" cap="none" spc="0" dirty="0">
              <a:ln w="0"/>
              <a:solidFill>
                <a:schemeClr val="accent3"/>
              </a:solidFill>
              <a:effectLst>
                <a:outerShdw blurRad="38100" dist="25400" dir="5400000" algn="ctr" rotWithShape="0">
                  <a:srgbClr val="6E747A">
                    <a:alpha val="43000"/>
                  </a:srgbClr>
                </a:outerShdw>
              </a:effectLst>
              <a:latin typeface="+mj-lt"/>
            </a:endParaRPr>
          </a:p>
        </p:txBody>
      </p:sp>
      <p:sp>
        <p:nvSpPr>
          <p:cNvPr id="60" name="Rectangle 59"/>
          <p:cNvSpPr/>
          <p:nvPr/>
        </p:nvSpPr>
        <p:spPr>
          <a:xfrm>
            <a:off x="8621486" y="1279268"/>
            <a:ext cx="3078290" cy="4941218"/>
          </a:xfrm>
          <a:prstGeom prst="rect">
            <a:avLst/>
          </a:prstGeom>
          <a:solidFill>
            <a:schemeClr val="bg1"/>
          </a:solidFill>
          <a:effectLst>
            <a:outerShdw blurRad="50800" dist="76200" dir="2700000" algn="tl" rotWithShape="0">
              <a:prstClr val="black">
                <a:alpha val="40000"/>
              </a:prstClr>
            </a:outerShdw>
          </a:effectLst>
        </p:spPr>
        <p:txBody>
          <a:bodyPr wrap="square" anchor="ctr" anchorCtr="1">
            <a:noAutofit/>
          </a:bodyPr>
          <a:lstStyle/>
          <a:p>
            <a:pPr defTabSz="914377">
              <a:lnSpc>
                <a:spcPct val="101000"/>
              </a:lnSpc>
              <a:spcAft>
                <a:spcPts val="600"/>
              </a:spcAft>
              <a:buClr>
                <a:schemeClr val="tx2"/>
              </a:buClr>
            </a:pPr>
            <a:endParaRPr lang="fr-FR" sz="800" dirty="0">
              <a:latin typeface="+mj-lt"/>
            </a:endParaRPr>
          </a:p>
        </p:txBody>
      </p:sp>
      <p:sp>
        <p:nvSpPr>
          <p:cNvPr id="2" name="Titre 1"/>
          <p:cNvSpPr>
            <a:spLocks noGrp="1"/>
          </p:cNvSpPr>
          <p:nvPr>
            <p:ph type="title"/>
          </p:nvPr>
        </p:nvSpPr>
        <p:spPr>
          <a:xfrm>
            <a:off x="378184" y="213380"/>
            <a:ext cx="11629785" cy="775597"/>
          </a:xfrm>
        </p:spPr>
        <p:txBody>
          <a:bodyPr/>
          <a:lstStyle/>
          <a:p>
            <a:r>
              <a:rPr lang="fr-FR" sz="2800" dirty="0" smtClean="0"/>
              <a:t>Le secteur de la mobilité électrique en France – recharge, batterie - a concentré plus de 2 </a:t>
            </a:r>
            <a:r>
              <a:rPr lang="fr-FR" sz="2800" dirty="0" smtClean="0">
                <a:solidFill>
                  <a:schemeClr val="accent3"/>
                </a:solidFill>
              </a:rPr>
              <a:t>4.5</a:t>
            </a:r>
            <a:r>
              <a:rPr lang="fr-FR" sz="2800" dirty="0" smtClean="0"/>
              <a:t> milliards de levées de fonds en un </a:t>
            </a:r>
            <a:r>
              <a:rPr lang="fr-FR" sz="2800" dirty="0" smtClean="0">
                <a:solidFill>
                  <a:schemeClr val="accent3"/>
                </a:solidFill>
              </a:rPr>
              <a:t>deux</a:t>
            </a:r>
            <a:r>
              <a:rPr lang="fr-FR" sz="2800" dirty="0" smtClean="0"/>
              <a:t> ans</a:t>
            </a:r>
            <a:endParaRPr lang="fr-FR" sz="2800" dirty="0"/>
          </a:p>
        </p:txBody>
      </p:sp>
      <p:sp>
        <p:nvSpPr>
          <p:cNvPr id="26" name="Rectangle 25"/>
          <p:cNvSpPr/>
          <p:nvPr/>
        </p:nvSpPr>
        <p:spPr>
          <a:xfrm>
            <a:off x="8694310" y="1279267"/>
            <a:ext cx="2974621" cy="461665"/>
          </a:xfrm>
          <a:prstGeom prst="rect">
            <a:avLst/>
          </a:prstGeom>
          <a:noFill/>
        </p:spPr>
        <p:txBody>
          <a:bodyPr wrap="square" lIns="91440" tIns="45720" rIns="91440" bIns="45720">
            <a:spAutoFit/>
          </a:bodyPr>
          <a:lstStyle/>
          <a:p>
            <a:r>
              <a:rPr lang="fr-FR" sz="1200" b="1" dirty="0" smtClean="0">
                <a:ln w="0"/>
                <a:solidFill>
                  <a:schemeClr val="accent3"/>
                </a:solidFill>
                <a:latin typeface="+mj-lt"/>
              </a:rPr>
              <a:t>Levées de fonds en France secteur mobilité électrique </a:t>
            </a:r>
            <a:r>
              <a:rPr lang="fr-FR" sz="1200" dirty="0" smtClean="0">
                <a:ln w="0"/>
                <a:solidFill>
                  <a:schemeClr val="accent3"/>
                </a:solidFill>
                <a:latin typeface="+mj-lt"/>
              </a:rPr>
              <a:t>depuis février 2022 </a:t>
            </a:r>
            <a:endParaRPr lang="fr-FR" sz="1400" b="1" cap="none" spc="0" dirty="0">
              <a:ln w="0"/>
              <a:solidFill>
                <a:schemeClr val="accent3"/>
              </a:solidFill>
              <a:effectLst>
                <a:outerShdw blurRad="38100" dist="25400" dir="5400000" algn="ctr" rotWithShape="0">
                  <a:srgbClr val="6E747A">
                    <a:alpha val="43000"/>
                  </a:srgbClr>
                </a:outerShdw>
              </a:effectLst>
              <a:latin typeface="+mj-lt"/>
            </a:endParaRPr>
          </a:p>
        </p:txBody>
      </p:sp>
      <p:pic>
        <p:nvPicPr>
          <p:cNvPr id="8" name="Imag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777507" y="1942510"/>
            <a:ext cx="815067" cy="402051"/>
          </a:xfrm>
          <a:prstGeom prst="rect">
            <a:avLst/>
          </a:prstGeom>
        </p:spPr>
      </p:pic>
      <p:pic>
        <p:nvPicPr>
          <p:cNvPr id="9" name="Image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777507" y="2396241"/>
            <a:ext cx="902389" cy="405919"/>
          </a:xfrm>
          <a:prstGeom prst="rect">
            <a:avLst/>
          </a:prstGeom>
        </p:spPr>
      </p:pic>
      <p:pic>
        <p:nvPicPr>
          <p:cNvPr id="10" name="Image 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777507" y="2853840"/>
            <a:ext cx="687113" cy="329515"/>
          </a:xfrm>
          <a:prstGeom prst="rect">
            <a:avLst/>
          </a:prstGeom>
        </p:spPr>
      </p:pic>
      <p:pic>
        <p:nvPicPr>
          <p:cNvPr id="11" name="Image 10"/>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777507" y="3235035"/>
            <a:ext cx="776672" cy="251124"/>
          </a:xfrm>
          <a:prstGeom prst="rect">
            <a:avLst/>
          </a:prstGeom>
        </p:spPr>
      </p:pic>
      <p:pic>
        <p:nvPicPr>
          <p:cNvPr id="14" name="Image 13"/>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77507" y="3537839"/>
            <a:ext cx="881471" cy="265898"/>
          </a:xfrm>
          <a:prstGeom prst="rect">
            <a:avLst/>
          </a:prstGeom>
        </p:spPr>
      </p:pic>
      <p:pic>
        <p:nvPicPr>
          <p:cNvPr id="15" name="Image 14"/>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777507" y="3855417"/>
            <a:ext cx="1095837" cy="387222"/>
          </a:xfrm>
          <a:prstGeom prst="rect">
            <a:avLst/>
          </a:prstGeom>
        </p:spPr>
      </p:pic>
      <p:pic>
        <p:nvPicPr>
          <p:cNvPr id="27" name="Image 26"/>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777507" y="4294319"/>
            <a:ext cx="684658" cy="330083"/>
          </a:xfrm>
          <a:prstGeom prst="rect">
            <a:avLst/>
          </a:prstGeom>
        </p:spPr>
      </p:pic>
      <p:pic>
        <p:nvPicPr>
          <p:cNvPr id="16" name="Image 15"/>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777507" y="4676082"/>
            <a:ext cx="1136807" cy="324248"/>
          </a:xfrm>
          <a:prstGeom prst="rect">
            <a:avLst/>
          </a:prstGeom>
        </p:spPr>
      </p:pic>
      <p:pic>
        <p:nvPicPr>
          <p:cNvPr id="17" name="Image 16"/>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777507" y="5052010"/>
            <a:ext cx="973952" cy="307089"/>
          </a:xfrm>
          <a:prstGeom prst="rect">
            <a:avLst/>
          </a:prstGeom>
        </p:spPr>
      </p:pic>
      <p:pic>
        <p:nvPicPr>
          <p:cNvPr id="18" name="Image 17"/>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777507" y="5410779"/>
            <a:ext cx="979765" cy="423521"/>
          </a:xfrm>
          <a:prstGeom prst="rect">
            <a:avLst/>
          </a:prstGeom>
        </p:spPr>
      </p:pic>
      <p:pic>
        <p:nvPicPr>
          <p:cNvPr id="30" name="Image 29"/>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624667" y="4155595"/>
            <a:ext cx="1402472" cy="1314452"/>
          </a:xfrm>
          <a:prstGeom prst="rect">
            <a:avLst/>
          </a:prstGeom>
          <a:solidFill>
            <a:schemeClr val="bg1"/>
          </a:solidFill>
          <a:effectLst>
            <a:outerShdw blurRad="50800" dist="76200" dir="2700000" algn="tl" rotWithShape="0">
              <a:prstClr val="black">
                <a:alpha val="40000"/>
              </a:prstClr>
            </a:outerShdw>
          </a:effectLst>
        </p:spPr>
      </p:pic>
      <p:sp>
        <p:nvSpPr>
          <p:cNvPr id="31" name="Rectangle 30"/>
          <p:cNvSpPr/>
          <p:nvPr/>
        </p:nvSpPr>
        <p:spPr>
          <a:xfrm>
            <a:off x="412904" y="1279267"/>
            <a:ext cx="5141304" cy="3452151"/>
          </a:xfrm>
          <a:prstGeom prst="rect">
            <a:avLst/>
          </a:prstGeom>
          <a:solidFill>
            <a:schemeClr val="bg1"/>
          </a:solidFill>
          <a:effectLst>
            <a:outerShdw blurRad="50800" dist="76200" dir="2700000" algn="tl" rotWithShape="0">
              <a:prstClr val="black">
                <a:alpha val="40000"/>
              </a:prstClr>
            </a:outerShdw>
          </a:effectLst>
        </p:spPr>
        <p:txBody>
          <a:bodyPr wrap="square" anchor="ctr" anchorCtr="0">
            <a:noAutofit/>
          </a:bodyPr>
          <a:lstStyle/>
          <a:p>
            <a:pPr marL="285750" indent="-285750" algn="just" defTabSz="914377">
              <a:lnSpc>
                <a:spcPct val="101000"/>
              </a:lnSpc>
              <a:spcAft>
                <a:spcPts val="600"/>
              </a:spcAft>
              <a:buClr>
                <a:schemeClr val="tx2"/>
              </a:buClr>
              <a:buFont typeface="Wingdings" panose="05000000000000000000" pitchFamily="2" charset="2"/>
              <a:buChar char="q"/>
            </a:pPr>
            <a:r>
              <a:rPr lang="fr-FR" sz="1200" dirty="0">
                <a:solidFill>
                  <a:schemeClr val="tx1"/>
                </a:solidFill>
                <a:latin typeface="+mj-lt"/>
              </a:rPr>
              <a:t>Entre février 2022 et mars 2023, </a:t>
            </a:r>
            <a:r>
              <a:rPr lang="fr-FR" sz="1200" b="1" dirty="0">
                <a:solidFill>
                  <a:schemeClr val="tx1"/>
                </a:solidFill>
                <a:latin typeface="+mj-lt"/>
              </a:rPr>
              <a:t>2.1 milliards d’euros</a:t>
            </a:r>
            <a:r>
              <a:rPr lang="fr-FR" sz="1200" dirty="0">
                <a:solidFill>
                  <a:schemeClr val="tx1"/>
                </a:solidFill>
                <a:latin typeface="+mj-lt"/>
              </a:rPr>
              <a:t> ont été </a:t>
            </a:r>
            <a:r>
              <a:rPr lang="fr-FR" sz="1200" b="1" dirty="0">
                <a:solidFill>
                  <a:schemeClr val="tx1"/>
                </a:solidFill>
                <a:latin typeface="+mj-lt"/>
              </a:rPr>
              <a:t>investis au capital </a:t>
            </a:r>
            <a:r>
              <a:rPr lang="fr-FR" sz="1200" dirty="0">
                <a:solidFill>
                  <a:schemeClr val="tx1"/>
                </a:solidFill>
                <a:latin typeface="+mj-lt"/>
              </a:rPr>
              <a:t>de </a:t>
            </a:r>
            <a:r>
              <a:rPr lang="fr-FR" sz="1200" b="1" dirty="0">
                <a:solidFill>
                  <a:schemeClr val="tx1"/>
                </a:solidFill>
                <a:latin typeface="+mj-lt"/>
              </a:rPr>
              <a:t>11 acteurs français </a:t>
            </a:r>
            <a:r>
              <a:rPr lang="fr-FR" sz="1200" dirty="0">
                <a:solidFill>
                  <a:schemeClr val="tx1"/>
                </a:solidFill>
                <a:latin typeface="+mj-lt"/>
              </a:rPr>
              <a:t>du secteur de la </a:t>
            </a:r>
            <a:r>
              <a:rPr lang="fr-FR" sz="1200" b="1" dirty="0">
                <a:solidFill>
                  <a:schemeClr val="tx1"/>
                </a:solidFill>
                <a:latin typeface="+mj-lt"/>
              </a:rPr>
              <a:t>mobilité électrique</a:t>
            </a:r>
          </a:p>
          <a:p>
            <a:pPr marL="285750" indent="-285750" algn="just" defTabSz="914377">
              <a:lnSpc>
                <a:spcPct val="101000"/>
              </a:lnSpc>
              <a:spcAft>
                <a:spcPts val="600"/>
              </a:spcAft>
              <a:buClr>
                <a:schemeClr val="tx2"/>
              </a:buClr>
              <a:buFont typeface="Wingdings" panose="05000000000000000000" pitchFamily="2" charset="2"/>
              <a:buChar char="q"/>
            </a:pPr>
            <a:r>
              <a:rPr lang="fr-FR" sz="1200" dirty="0" smtClean="0">
                <a:latin typeface="+mj-lt"/>
              </a:rPr>
              <a:t>Cinq de ces acteurs sont des </a:t>
            </a:r>
            <a:r>
              <a:rPr lang="fr-FR" sz="1200" b="1" dirty="0" smtClean="0">
                <a:latin typeface="+mj-lt"/>
              </a:rPr>
              <a:t>grands comptes </a:t>
            </a:r>
            <a:r>
              <a:rPr lang="fr-FR" sz="1200" dirty="0" smtClean="0">
                <a:latin typeface="+mj-lt"/>
              </a:rPr>
              <a:t>multi-</a:t>
            </a:r>
            <a:r>
              <a:rPr lang="fr-FR" sz="1200" dirty="0" err="1" smtClean="0">
                <a:latin typeface="+mj-lt"/>
              </a:rPr>
              <a:t>raccordeurs</a:t>
            </a:r>
            <a:r>
              <a:rPr lang="fr-FR" sz="1200" dirty="0" smtClean="0">
                <a:latin typeface="+mj-lt"/>
              </a:rPr>
              <a:t> IRVE, trois sont des </a:t>
            </a:r>
            <a:r>
              <a:rPr lang="fr-FR" sz="1200" b="1" dirty="0" smtClean="0">
                <a:latin typeface="+mj-lt"/>
              </a:rPr>
              <a:t>partenaires industriels d’Enedis</a:t>
            </a:r>
          </a:p>
          <a:p>
            <a:pPr marL="285750" indent="-285750" algn="just" defTabSz="914377">
              <a:lnSpc>
                <a:spcPct val="101000"/>
              </a:lnSpc>
              <a:spcAft>
                <a:spcPts val="600"/>
              </a:spcAft>
              <a:buClr>
                <a:schemeClr val="tx2"/>
              </a:buClr>
              <a:buFont typeface="Wingdings" panose="05000000000000000000" pitchFamily="2" charset="2"/>
              <a:buChar char="q"/>
            </a:pPr>
            <a:r>
              <a:rPr lang="fr-FR" sz="1200" b="1" dirty="0" err="1" smtClean="0">
                <a:solidFill>
                  <a:schemeClr val="tx1"/>
                </a:solidFill>
                <a:latin typeface="+mj-lt"/>
              </a:rPr>
              <a:t>Verkor</a:t>
            </a:r>
            <a:r>
              <a:rPr lang="fr-FR" sz="1200" dirty="0" smtClean="0">
                <a:latin typeface="+mj-lt"/>
              </a:rPr>
              <a:t>, qui a commencé la construction de sa </a:t>
            </a:r>
            <a:r>
              <a:rPr lang="fr-FR" sz="1200" b="1" dirty="0" smtClean="0">
                <a:latin typeface="+mj-lt"/>
              </a:rPr>
              <a:t>giga-</a:t>
            </a:r>
            <a:r>
              <a:rPr lang="fr-FR" sz="1200" b="1" dirty="0" err="1">
                <a:latin typeface="+mj-lt"/>
              </a:rPr>
              <a:t>f</a:t>
            </a:r>
            <a:r>
              <a:rPr lang="fr-FR" sz="1200" b="1" dirty="0" err="1" smtClean="0">
                <a:latin typeface="+mj-lt"/>
              </a:rPr>
              <a:t>actory</a:t>
            </a:r>
            <a:r>
              <a:rPr lang="fr-FR" sz="1200" dirty="0" smtClean="0">
                <a:latin typeface="+mj-lt"/>
              </a:rPr>
              <a:t> à Dunkerque, est en passe de réaliser une </a:t>
            </a:r>
            <a:r>
              <a:rPr lang="fr-FR" sz="1200" b="1" dirty="0" smtClean="0">
                <a:latin typeface="+mj-lt"/>
              </a:rPr>
              <a:t>levée de fonds </a:t>
            </a:r>
            <a:r>
              <a:rPr lang="fr-FR" sz="1200" dirty="0" smtClean="0">
                <a:latin typeface="+mj-lt"/>
              </a:rPr>
              <a:t>historique d’un </a:t>
            </a:r>
            <a:r>
              <a:rPr lang="fr-FR" sz="1200" b="1" dirty="0" smtClean="0">
                <a:latin typeface="+mj-lt"/>
              </a:rPr>
              <a:t>montant record</a:t>
            </a:r>
            <a:r>
              <a:rPr lang="fr-FR" sz="1200" dirty="0" smtClean="0">
                <a:latin typeface="+mj-lt"/>
              </a:rPr>
              <a:t>. Les premières cellules sortiront de l’usine en 2025</a:t>
            </a:r>
          </a:p>
          <a:p>
            <a:pPr marL="285750" indent="-285750" algn="just" defTabSz="914377">
              <a:lnSpc>
                <a:spcPct val="101000"/>
              </a:lnSpc>
              <a:spcAft>
                <a:spcPts val="600"/>
              </a:spcAft>
              <a:buClr>
                <a:schemeClr val="tx2"/>
              </a:buClr>
              <a:buFont typeface="Wingdings" panose="05000000000000000000" pitchFamily="2" charset="2"/>
              <a:buChar char="q"/>
            </a:pPr>
            <a:r>
              <a:rPr lang="fr-FR" sz="1200" dirty="0" smtClean="0">
                <a:latin typeface="+mj-lt"/>
              </a:rPr>
              <a:t>La </a:t>
            </a:r>
            <a:r>
              <a:rPr lang="fr-FR" sz="1200" b="1" dirty="0" smtClean="0">
                <a:latin typeface="+mj-lt"/>
              </a:rPr>
              <a:t>France </a:t>
            </a:r>
            <a:r>
              <a:rPr lang="fr-FR" sz="1200" dirty="0" smtClean="0">
                <a:latin typeface="+mj-lt"/>
              </a:rPr>
              <a:t>devrait compter </a:t>
            </a:r>
            <a:r>
              <a:rPr lang="fr-FR" sz="1200" b="1" dirty="0" smtClean="0">
                <a:latin typeface="+mj-lt"/>
              </a:rPr>
              <a:t>4 giga-</a:t>
            </a:r>
            <a:r>
              <a:rPr lang="fr-FR" sz="1200" b="1" dirty="0" err="1" smtClean="0">
                <a:latin typeface="+mj-lt"/>
              </a:rPr>
              <a:t>factories</a:t>
            </a:r>
            <a:r>
              <a:rPr lang="fr-FR" sz="1200" b="1" dirty="0" smtClean="0">
                <a:latin typeface="+mj-lt"/>
              </a:rPr>
              <a:t> </a:t>
            </a:r>
            <a:r>
              <a:rPr lang="fr-FR" sz="1200" dirty="0" smtClean="0">
                <a:latin typeface="+mj-lt"/>
              </a:rPr>
              <a:t>de batteries à horizon 2030</a:t>
            </a:r>
          </a:p>
          <a:p>
            <a:pPr marL="285750" indent="-285750" algn="just" defTabSz="914377">
              <a:lnSpc>
                <a:spcPct val="101000"/>
              </a:lnSpc>
              <a:spcAft>
                <a:spcPts val="600"/>
              </a:spcAft>
              <a:buClr>
                <a:schemeClr val="tx2"/>
              </a:buClr>
              <a:buFont typeface="Wingdings" panose="05000000000000000000" pitchFamily="2" charset="2"/>
              <a:buChar char="q"/>
            </a:pPr>
            <a:r>
              <a:rPr lang="fr-FR" sz="1200" dirty="0" smtClean="0">
                <a:latin typeface="+mj-lt"/>
              </a:rPr>
              <a:t>La promotion 2023 de la </a:t>
            </a:r>
            <a:r>
              <a:rPr lang="fr-FR" sz="1200" b="1" dirty="0" smtClean="0">
                <a:latin typeface="+mj-lt"/>
              </a:rPr>
              <a:t>French Tech </a:t>
            </a:r>
            <a:r>
              <a:rPr lang="fr-FR" sz="1200" b="1" dirty="0" err="1" smtClean="0">
                <a:latin typeface="+mj-lt"/>
              </a:rPr>
              <a:t>Next</a:t>
            </a:r>
            <a:r>
              <a:rPr lang="fr-FR" sz="1200" b="1" dirty="0" smtClean="0">
                <a:latin typeface="+mj-lt"/>
              </a:rPr>
              <a:t> 40</a:t>
            </a:r>
            <a:r>
              <a:rPr lang="fr-FR" sz="1200" dirty="0" smtClean="0">
                <a:latin typeface="+mj-lt"/>
              </a:rPr>
              <a:t>, club des start-ups françaises ayant atteint le statut de licorne ou ayant levé plus de 150 M€, a vu l’entrée de </a:t>
            </a:r>
            <a:r>
              <a:rPr lang="fr-FR" sz="1200" b="1" dirty="0" smtClean="0">
                <a:latin typeface="+mj-lt"/>
              </a:rPr>
              <a:t>4 nouveaux membres </a:t>
            </a:r>
            <a:r>
              <a:rPr lang="fr-FR" sz="1200" dirty="0" smtClean="0">
                <a:latin typeface="+mj-lt"/>
              </a:rPr>
              <a:t>issus du secteur de la </a:t>
            </a:r>
            <a:r>
              <a:rPr lang="fr-FR" sz="1200" b="1" dirty="0" smtClean="0">
                <a:latin typeface="+mj-lt"/>
              </a:rPr>
              <a:t>mobilité électrique </a:t>
            </a:r>
            <a:r>
              <a:rPr lang="fr-FR" sz="1200" dirty="0" smtClean="0">
                <a:latin typeface="+mj-lt"/>
              </a:rPr>
              <a:t>: </a:t>
            </a:r>
            <a:r>
              <a:rPr lang="fr-FR" sz="1200" b="1" dirty="0" smtClean="0">
                <a:latin typeface="+mj-lt"/>
              </a:rPr>
              <a:t>NW (licorne), </a:t>
            </a:r>
            <a:r>
              <a:rPr lang="fr-FR" sz="1200" b="1" dirty="0" err="1" smtClean="0">
                <a:latin typeface="+mj-lt"/>
              </a:rPr>
              <a:t>Verkor</a:t>
            </a:r>
            <a:r>
              <a:rPr lang="fr-FR" sz="1200" b="1" dirty="0" smtClean="0">
                <a:latin typeface="+mj-lt"/>
              </a:rPr>
              <a:t>, </a:t>
            </a:r>
            <a:r>
              <a:rPr lang="fr-FR" sz="1200" b="1" dirty="0" err="1" smtClean="0">
                <a:latin typeface="+mj-lt"/>
              </a:rPr>
              <a:t>Ze</a:t>
            </a:r>
            <a:r>
              <a:rPr lang="fr-FR" sz="1200" b="1" dirty="0" smtClean="0">
                <a:latin typeface="+mj-lt"/>
              </a:rPr>
              <a:t> Plug et </a:t>
            </a:r>
            <a:r>
              <a:rPr lang="fr-FR" sz="1200" b="1" dirty="0" err="1" smtClean="0">
                <a:latin typeface="+mj-lt"/>
              </a:rPr>
              <a:t>Electra</a:t>
            </a:r>
            <a:endParaRPr lang="fr-FR" sz="1200" b="1" dirty="0" smtClean="0">
              <a:latin typeface="+mj-lt"/>
            </a:endParaRPr>
          </a:p>
        </p:txBody>
      </p:sp>
      <p:pic>
        <p:nvPicPr>
          <p:cNvPr id="34" name="Image 33"/>
          <p:cNvPicPr>
            <a:picLocks noChangeAspect="1"/>
          </p:cNvPicPr>
          <p:nvPr/>
        </p:nvPicPr>
        <p:blipFill>
          <a:blip r:embed="rId14"/>
          <a:stretch>
            <a:fillRect/>
          </a:stretch>
        </p:blipFill>
        <p:spPr>
          <a:xfrm>
            <a:off x="409842" y="4917057"/>
            <a:ext cx="5190147" cy="1300212"/>
          </a:xfrm>
          <a:prstGeom prst="rect">
            <a:avLst/>
          </a:prstGeom>
          <a:solidFill>
            <a:schemeClr val="bg1"/>
          </a:solidFill>
          <a:effectLst>
            <a:outerShdw blurRad="50800" dist="76200" dir="2700000" algn="tl" rotWithShape="0">
              <a:prstClr val="black">
                <a:alpha val="40000"/>
              </a:prstClr>
            </a:outerShdw>
          </a:effectLst>
        </p:spPr>
      </p:pic>
      <p:pic>
        <p:nvPicPr>
          <p:cNvPr id="19" name="Image 18"/>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777507" y="5885977"/>
            <a:ext cx="672804" cy="229980"/>
          </a:xfrm>
          <a:prstGeom prst="rect">
            <a:avLst/>
          </a:prstGeom>
        </p:spPr>
      </p:pic>
      <p:sp>
        <p:nvSpPr>
          <p:cNvPr id="35" name="Rectangle 34"/>
          <p:cNvSpPr/>
          <p:nvPr/>
        </p:nvSpPr>
        <p:spPr>
          <a:xfrm>
            <a:off x="10870522" y="201476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500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39" name="Rectangle 38"/>
          <p:cNvSpPr/>
          <p:nvPr/>
        </p:nvSpPr>
        <p:spPr>
          <a:xfrm>
            <a:off x="10870523" y="240000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300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0" name="Rectangle 39"/>
          <p:cNvSpPr/>
          <p:nvPr/>
        </p:nvSpPr>
        <p:spPr>
          <a:xfrm>
            <a:off x="10870523" y="278524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250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1" name="Rectangle 40"/>
          <p:cNvSpPr/>
          <p:nvPr/>
        </p:nvSpPr>
        <p:spPr>
          <a:xfrm>
            <a:off x="10870523" y="317048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250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2" name="Rectangle 41"/>
          <p:cNvSpPr/>
          <p:nvPr/>
        </p:nvSpPr>
        <p:spPr>
          <a:xfrm>
            <a:off x="10870523" y="355572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240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3" name="Rectangle 42"/>
          <p:cNvSpPr/>
          <p:nvPr/>
        </p:nvSpPr>
        <p:spPr>
          <a:xfrm>
            <a:off x="10870523" y="394096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180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4" name="Rectangle 43"/>
          <p:cNvSpPr/>
          <p:nvPr/>
        </p:nvSpPr>
        <p:spPr>
          <a:xfrm>
            <a:off x="10870523" y="432620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180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5" name="Rectangle 44"/>
          <p:cNvSpPr/>
          <p:nvPr/>
        </p:nvSpPr>
        <p:spPr>
          <a:xfrm>
            <a:off x="10870523" y="471144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160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6" name="Rectangle 45"/>
          <p:cNvSpPr/>
          <p:nvPr/>
        </p:nvSpPr>
        <p:spPr>
          <a:xfrm>
            <a:off x="10870523" y="509668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27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7" name="Rectangle 46"/>
          <p:cNvSpPr/>
          <p:nvPr/>
        </p:nvSpPr>
        <p:spPr>
          <a:xfrm>
            <a:off x="10870523" y="5481922"/>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12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8" name="Rectangle 47"/>
          <p:cNvSpPr/>
          <p:nvPr/>
        </p:nvSpPr>
        <p:spPr>
          <a:xfrm>
            <a:off x="10870521" y="5867165"/>
            <a:ext cx="745993" cy="267603"/>
          </a:xfrm>
          <a:prstGeom prst="rect">
            <a:avLst/>
          </a:prstGeom>
          <a:noFill/>
        </p:spPr>
        <p:txBody>
          <a:bodyPr wrap="square" lIns="91440" tIns="45720" rIns="91440" bIns="45720">
            <a:spAutoFit/>
          </a:bodyPr>
          <a:lstStyle/>
          <a:p>
            <a:pPr algn="r"/>
            <a:r>
              <a:rPr lang="fr-FR" sz="1100" b="1" dirty="0" smtClean="0">
                <a:ln w="0"/>
                <a:solidFill>
                  <a:srgbClr val="002060"/>
                </a:solidFill>
                <a:effectLst>
                  <a:outerShdw blurRad="38100" dist="25400" dir="5400000" algn="ctr" rotWithShape="0">
                    <a:srgbClr val="6E747A">
                      <a:alpha val="43000"/>
                    </a:srgbClr>
                  </a:outerShdw>
                </a:effectLst>
                <a:latin typeface="+mj-lt"/>
              </a:rPr>
              <a:t>12 M€</a:t>
            </a:r>
            <a:endParaRPr lang="fr-FR" sz="1100" b="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49" name="Rectangle 48"/>
          <p:cNvSpPr/>
          <p:nvPr/>
        </p:nvSpPr>
        <p:spPr>
          <a:xfrm>
            <a:off x="9966527" y="2036530"/>
            <a:ext cx="745993" cy="261610"/>
          </a:xfrm>
          <a:prstGeom prst="rect">
            <a:avLst/>
          </a:prstGeom>
          <a:noFill/>
        </p:spPr>
        <p:txBody>
          <a:bodyPr wrap="square" lIns="91440" tIns="45720" rIns="91440" bIns="45720">
            <a:spAutoFit/>
          </a:bodyPr>
          <a:lstStyle/>
          <a:p>
            <a:pPr algn="r"/>
            <a:r>
              <a:rPr lang="fr-FR" sz="1100" i="1" dirty="0" err="1" smtClean="0">
                <a:ln w="0"/>
                <a:solidFill>
                  <a:srgbClr val="002060"/>
                </a:solidFill>
                <a:effectLst>
                  <a:outerShdw blurRad="38100" dist="25400" dir="5400000" algn="ctr" rotWithShape="0">
                    <a:srgbClr val="6E747A">
                      <a:alpha val="43000"/>
                    </a:srgbClr>
                  </a:outerShdw>
                </a:effectLst>
                <a:latin typeface="+mj-lt"/>
              </a:rPr>
              <a:t>Fév</a:t>
            </a:r>
            <a:r>
              <a:rPr lang="fr-FR" sz="1100" i="1" dirty="0" smtClean="0">
                <a:ln w="0"/>
                <a:solidFill>
                  <a:srgbClr val="002060"/>
                </a:solidFill>
                <a:effectLst>
                  <a:outerShdw blurRad="38100" dist="25400" dir="5400000" algn="ctr" rotWithShape="0">
                    <a:srgbClr val="6E747A">
                      <a:alpha val="43000"/>
                    </a:srgbClr>
                  </a:outerShdw>
                </a:effectLst>
                <a:latin typeface="+mj-lt"/>
              </a:rPr>
              <a:t> 22</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0" name="Rectangle 49"/>
          <p:cNvSpPr/>
          <p:nvPr/>
        </p:nvSpPr>
        <p:spPr>
          <a:xfrm>
            <a:off x="9966528" y="2416377"/>
            <a:ext cx="745993" cy="267603"/>
          </a:xfrm>
          <a:prstGeom prst="rect">
            <a:avLst/>
          </a:prstGeom>
          <a:noFill/>
        </p:spPr>
        <p:txBody>
          <a:bodyPr wrap="square" lIns="91440" tIns="45720" rIns="91440" bIns="45720">
            <a:spAutoFit/>
          </a:bodyPr>
          <a:lstStyle/>
          <a:p>
            <a:pPr algn="r"/>
            <a:r>
              <a:rPr lang="fr-FR" sz="1100" i="1" dirty="0" smtClean="0">
                <a:ln w="0"/>
                <a:solidFill>
                  <a:srgbClr val="002060"/>
                </a:solidFill>
                <a:effectLst>
                  <a:outerShdw blurRad="38100" dist="25400" dir="5400000" algn="ctr" rotWithShape="0">
                    <a:srgbClr val="6E747A">
                      <a:alpha val="43000"/>
                    </a:srgbClr>
                  </a:outerShdw>
                </a:effectLst>
                <a:latin typeface="+mj-lt"/>
              </a:rPr>
              <a:t>Juin 22</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1" name="Rectangle 50"/>
          <p:cNvSpPr/>
          <p:nvPr/>
        </p:nvSpPr>
        <p:spPr>
          <a:xfrm>
            <a:off x="9966528" y="2802217"/>
            <a:ext cx="745993" cy="267603"/>
          </a:xfrm>
          <a:prstGeom prst="rect">
            <a:avLst/>
          </a:prstGeom>
          <a:noFill/>
        </p:spPr>
        <p:txBody>
          <a:bodyPr wrap="square" lIns="91440" tIns="45720" rIns="91440" bIns="45720">
            <a:spAutoFit/>
          </a:bodyPr>
          <a:lstStyle/>
          <a:p>
            <a:pPr algn="r"/>
            <a:r>
              <a:rPr lang="fr-FR" sz="1100" i="1" dirty="0" err="1" smtClean="0">
                <a:ln w="0"/>
                <a:solidFill>
                  <a:srgbClr val="002060"/>
                </a:solidFill>
                <a:effectLst>
                  <a:outerShdw blurRad="38100" dist="25400" dir="5400000" algn="ctr" rotWithShape="0">
                    <a:srgbClr val="6E747A">
                      <a:alpha val="43000"/>
                    </a:srgbClr>
                  </a:outerShdw>
                </a:effectLst>
                <a:latin typeface="+mj-lt"/>
              </a:rPr>
              <a:t>Nov</a:t>
            </a:r>
            <a:r>
              <a:rPr lang="fr-FR" sz="1100" i="1" dirty="0" smtClean="0">
                <a:ln w="0"/>
                <a:solidFill>
                  <a:srgbClr val="002060"/>
                </a:solidFill>
                <a:effectLst>
                  <a:outerShdw blurRad="38100" dist="25400" dir="5400000" algn="ctr" rotWithShape="0">
                    <a:srgbClr val="6E747A">
                      <a:alpha val="43000"/>
                    </a:srgbClr>
                  </a:outerShdw>
                </a:effectLst>
                <a:latin typeface="+mj-lt"/>
              </a:rPr>
              <a:t> 22</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2" name="Rectangle 51"/>
          <p:cNvSpPr/>
          <p:nvPr/>
        </p:nvSpPr>
        <p:spPr>
          <a:xfrm>
            <a:off x="9966528" y="3188057"/>
            <a:ext cx="745993" cy="267603"/>
          </a:xfrm>
          <a:prstGeom prst="rect">
            <a:avLst/>
          </a:prstGeom>
          <a:noFill/>
        </p:spPr>
        <p:txBody>
          <a:bodyPr wrap="square" lIns="91440" tIns="45720" rIns="91440" bIns="45720">
            <a:spAutoFit/>
          </a:bodyPr>
          <a:lstStyle/>
          <a:p>
            <a:pPr algn="r"/>
            <a:r>
              <a:rPr lang="fr-FR" sz="1100" i="1" dirty="0" smtClean="0">
                <a:ln w="0"/>
                <a:solidFill>
                  <a:srgbClr val="002060"/>
                </a:solidFill>
                <a:effectLst>
                  <a:outerShdw blurRad="38100" dist="25400" dir="5400000" algn="ctr" rotWithShape="0">
                    <a:srgbClr val="6E747A">
                      <a:alpha val="43000"/>
                    </a:srgbClr>
                  </a:outerShdw>
                </a:effectLst>
                <a:latin typeface="+mj-lt"/>
              </a:rPr>
              <a:t>Mai 23</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3" name="Rectangle 52"/>
          <p:cNvSpPr/>
          <p:nvPr/>
        </p:nvSpPr>
        <p:spPr>
          <a:xfrm>
            <a:off x="9966528" y="3573897"/>
            <a:ext cx="745993" cy="267603"/>
          </a:xfrm>
          <a:prstGeom prst="rect">
            <a:avLst/>
          </a:prstGeom>
          <a:noFill/>
        </p:spPr>
        <p:txBody>
          <a:bodyPr wrap="square" lIns="91440" tIns="45720" rIns="91440" bIns="45720">
            <a:spAutoFit/>
          </a:bodyPr>
          <a:lstStyle/>
          <a:p>
            <a:pPr algn="r"/>
            <a:r>
              <a:rPr lang="fr-FR" sz="1100" i="1" dirty="0" smtClean="0">
                <a:ln w="0"/>
                <a:solidFill>
                  <a:srgbClr val="002060"/>
                </a:solidFill>
                <a:effectLst>
                  <a:outerShdw blurRad="38100" dist="25400" dir="5400000" algn="ctr" rotWithShape="0">
                    <a:srgbClr val="6E747A">
                      <a:alpha val="43000"/>
                    </a:srgbClr>
                  </a:outerShdw>
                </a:effectLst>
                <a:latin typeface="+mj-lt"/>
              </a:rPr>
              <a:t>Sept 22</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4" name="Rectangle 53"/>
          <p:cNvSpPr/>
          <p:nvPr/>
        </p:nvSpPr>
        <p:spPr>
          <a:xfrm>
            <a:off x="9966528" y="3959737"/>
            <a:ext cx="745993" cy="267603"/>
          </a:xfrm>
          <a:prstGeom prst="rect">
            <a:avLst/>
          </a:prstGeom>
          <a:noFill/>
        </p:spPr>
        <p:txBody>
          <a:bodyPr wrap="square" lIns="91440" tIns="45720" rIns="91440" bIns="45720">
            <a:spAutoFit/>
          </a:bodyPr>
          <a:lstStyle/>
          <a:p>
            <a:pPr algn="r"/>
            <a:r>
              <a:rPr lang="fr-FR" sz="1100" i="1" dirty="0" smtClean="0">
                <a:ln w="0"/>
                <a:solidFill>
                  <a:srgbClr val="002060"/>
                </a:solidFill>
                <a:effectLst>
                  <a:outerShdw blurRad="38100" dist="25400" dir="5400000" algn="ctr" rotWithShape="0">
                    <a:srgbClr val="6E747A">
                      <a:alpha val="43000"/>
                    </a:srgbClr>
                  </a:outerShdw>
                </a:effectLst>
                <a:latin typeface="+mj-lt"/>
              </a:rPr>
              <a:t>Sept 22</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5" name="Rectangle 54"/>
          <p:cNvSpPr/>
          <p:nvPr/>
        </p:nvSpPr>
        <p:spPr>
          <a:xfrm>
            <a:off x="9966528" y="4345577"/>
            <a:ext cx="745993" cy="267603"/>
          </a:xfrm>
          <a:prstGeom prst="rect">
            <a:avLst/>
          </a:prstGeom>
          <a:noFill/>
        </p:spPr>
        <p:txBody>
          <a:bodyPr wrap="square" lIns="91440" tIns="45720" rIns="91440" bIns="45720">
            <a:spAutoFit/>
          </a:bodyPr>
          <a:lstStyle/>
          <a:p>
            <a:pPr algn="r"/>
            <a:r>
              <a:rPr lang="fr-FR" sz="1100" i="1" dirty="0" err="1" smtClean="0">
                <a:ln w="0"/>
                <a:solidFill>
                  <a:srgbClr val="002060"/>
                </a:solidFill>
                <a:effectLst>
                  <a:outerShdw blurRad="38100" dist="25400" dir="5400000" algn="ctr" rotWithShape="0">
                    <a:srgbClr val="6E747A">
                      <a:alpha val="43000"/>
                    </a:srgbClr>
                  </a:outerShdw>
                </a:effectLst>
                <a:latin typeface="+mj-lt"/>
              </a:rPr>
              <a:t>Nov</a:t>
            </a:r>
            <a:r>
              <a:rPr lang="fr-FR" sz="1100" i="1" dirty="0" smtClean="0">
                <a:ln w="0"/>
                <a:solidFill>
                  <a:srgbClr val="002060"/>
                </a:solidFill>
                <a:effectLst>
                  <a:outerShdw blurRad="38100" dist="25400" dir="5400000" algn="ctr" rotWithShape="0">
                    <a:srgbClr val="6E747A">
                      <a:alpha val="43000"/>
                    </a:srgbClr>
                  </a:outerShdw>
                </a:effectLst>
                <a:latin typeface="+mj-lt"/>
              </a:rPr>
              <a:t> 22</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6" name="Rectangle 55"/>
          <p:cNvSpPr/>
          <p:nvPr/>
        </p:nvSpPr>
        <p:spPr>
          <a:xfrm>
            <a:off x="9966528" y="4731417"/>
            <a:ext cx="745993" cy="267603"/>
          </a:xfrm>
          <a:prstGeom prst="rect">
            <a:avLst/>
          </a:prstGeom>
          <a:noFill/>
        </p:spPr>
        <p:txBody>
          <a:bodyPr wrap="square" lIns="91440" tIns="45720" rIns="91440" bIns="45720">
            <a:spAutoFit/>
          </a:bodyPr>
          <a:lstStyle/>
          <a:p>
            <a:pPr algn="r"/>
            <a:r>
              <a:rPr lang="fr-FR" sz="1100" i="1" dirty="0" smtClean="0">
                <a:ln w="0"/>
                <a:solidFill>
                  <a:srgbClr val="002060"/>
                </a:solidFill>
                <a:effectLst>
                  <a:outerShdw blurRad="38100" dist="25400" dir="5400000" algn="ctr" rotWithShape="0">
                    <a:srgbClr val="6E747A">
                      <a:alpha val="43000"/>
                    </a:srgbClr>
                  </a:outerShdw>
                </a:effectLst>
                <a:latin typeface="+mj-lt"/>
              </a:rPr>
              <a:t>Juin 22</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7" name="Rectangle 56"/>
          <p:cNvSpPr/>
          <p:nvPr/>
        </p:nvSpPr>
        <p:spPr>
          <a:xfrm>
            <a:off x="9966528" y="5117257"/>
            <a:ext cx="745993" cy="267603"/>
          </a:xfrm>
          <a:prstGeom prst="rect">
            <a:avLst/>
          </a:prstGeom>
          <a:noFill/>
        </p:spPr>
        <p:txBody>
          <a:bodyPr wrap="square" lIns="91440" tIns="45720" rIns="91440" bIns="45720">
            <a:spAutoFit/>
          </a:bodyPr>
          <a:lstStyle/>
          <a:p>
            <a:pPr algn="r"/>
            <a:r>
              <a:rPr lang="fr-FR" sz="1100" i="1" dirty="0" smtClean="0">
                <a:ln w="0"/>
                <a:solidFill>
                  <a:srgbClr val="002060"/>
                </a:solidFill>
                <a:effectLst>
                  <a:outerShdw blurRad="38100" dist="25400" dir="5400000" algn="ctr" rotWithShape="0">
                    <a:srgbClr val="6E747A">
                      <a:alpha val="43000"/>
                    </a:srgbClr>
                  </a:outerShdw>
                </a:effectLst>
                <a:latin typeface="+mj-lt"/>
              </a:rPr>
              <a:t>Mars 23</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8" name="Rectangle 57"/>
          <p:cNvSpPr/>
          <p:nvPr/>
        </p:nvSpPr>
        <p:spPr>
          <a:xfrm>
            <a:off x="9966528" y="5503097"/>
            <a:ext cx="745993" cy="267603"/>
          </a:xfrm>
          <a:prstGeom prst="rect">
            <a:avLst/>
          </a:prstGeom>
          <a:noFill/>
        </p:spPr>
        <p:txBody>
          <a:bodyPr wrap="square" lIns="91440" tIns="45720" rIns="91440" bIns="45720">
            <a:spAutoFit/>
          </a:bodyPr>
          <a:lstStyle/>
          <a:p>
            <a:pPr algn="r"/>
            <a:r>
              <a:rPr lang="fr-FR" sz="1100" i="1" dirty="0" err="1" smtClean="0">
                <a:ln w="0"/>
                <a:solidFill>
                  <a:srgbClr val="002060"/>
                </a:solidFill>
                <a:effectLst>
                  <a:outerShdw blurRad="38100" dist="25400" dir="5400000" algn="ctr" rotWithShape="0">
                    <a:srgbClr val="6E747A">
                      <a:alpha val="43000"/>
                    </a:srgbClr>
                  </a:outerShdw>
                </a:effectLst>
                <a:latin typeface="+mj-lt"/>
              </a:rPr>
              <a:t>Fév</a:t>
            </a:r>
            <a:r>
              <a:rPr lang="fr-FR" sz="1100" i="1" dirty="0" smtClean="0">
                <a:ln w="0"/>
                <a:solidFill>
                  <a:srgbClr val="002060"/>
                </a:solidFill>
                <a:effectLst>
                  <a:outerShdw blurRad="38100" dist="25400" dir="5400000" algn="ctr" rotWithShape="0">
                    <a:srgbClr val="6E747A">
                      <a:alpha val="43000"/>
                    </a:srgbClr>
                  </a:outerShdw>
                </a:effectLst>
                <a:latin typeface="+mj-lt"/>
              </a:rPr>
              <a:t> 23</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59" name="Rectangle 58"/>
          <p:cNvSpPr/>
          <p:nvPr/>
        </p:nvSpPr>
        <p:spPr>
          <a:xfrm>
            <a:off x="9966526" y="5888933"/>
            <a:ext cx="745993" cy="267603"/>
          </a:xfrm>
          <a:prstGeom prst="rect">
            <a:avLst/>
          </a:prstGeom>
          <a:noFill/>
        </p:spPr>
        <p:txBody>
          <a:bodyPr wrap="square" lIns="91440" tIns="45720" rIns="91440" bIns="45720">
            <a:spAutoFit/>
          </a:bodyPr>
          <a:lstStyle/>
          <a:p>
            <a:pPr algn="r"/>
            <a:r>
              <a:rPr lang="fr-FR" sz="1100" i="1" dirty="0" err="1" smtClean="0">
                <a:ln w="0"/>
                <a:solidFill>
                  <a:srgbClr val="002060"/>
                </a:solidFill>
                <a:effectLst>
                  <a:outerShdw blurRad="38100" dist="25400" dir="5400000" algn="ctr" rotWithShape="0">
                    <a:srgbClr val="6E747A">
                      <a:alpha val="43000"/>
                    </a:srgbClr>
                  </a:outerShdw>
                </a:effectLst>
                <a:latin typeface="+mj-lt"/>
              </a:rPr>
              <a:t>Fév</a:t>
            </a:r>
            <a:r>
              <a:rPr lang="fr-FR" sz="1100" i="1" dirty="0" smtClean="0">
                <a:ln w="0"/>
                <a:solidFill>
                  <a:srgbClr val="002060"/>
                </a:solidFill>
                <a:effectLst>
                  <a:outerShdw blurRad="38100" dist="25400" dir="5400000" algn="ctr" rotWithShape="0">
                    <a:srgbClr val="6E747A">
                      <a:alpha val="43000"/>
                    </a:srgbClr>
                  </a:outerShdw>
                </a:effectLst>
                <a:latin typeface="+mj-lt"/>
              </a:rPr>
              <a:t> 23</a:t>
            </a:r>
            <a:endParaRPr lang="fr-FR" sz="1100" b="0" i="1" cap="none" spc="0" dirty="0">
              <a:ln w="0"/>
              <a:solidFill>
                <a:srgbClr val="002060"/>
              </a:solidFill>
              <a:effectLst>
                <a:outerShdw blurRad="38100" dist="25400" dir="5400000" algn="ctr" rotWithShape="0">
                  <a:srgbClr val="6E747A">
                    <a:alpha val="43000"/>
                  </a:srgbClr>
                </a:outerShdw>
              </a:effectLst>
              <a:latin typeface="+mj-lt"/>
            </a:endParaRPr>
          </a:p>
        </p:txBody>
      </p:sp>
      <p:sp>
        <p:nvSpPr>
          <p:cNvPr id="61" name="Slide Number Placeholder 3">
            <a:extLst>
              <a:ext uri="{FF2B5EF4-FFF2-40B4-BE49-F238E27FC236}">
                <a16:creationId xmlns:a16="http://schemas.microsoft.com/office/drawing/2014/main" id="{29869B0A-245E-6617-42EE-AD9F74932BA2}"/>
              </a:ext>
            </a:extLst>
          </p:cNvPr>
          <p:cNvSpPr txBox="1">
            <a:spLocks/>
          </p:cNvSpPr>
          <p:nvPr/>
        </p:nvSpPr>
        <p:spPr>
          <a:xfrm>
            <a:off x="11203781" y="6514718"/>
            <a:ext cx="465150" cy="154849"/>
          </a:xfrm>
          <a:prstGeom prst="rect">
            <a:avLst/>
          </a:prstGeom>
        </p:spPr>
        <p:txBody>
          <a:bodyPr vert="horz" lIns="0" tIns="0" rIns="0" bIns="0" rtlCol="0" anchor="ctr"/>
          <a:lstStyle>
            <a:defPPr>
              <a:defRPr lang="en-US"/>
            </a:defPPr>
            <a:lvl1pPr marL="0" algn="r" defTabSz="609585" rtl="0" eaLnBrk="1" latinLnBrk="0" hangingPunct="1">
              <a:defRPr sz="750" b="1" kern="1200">
                <a:solidFill>
                  <a:schemeClr val="tx2"/>
                </a:solidFill>
                <a:latin typeface="+mj-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6B54B0F7-55DD-40D6-B7F4-70B586885C0B}" type="slidenum">
              <a:rPr lang="fr-FR" sz="800" smtClean="0"/>
              <a:pPr/>
              <a:t>6</a:t>
            </a:fld>
            <a:endParaRPr lang="fr-FR" sz="800" dirty="0"/>
          </a:p>
        </p:txBody>
      </p:sp>
      <p:pic>
        <p:nvPicPr>
          <p:cNvPr id="21" name="Image 20"/>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709378" y="1744771"/>
            <a:ext cx="2835888" cy="2976415"/>
          </a:xfrm>
          <a:prstGeom prst="rect">
            <a:avLst/>
          </a:prstGeom>
          <a:solidFill>
            <a:schemeClr val="bg1"/>
          </a:solidFill>
          <a:effectLst>
            <a:outerShdw blurRad="50800" dist="76200" dir="2700000" algn="tl" rotWithShape="0">
              <a:prstClr val="black">
                <a:alpha val="40000"/>
              </a:prstClr>
            </a:outerShdw>
          </a:effectLst>
        </p:spPr>
      </p:pic>
      <p:sp>
        <p:nvSpPr>
          <p:cNvPr id="24" name="Rectangle 23"/>
          <p:cNvSpPr/>
          <p:nvPr/>
        </p:nvSpPr>
        <p:spPr>
          <a:xfrm>
            <a:off x="378184" y="1288954"/>
            <a:ext cx="11321592" cy="4928316"/>
          </a:xfrm>
          <a:prstGeom prst="rect">
            <a:avLst/>
          </a:prstGeom>
          <a:solidFill>
            <a:srgbClr val="D9D9D9">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Flèche droite 6"/>
          <p:cNvSpPr/>
          <p:nvPr/>
        </p:nvSpPr>
        <p:spPr>
          <a:xfrm>
            <a:off x="7294821" y="1644377"/>
            <a:ext cx="1903833" cy="416472"/>
          </a:xfrm>
          <a:prstGeom prst="rightArrow">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2" name="ZoneTexte 11"/>
          <p:cNvSpPr txBox="1"/>
          <p:nvPr/>
        </p:nvSpPr>
        <p:spPr>
          <a:xfrm>
            <a:off x="9258632" y="1612391"/>
            <a:ext cx="1683474" cy="461665"/>
          </a:xfrm>
          <a:prstGeom prst="rect">
            <a:avLst/>
          </a:prstGeom>
          <a:solidFill>
            <a:schemeClr val="bg1"/>
          </a:solidFill>
          <a:ln w="38100">
            <a:solidFill>
              <a:schemeClr val="accent3"/>
            </a:solidFill>
          </a:ln>
        </p:spPr>
        <p:txBody>
          <a:bodyPr wrap="none" rtlCol="0">
            <a:spAutoFit/>
          </a:bodyPr>
          <a:lstStyle/>
          <a:p>
            <a:r>
              <a:rPr lang="fr-FR" b="1" dirty="0" smtClean="0">
                <a:ln w="0"/>
                <a:solidFill>
                  <a:schemeClr val="accent3"/>
                </a:solidFill>
                <a:effectLst>
                  <a:outerShdw blurRad="38100" dist="25400" dir="5400000" algn="ctr" rotWithShape="0">
                    <a:srgbClr val="6E747A">
                      <a:alpha val="43000"/>
                    </a:srgbClr>
                  </a:outerShdw>
                </a:effectLst>
                <a:latin typeface="+mj-lt"/>
              </a:rPr>
              <a:t>~ 4.5 </a:t>
            </a:r>
            <a:r>
              <a:rPr lang="fr-FR" b="1" dirty="0">
                <a:ln w="0"/>
                <a:solidFill>
                  <a:schemeClr val="accent3"/>
                </a:solidFill>
                <a:effectLst>
                  <a:outerShdw blurRad="38100" dist="25400" dir="5400000" algn="ctr" rotWithShape="0">
                    <a:srgbClr val="6E747A">
                      <a:alpha val="43000"/>
                    </a:srgbClr>
                  </a:outerShdw>
                </a:effectLst>
                <a:latin typeface="+mj-lt"/>
              </a:rPr>
              <a:t>Md</a:t>
            </a:r>
            <a:r>
              <a:rPr lang="fr-FR" b="1" dirty="0" smtClean="0">
                <a:ln w="0"/>
                <a:solidFill>
                  <a:schemeClr val="accent3"/>
                </a:solidFill>
                <a:effectLst>
                  <a:outerShdw blurRad="38100" dist="25400" dir="5400000" algn="ctr" rotWithShape="0">
                    <a:srgbClr val="6E747A">
                      <a:alpha val="43000"/>
                    </a:srgbClr>
                  </a:outerShdw>
                </a:effectLst>
                <a:latin typeface="+mj-lt"/>
              </a:rPr>
              <a:t>€</a:t>
            </a:r>
            <a:endParaRPr lang="fr-FR" b="1" dirty="0">
              <a:ln w="0"/>
              <a:solidFill>
                <a:schemeClr val="accent3"/>
              </a:solidFill>
              <a:effectLst>
                <a:outerShdw blurRad="38100" dist="25400" dir="5400000" algn="ctr" rotWithShape="0">
                  <a:srgbClr val="6E747A">
                    <a:alpha val="43000"/>
                  </a:srgbClr>
                </a:outerShdw>
              </a:effectLst>
              <a:latin typeface="+mj-lt"/>
            </a:endParaRPr>
          </a:p>
        </p:txBody>
      </p:sp>
      <p:sp>
        <p:nvSpPr>
          <p:cNvPr id="3" name="Organigramme : Document 2"/>
          <p:cNvSpPr/>
          <p:nvPr/>
        </p:nvSpPr>
        <p:spPr>
          <a:xfrm>
            <a:off x="1564253" y="1288954"/>
            <a:ext cx="5752198" cy="3037248"/>
          </a:xfrm>
          <a:prstGeom prst="flowChartDocument">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4" name="Image 3"/>
          <p:cNvPicPr>
            <a:picLocks noChangeAspect="1"/>
          </p:cNvPicPr>
          <p:nvPr/>
        </p:nvPicPr>
        <p:blipFill>
          <a:blip r:embed="rId17"/>
          <a:stretch>
            <a:fillRect/>
          </a:stretch>
        </p:blipFill>
        <p:spPr>
          <a:xfrm>
            <a:off x="1756123" y="1440946"/>
            <a:ext cx="5186614" cy="1261182"/>
          </a:xfrm>
          <a:prstGeom prst="rect">
            <a:avLst/>
          </a:prstGeom>
        </p:spPr>
      </p:pic>
      <p:sp>
        <p:nvSpPr>
          <p:cNvPr id="62" name="Rectangle 61"/>
          <p:cNvSpPr/>
          <p:nvPr/>
        </p:nvSpPr>
        <p:spPr>
          <a:xfrm>
            <a:off x="3476924" y="2702128"/>
            <a:ext cx="1167056" cy="652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900" b="1" dirty="0" smtClean="0">
                <a:solidFill>
                  <a:srgbClr val="002060"/>
                </a:solidFill>
                <a:latin typeface="+mj-lt"/>
                <a:cs typeface="72 Light" panose="020B0303030000000003" pitchFamily="34" charset="0"/>
              </a:rPr>
              <a:t>100 M€</a:t>
            </a:r>
            <a:endParaRPr lang="fr-FR" sz="1900" b="1" dirty="0">
              <a:solidFill>
                <a:srgbClr val="002060"/>
              </a:solidFill>
              <a:latin typeface="+mj-lt"/>
              <a:cs typeface="72 Light" panose="020B0303030000000003" pitchFamily="34" charset="0"/>
            </a:endParaRPr>
          </a:p>
        </p:txBody>
      </p:sp>
      <p:pic>
        <p:nvPicPr>
          <p:cNvPr id="13" name="Image 12"/>
          <p:cNvPicPr>
            <a:picLocks noChangeAspect="1"/>
          </p:cNvPicPr>
          <p:nvPr/>
        </p:nvPicPr>
        <p:blipFill>
          <a:blip r:embed="rId18"/>
          <a:stretch>
            <a:fillRect/>
          </a:stretch>
        </p:blipFill>
        <p:spPr>
          <a:xfrm>
            <a:off x="1756123" y="2805531"/>
            <a:ext cx="421966" cy="399757"/>
          </a:xfrm>
          <a:prstGeom prst="rect">
            <a:avLst/>
          </a:prstGeom>
        </p:spPr>
      </p:pic>
      <p:pic>
        <p:nvPicPr>
          <p:cNvPr id="20" name="Image 19"/>
          <p:cNvPicPr>
            <a:picLocks noChangeAspect="1"/>
          </p:cNvPicPr>
          <p:nvPr/>
        </p:nvPicPr>
        <p:blipFill>
          <a:blip r:embed="rId19"/>
          <a:stretch>
            <a:fillRect/>
          </a:stretch>
        </p:blipFill>
        <p:spPr>
          <a:xfrm>
            <a:off x="2230376" y="2930477"/>
            <a:ext cx="1262797" cy="218186"/>
          </a:xfrm>
          <a:prstGeom prst="rect">
            <a:avLst/>
          </a:prstGeom>
        </p:spPr>
      </p:pic>
      <p:pic>
        <p:nvPicPr>
          <p:cNvPr id="22" name="Image 21"/>
          <p:cNvPicPr>
            <a:picLocks noChangeAspect="1"/>
          </p:cNvPicPr>
          <p:nvPr/>
        </p:nvPicPr>
        <p:blipFill>
          <a:blip r:embed="rId20"/>
          <a:stretch>
            <a:fillRect/>
          </a:stretch>
        </p:blipFill>
        <p:spPr>
          <a:xfrm>
            <a:off x="5001950" y="2835880"/>
            <a:ext cx="1738663" cy="405630"/>
          </a:xfrm>
          <a:prstGeom prst="rect">
            <a:avLst/>
          </a:prstGeom>
          <a:effectLst>
            <a:outerShdw blurRad="50800" dist="38100" dir="2700000" algn="tl" rotWithShape="0">
              <a:prstClr val="black">
                <a:alpha val="40000"/>
              </a:prstClr>
            </a:outerShdw>
          </a:effectLst>
        </p:spPr>
      </p:pic>
      <p:sp>
        <p:nvSpPr>
          <p:cNvPr id="64" name="Rectangle 63"/>
          <p:cNvSpPr/>
          <p:nvPr/>
        </p:nvSpPr>
        <p:spPr>
          <a:xfrm>
            <a:off x="3487332" y="3297538"/>
            <a:ext cx="1167056" cy="652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900" b="1" dirty="0" smtClean="0">
                <a:solidFill>
                  <a:srgbClr val="002060"/>
                </a:solidFill>
                <a:latin typeface="+mj-lt"/>
                <a:cs typeface="72 Light" panose="020B0303030000000003" pitchFamily="34" charset="0"/>
              </a:rPr>
              <a:t>XX</a:t>
            </a:r>
            <a:r>
              <a:rPr lang="fr-FR" sz="1900" b="1" dirty="0" smtClean="0">
                <a:solidFill>
                  <a:srgbClr val="002060"/>
                </a:solidFill>
                <a:latin typeface="+mj-lt"/>
                <a:cs typeface="72 Light" panose="020B0303030000000003" pitchFamily="34" charset="0"/>
              </a:rPr>
              <a:t> </a:t>
            </a:r>
            <a:r>
              <a:rPr lang="fr-FR" sz="1900" b="1" dirty="0" smtClean="0">
                <a:solidFill>
                  <a:srgbClr val="002060"/>
                </a:solidFill>
                <a:latin typeface="+mj-lt"/>
                <a:cs typeface="72 Light" panose="020B0303030000000003" pitchFamily="34" charset="0"/>
              </a:rPr>
              <a:t>M€</a:t>
            </a:r>
            <a:endParaRPr lang="fr-FR" sz="1900" b="1" dirty="0">
              <a:solidFill>
                <a:srgbClr val="002060"/>
              </a:solidFill>
              <a:latin typeface="+mj-lt"/>
              <a:cs typeface="72 Light" panose="020B0303030000000003" pitchFamily="34" charset="0"/>
            </a:endParaRPr>
          </a:p>
        </p:txBody>
      </p:sp>
      <p:pic>
        <p:nvPicPr>
          <p:cNvPr id="65" name="Image 64"/>
          <p:cNvPicPr>
            <a:picLocks noChangeAspect="1"/>
          </p:cNvPicPr>
          <p:nvPr/>
        </p:nvPicPr>
        <p:blipFill>
          <a:blip r:embed="rId18"/>
          <a:stretch>
            <a:fillRect/>
          </a:stretch>
        </p:blipFill>
        <p:spPr>
          <a:xfrm>
            <a:off x="1766531" y="3400941"/>
            <a:ext cx="421966" cy="399757"/>
          </a:xfrm>
          <a:prstGeom prst="rect">
            <a:avLst/>
          </a:prstGeom>
        </p:spPr>
      </p:pic>
      <p:pic>
        <p:nvPicPr>
          <p:cNvPr id="23" name="Image 22"/>
          <p:cNvPicPr>
            <a:picLocks noChangeAspect="1"/>
          </p:cNvPicPr>
          <p:nvPr/>
        </p:nvPicPr>
        <p:blipFill>
          <a:blip r:embed="rId21"/>
          <a:stretch>
            <a:fillRect/>
          </a:stretch>
        </p:blipFill>
        <p:spPr>
          <a:xfrm>
            <a:off x="2207631" y="3484804"/>
            <a:ext cx="1415766" cy="297112"/>
          </a:xfrm>
          <a:prstGeom prst="rect">
            <a:avLst/>
          </a:prstGeom>
        </p:spPr>
      </p:pic>
      <p:cxnSp>
        <p:nvCxnSpPr>
          <p:cNvPr id="28" name="Connecteur droit 27"/>
          <p:cNvCxnSpPr/>
          <p:nvPr/>
        </p:nvCxnSpPr>
        <p:spPr>
          <a:xfrm>
            <a:off x="3402022" y="795130"/>
            <a:ext cx="289529"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6" name="Connecteur droit 65"/>
          <p:cNvCxnSpPr/>
          <p:nvPr/>
        </p:nvCxnSpPr>
        <p:spPr>
          <a:xfrm>
            <a:off x="9410314" y="839619"/>
            <a:ext cx="50400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83283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7332453" y="3212684"/>
            <a:ext cx="1338335" cy="3136959"/>
          </a:xfrm>
          <a:prstGeom prst="rect">
            <a:avLst/>
          </a:prstGeom>
          <a:solidFill>
            <a:schemeClr val="bg1"/>
          </a:solidFill>
          <a:effectLst>
            <a:outerShdw blurRad="50800" dist="76200" dir="2700000" algn="tl" rotWithShape="0">
              <a:prstClr val="black">
                <a:alpha val="40000"/>
              </a:prstClr>
            </a:outerShdw>
          </a:effectLst>
        </p:spPr>
        <p:txBody>
          <a:bodyPr wrap="square" anchor="t" anchorCtr="0">
            <a:noAutofit/>
          </a:bodyPr>
          <a:lstStyle/>
          <a:p>
            <a:pPr marL="341313" defTabSz="914377">
              <a:lnSpc>
                <a:spcPct val="101000"/>
              </a:lnSpc>
              <a:spcAft>
                <a:spcPts val="600"/>
              </a:spcAft>
              <a:buClr>
                <a:schemeClr val="tx2"/>
              </a:buClr>
            </a:pPr>
            <a:endParaRPr lang="fr-FR" sz="1200" dirty="0" smtClean="0">
              <a:latin typeface="+mj-lt"/>
            </a:endParaRPr>
          </a:p>
          <a:p>
            <a:pPr marL="180975" defTabSz="914377">
              <a:lnSpc>
                <a:spcPct val="101000"/>
              </a:lnSpc>
              <a:spcAft>
                <a:spcPts val="600"/>
              </a:spcAft>
              <a:buClr>
                <a:schemeClr val="tx2"/>
              </a:buClr>
            </a:pPr>
            <a:r>
              <a:rPr lang="fr-FR" sz="1200" b="1" dirty="0" smtClean="0">
                <a:solidFill>
                  <a:schemeClr val="accent3"/>
                </a:solidFill>
                <a:latin typeface="+mj-lt"/>
              </a:rPr>
              <a:t>Autoroutes</a:t>
            </a:r>
          </a:p>
          <a:p>
            <a:pPr marL="180975" defTabSz="914377">
              <a:lnSpc>
                <a:spcPct val="101000"/>
              </a:lnSpc>
              <a:spcAft>
                <a:spcPts val="600"/>
              </a:spcAft>
              <a:buClr>
                <a:schemeClr val="tx2"/>
              </a:buClr>
            </a:pPr>
            <a:r>
              <a:rPr lang="fr-FR" sz="1000" dirty="0" smtClean="0">
                <a:latin typeface="+mj-lt"/>
              </a:rPr>
              <a:t>Aires de service du domaines concédé</a:t>
            </a:r>
          </a:p>
          <a:p>
            <a:pPr marL="180975" defTabSz="914377">
              <a:lnSpc>
                <a:spcPct val="101000"/>
              </a:lnSpc>
              <a:spcAft>
                <a:spcPts val="600"/>
              </a:spcAft>
              <a:buClr>
                <a:schemeClr val="tx2"/>
              </a:buClr>
            </a:pPr>
            <a:endParaRPr lang="fr-FR" sz="1000" dirty="0">
              <a:latin typeface="+mj-lt"/>
            </a:endParaRPr>
          </a:p>
          <a:p>
            <a:pPr marL="180975" defTabSz="914377">
              <a:lnSpc>
                <a:spcPct val="101000"/>
              </a:lnSpc>
              <a:spcAft>
                <a:spcPts val="600"/>
              </a:spcAft>
              <a:buClr>
                <a:schemeClr val="tx2"/>
              </a:buClr>
            </a:pPr>
            <a:endParaRPr lang="fr-FR" sz="1000" dirty="0" smtClean="0">
              <a:latin typeface="+mj-lt"/>
            </a:endParaRPr>
          </a:p>
          <a:p>
            <a:pPr marL="180975" defTabSz="914377">
              <a:lnSpc>
                <a:spcPct val="101000"/>
              </a:lnSpc>
              <a:spcAft>
                <a:spcPts val="600"/>
              </a:spcAft>
              <a:buClr>
                <a:schemeClr val="tx2"/>
              </a:buClr>
            </a:pPr>
            <a:endParaRPr lang="fr-FR" sz="1000" dirty="0">
              <a:latin typeface="+mj-lt"/>
            </a:endParaRPr>
          </a:p>
          <a:p>
            <a:pPr marL="180975" defTabSz="914377">
              <a:lnSpc>
                <a:spcPct val="101000"/>
              </a:lnSpc>
              <a:spcAft>
                <a:spcPts val="600"/>
              </a:spcAft>
              <a:buClr>
                <a:schemeClr val="tx2"/>
              </a:buClr>
            </a:pPr>
            <a:r>
              <a:rPr lang="fr-FR" sz="1000" dirty="0" smtClean="0">
                <a:latin typeface="+mj-lt"/>
              </a:rPr>
              <a:t>Aires non concédées</a:t>
            </a:r>
          </a:p>
          <a:p>
            <a:pPr marL="180975" defTabSz="914377">
              <a:lnSpc>
                <a:spcPct val="101000"/>
              </a:lnSpc>
              <a:spcAft>
                <a:spcPts val="600"/>
              </a:spcAft>
              <a:buClr>
                <a:schemeClr val="tx2"/>
              </a:buClr>
            </a:pPr>
            <a:endParaRPr lang="fr-FR" sz="1000" dirty="0">
              <a:latin typeface="+mj-lt"/>
            </a:endParaRPr>
          </a:p>
        </p:txBody>
      </p:sp>
      <p:pic>
        <p:nvPicPr>
          <p:cNvPr id="10" name="Image 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670788" y="3212684"/>
            <a:ext cx="3085548" cy="3130384"/>
          </a:xfrm>
          <a:prstGeom prst="rect">
            <a:avLst/>
          </a:prstGeom>
          <a:solidFill>
            <a:schemeClr val="bg1"/>
          </a:solidFill>
          <a:effectLst>
            <a:outerShdw blurRad="50800" dist="76200" dir="2700000" algn="tl" rotWithShape="0">
              <a:prstClr val="black">
                <a:alpha val="40000"/>
              </a:prstClr>
            </a:outerShdw>
          </a:effectLst>
        </p:spPr>
      </p:pic>
      <p:sp>
        <p:nvSpPr>
          <p:cNvPr id="2" name="Titre 1"/>
          <p:cNvSpPr>
            <a:spLocks noGrp="1"/>
          </p:cNvSpPr>
          <p:nvPr>
            <p:ph type="title"/>
          </p:nvPr>
        </p:nvSpPr>
        <p:spPr>
          <a:xfrm>
            <a:off x="495447" y="320840"/>
            <a:ext cx="11305489" cy="886397"/>
          </a:xfrm>
        </p:spPr>
        <p:txBody>
          <a:bodyPr/>
          <a:lstStyle/>
          <a:p>
            <a:r>
              <a:rPr lang="fr-FR" sz="3200" dirty="0" smtClean="0"/>
              <a:t>L’objectif des 100.000 bornes accessibles au public a été atteint début mai (118.000 à fin 2023)</a:t>
            </a:r>
            <a:endParaRPr lang="fr-FR" sz="3200" dirty="0"/>
          </a:p>
        </p:txBody>
      </p:sp>
      <p:pic>
        <p:nvPicPr>
          <p:cNvPr id="3" name="Image 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238616" y="1285111"/>
            <a:ext cx="3297377" cy="2158450"/>
          </a:xfrm>
          <a:prstGeom prst="rect">
            <a:avLst/>
          </a:prstGeom>
          <a:solidFill>
            <a:schemeClr val="bg1"/>
          </a:solidFill>
          <a:effectLst>
            <a:outerShdw blurRad="50800" dist="76200" dir="2700000" algn="tl" rotWithShape="0">
              <a:prstClr val="black">
                <a:alpha val="40000"/>
              </a:prstClr>
            </a:outerShdw>
          </a:effectLst>
        </p:spPr>
      </p:pic>
      <p:sp>
        <p:nvSpPr>
          <p:cNvPr id="4" name="Rectangle 3"/>
          <p:cNvSpPr/>
          <p:nvPr/>
        </p:nvSpPr>
        <p:spPr>
          <a:xfrm>
            <a:off x="9535993" y="1285111"/>
            <a:ext cx="996072" cy="2158200"/>
          </a:xfrm>
          <a:prstGeom prst="rect">
            <a:avLst/>
          </a:prstGeom>
          <a:solidFill>
            <a:schemeClr val="bg1"/>
          </a:solidFill>
          <a:effectLst>
            <a:outerShdw blurRad="50800" dist="76200" dir="2700000" algn="tl" rotWithShape="0">
              <a:prstClr val="black">
                <a:alpha val="40000"/>
              </a:prstClr>
            </a:outerShdw>
          </a:effectLst>
        </p:spPr>
        <p:txBody>
          <a:bodyPr wrap="square" anchor="ctr" anchorCtr="1">
            <a:noAutofit/>
          </a:bodyPr>
          <a:lstStyle/>
          <a:p>
            <a:pPr defTabSz="914377">
              <a:lnSpc>
                <a:spcPct val="101000"/>
              </a:lnSpc>
              <a:spcAft>
                <a:spcPts val="600"/>
              </a:spcAft>
              <a:buClr>
                <a:schemeClr val="tx2"/>
              </a:buClr>
            </a:pPr>
            <a:r>
              <a:rPr lang="fr-FR" sz="800" i="1" dirty="0">
                <a:latin typeface="+mj-lt"/>
              </a:rPr>
              <a:t>« En 2021, le rythme a été multiplié par 5, passant de 4 000 à 20.000 points de charge. </a:t>
            </a:r>
            <a:r>
              <a:rPr lang="fr-FR" sz="800" i="1" dirty="0" smtClean="0">
                <a:latin typeface="+mj-lt"/>
              </a:rPr>
              <a:t>Aujourd’hui</a:t>
            </a:r>
            <a:r>
              <a:rPr lang="fr-FR" sz="800" i="1" dirty="0">
                <a:latin typeface="+mj-lt"/>
              </a:rPr>
              <a:t>, la moyenne est de 4000 points de recharge publics installés chaque mois, soit le double de l’année </a:t>
            </a:r>
            <a:r>
              <a:rPr lang="fr-FR" sz="800" i="1" dirty="0" smtClean="0">
                <a:latin typeface="+mj-lt"/>
              </a:rPr>
              <a:t>dernière ». </a:t>
            </a:r>
            <a:r>
              <a:rPr lang="fr-FR" sz="800" i="1" dirty="0">
                <a:latin typeface="+mj-lt"/>
              </a:rPr>
              <a:t> </a:t>
            </a:r>
            <a:r>
              <a:rPr lang="fr-FR" sz="800" dirty="0" smtClean="0">
                <a:latin typeface="+mj-lt"/>
              </a:rPr>
              <a:t>Clément </a:t>
            </a:r>
            <a:r>
              <a:rPr lang="fr-FR" sz="800" dirty="0">
                <a:latin typeface="+mj-lt"/>
              </a:rPr>
              <a:t>Molizon, </a:t>
            </a:r>
            <a:r>
              <a:rPr lang="fr-FR" sz="800" dirty="0" err="1" smtClean="0">
                <a:latin typeface="+mj-lt"/>
              </a:rPr>
              <a:t>Avere</a:t>
            </a:r>
            <a:r>
              <a:rPr lang="fr-FR" sz="800" dirty="0" smtClean="0">
                <a:latin typeface="+mj-lt"/>
              </a:rPr>
              <a:t> France</a:t>
            </a:r>
            <a:endParaRPr lang="fr-FR" sz="800" dirty="0">
              <a:latin typeface="+mj-lt"/>
            </a:endParaRPr>
          </a:p>
        </p:txBody>
      </p:sp>
      <p:sp>
        <p:nvSpPr>
          <p:cNvPr id="5" name="Rectangle 4"/>
          <p:cNvSpPr/>
          <p:nvPr/>
        </p:nvSpPr>
        <p:spPr>
          <a:xfrm>
            <a:off x="495447" y="1285111"/>
            <a:ext cx="5520040" cy="5074394"/>
          </a:xfrm>
          <a:prstGeom prst="rect">
            <a:avLst/>
          </a:prstGeom>
          <a:solidFill>
            <a:schemeClr val="bg1"/>
          </a:solidFill>
          <a:effectLst>
            <a:outerShdw blurRad="50800" dist="76200" dir="2700000" algn="tl" rotWithShape="0">
              <a:prstClr val="black">
                <a:alpha val="40000"/>
              </a:prstClr>
            </a:outerShdw>
          </a:effectLst>
        </p:spPr>
        <p:txBody>
          <a:bodyPr wrap="square" anchor="ctr" anchorCtr="1">
            <a:noAutofit/>
          </a:bodyPr>
          <a:lstStyle/>
          <a:p>
            <a:pPr marL="285750" indent="-285750" defTabSz="914377">
              <a:lnSpc>
                <a:spcPct val="101000"/>
              </a:lnSpc>
              <a:spcAft>
                <a:spcPts val="600"/>
              </a:spcAft>
              <a:buClr>
                <a:schemeClr val="tx2"/>
              </a:buClr>
              <a:buFont typeface="Wingdings" panose="05000000000000000000" pitchFamily="2" charset="2"/>
              <a:buChar char="q"/>
            </a:pPr>
            <a:r>
              <a:rPr lang="fr-FR" sz="1200" dirty="0">
                <a:latin typeface="+mj-lt"/>
              </a:rPr>
              <a:t>Avec </a:t>
            </a:r>
            <a:r>
              <a:rPr lang="fr-FR" sz="1200" b="1" dirty="0">
                <a:latin typeface="+mj-lt"/>
              </a:rPr>
              <a:t>100 596 bornes à la fin mai</a:t>
            </a:r>
            <a:r>
              <a:rPr lang="fr-FR" sz="1200" dirty="0">
                <a:latin typeface="+mj-lt"/>
              </a:rPr>
              <a:t>, dont près de 6 800 d’une puissance de charge rapide de plus de 150 </a:t>
            </a:r>
            <a:r>
              <a:rPr lang="fr-FR" sz="1200" dirty="0" smtClean="0">
                <a:latin typeface="+mj-lt"/>
              </a:rPr>
              <a:t>kW, </a:t>
            </a:r>
            <a:r>
              <a:rPr lang="fr-FR" sz="1200" dirty="0">
                <a:latin typeface="+mj-lt"/>
              </a:rPr>
              <a:t>la France dépasse </a:t>
            </a:r>
            <a:r>
              <a:rPr lang="fr-FR" sz="1200" dirty="0" smtClean="0">
                <a:latin typeface="+mj-lt"/>
              </a:rPr>
              <a:t>l’Allemagne et se situe en 2</a:t>
            </a:r>
            <a:r>
              <a:rPr lang="fr-FR" sz="1200" baseline="30000" dirty="0" smtClean="0">
                <a:latin typeface="+mj-lt"/>
              </a:rPr>
              <a:t>e</a:t>
            </a:r>
            <a:r>
              <a:rPr lang="fr-FR" sz="1200" dirty="0" smtClean="0">
                <a:latin typeface="+mj-lt"/>
              </a:rPr>
              <a:t> position derrière les </a:t>
            </a:r>
            <a:r>
              <a:rPr lang="fr-FR" sz="1200" dirty="0">
                <a:latin typeface="+mj-lt"/>
              </a:rPr>
              <a:t>Pays-Bas (115 000 </a:t>
            </a:r>
            <a:r>
              <a:rPr lang="fr-FR" sz="1200" dirty="0" smtClean="0">
                <a:latin typeface="+mj-lt"/>
              </a:rPr>
              <a:t>bornes).</a:t>
            </a:r>
          </a:p>
          <a:p>
            <a:pPr marL="285750" indent="-285750" defTabSz="914377">
              <a:lnSpc>
                <a:spcPct val="101000"/>
              </a:lnSpc>
              <a:spcAft>
                <a:spcPts val="600"/>
              </a:spcAft>
              <a:buClr>
                <a:schemeClr val="tx2"/>
              </a:buClr>
              <a:buFont typeface="Wingdings" panose="05000000000000000000" pitchFamily="2" charset="2"/>
              <a:buChar char="q"/>
            </a:pPr>
            <a:r>
              <a:rPr lang="fr-FR" sz="1200" dirty="0" smtClean="0">
                <a:latin typeface="+mj-lt"/>
              </a:rPr>
              <a:t>En </a:t>
            </a:r>
            <a:r>
              <a:rPr lang="fr-FR" sz="1200" b="1" dirty="0" smtClean="0">
                <a:latin typeface="+mj-lt"/>
              </a:rPr>
              <a:t>2030</a:t>
            </a:r>
            <a:r>
              <a:rPr lang="fr-FR" sz="1200" dirty="0" smtClean="0">
                <a:latin typeface="+mj-lt"/>
              </a:rPr>
              <a:t> selon les estimations de l’</a:t>
            </a:r>
            <a:r>
              <a:rPr lang="fr-FR" sz="1200" dirty="0" err="1" smtClean="0">
                <a:latin typeface="+mj-lt"/>
              </a:rPr>
              <a:t>Avere</a:t>
            </a:r>
            <a:r>
              <a:rPr lang="fr-FR" sz="1200" dirty="0" smtClean="0">
                <a:latin typeface="+mj-lt"/>
              </a:rPr>
              <a:t> France, il faudra de l’ordre </a:t>
            </a:r>
            <a:r>
              <a:rPr lang="fr-FR" sz="1200" b="1" dirty="0" smtClean="0">
                <a:latin typeface="+mj-lt"/>
              </a:rPr>
              <a:t>400 </a:t>
            </a:r>
            <a:r>
              <a:rPr lang="fr-FR" sz="1200" b="1" dirty="0">
                <a:latin typeface="+mj-lt"/>
              </a:rPr>
              <a:t>000 points de </a:t>
            </a:r>
            <a:r>
              <a:rPr lang="fr-FR" sz="1200" b="1" dirty="0" smtClean="0">
                <a:latin typeface="+mj-lt"/>
              </a:rPr>
              <a:t>charge </a:t>
            </a:r>
            <a:r>
              <a:rPr lang="fr-FR" sz="1200" b="1" dirty="0">
                <a:latin typeface="+mj-lt"/>
              </a:rPr>
              <a:t>ouverts au </a:t>
            </a:r>
            <a:r>
              <a:rPr lang="fr-FR" sz="1200" b="1" dirty="0" smtClean="0">
                <a:latin typeface="+mj-lt"/>
              </a:rPr>
              <a:t>public</a:t>
            </a:r>
          </a:p>
          <a:p>
            <a:pPr marL="285750" indent="-285750" defTabSz="914377">
              <a:lnSpc>
                <a:spcPct val="101000"/>
              </a:lnSpc>
              <a:spcAft>
                <a:spcPts val="600"/>
              </a:spcAft>
              <a:buClr>
                <a:schemeClr val="tx2"/>
              </a:buClr>
              <a:buFont typeface="Wingdings" panose="05000000000000000000" pitchFamily="2" charset="2"/>
              <a:buChar char="q"/>
            </a:pPr>
            <a:r>
              <a:rPr lang="fr-FR" sz="1200" dirty="0" smtClean="0">
                <a:latin typeface="+mj-lt"/>
              </a:rPr>
              <a:t>La grande majorité des ces points de charge sont déployés sur les </a:t>
            </a:r>
            <a:r>
              <a:rPr lang="fr-FR" sz="1200" b="1" dirty="0" smtClean="0">
                <a:latin typeface="+mj-lt"/>
              </a:rPr>
              <a:t>parkings d’enseignes de grande distribution, de chaînes de fastfood ou d’autres centres commerciaux </a:t>
            </a:r>
            <a:r>
              <a:rPr lang="fr-FR" sz="1200" dirty="0" smtClean="0">
                <a:latin typeface="+mj-lt"/>
              </a:rPr>
              <a:t>recevant du public (voir page suivante) et le reste est installé </a:t>
            </a:r>
            <a:r>
              <a:rPr lang="fr-FR" sz="1200" b="1" dirty="0" smtClean="0">
                <a:latin typeface="+mj-lt"/>
              </a:rPr>
              <a:t>en voirie </a:t>
            </a:r>
            <a:r>
              <a:rPr lang="fr-FR" sz="1200" dirty="0" smtClean="0">
                <a:latin typeface="+mj-lt"/>
              </a:rPr>
              <a:t>dans le cadre des </a:t>
            </a:r>
            <a:r>
              <a:rPr lang="fr-FR" sz="1200" b="1" dirty="0" smtClean="0">
                <a:latin typeface="+mj-lt"/>
              </a:rPr>
              <a:t>SDIRVE*</a:t>
            </a:r>
            <a:r>
              <a:rPr lang="fr-FR" sz="1200" dirty="0" smtClean="0">
                <a:latin typeface="+mj-lt"/>
              </a:rPr>
              <a:t>. Dans tous les cas, </a:t>
            </a:r>
            <a:r>
              <a:rPr lang="fr-FR" sz="1200" b="1" dirty="0" smtClean="0">
                <a:latin typeface="+mj-lt"/>
              </a:rPr>
              <a:t>Enedis accompagne ces plans de déploiement et raccorde les nouveaux points de livraison associés.</a:t>
            </a:r>
          </a:p>
          <a:p>
            <a:pPr marL="285750" indent="-285750" defTabSz="914377">
              <a:lnSpc>
                <a:spcPct val="101000"/>
              </a:lnSpc>
              <a:spcAft>
                <a:spcPts val="600"/>
              </a:spcAft>
              <a:buClr>
                <a:schemeClr val="tx2"/>
              </a:buClr>
              <a:buFont typeface="Wingdings" panose="05000000000000000000" pitchFamily="2" charset="2"/>
              <a:buChar char="q"/>
            </a:pPr>
            <a:r>
              <a:rPr lang="fr-FR" sz="1200" dirty="0" smtClean="0">
                <a:latin typeface="+mj-lt"/>
              </a:rPr>
              <a:t>Sur les </a:t>
            </a:r>
            <a:r>
              <a:rPr lang="fr-FR" sz="1200" b="1" dirty="0" smtClean="0">
                <a:latin typeface="+mj-lt"/>
              </a:rPr>
              <a:t>autoroutes</a:t>
            </a:r>
            <a:r>
              <a:rPr lang="fr-FR" sz="1200" dirty="0" smtClean="0">
                <a:latin typeface="+mj-lt"/>
              </a:rPr>
              <a:t> :</a:t>
            </a:r>
          </a:p>
          <a:p>
            <a:pPr marL="541338" indent="-200025" defTabSz="914377">
              <a:lnSpc>
                <a:spcPct val="101000"/>
              </a:lnSpc>
              <a:spcAft>
                <a:spcPts val="600"/>
              </a:spcAft>
              <a:buClr>
                <a:schemeClr val="tx2"/>
              </a:buClr>
              <a:buFont typeface="Wingdings" panose="05000000000000000000" pitchFamily="2" charset="2"/>
              <a:buChar char="ü"/>
            </a:pPr>
            <a:r>
              <a:rPr lang="fr-FR" sz="1200" dirty="0">
                <a:latin typeface="+mj-lt"/>
              </a:rPr>
              <a:t>L</a:t>
            </a:r>
            <a:r>
              <a:rPr lang="fr-FR" sz="1200" dirty="0" smtClean="0">
                <a:latin typeface="+mj-lt"/>
              </a:rPr>
              <a:t>a </a:t>
            </a:r>
            <a:r>
              <a:rPr lang="fr-FR" sz="1200" b="1" dirty="0" smtClean="0">
                <a:latin typeface="+mj-lt"/>
              </a:rPr>
              <a:t>première phase d’équipement </a:t>
            </a:r>
            <a:r>
              <a:rPr lang="fr-FR" sz="1200" dirty="0" smtClean="0">
                <a:latin typeface="+mj-lt"/>
              </a:rPr>
              <a:t>des aires de service du domaine concédé avec des bornes de recharge haute puissance est - quasi - achevée avec un peu de retard ; </a:t>
            </a:r>
            <a:r>
              <a:rPr lang="fr-FR" sz="1200" b="1" dirty="0" smtClean="0">
                <a:latin typeface="+mj-lt"/>
              </a:rPr>
              <a:t>Enedis </a:t>
            </a:r>
            <a:r>
              <a:rPr lang="fr-FR" sz="1200" dirty="0" smtClean="0">
                <a:latin typeface="+mj-lt"/>
              </a:rPr>
              <a:t>a fait sa part et </a:t>
            </a:r>
            <a:r>
              <a:rPr lang="fr-FR" sz="1200" b="1" dirty="0" smtClean="0">
                <a:latin typeface="+mj-lt"/>
              </a:rPr>
              <a:t>raccordé les puissances demandées</a:t>
            </a:r>
            <a:r>
              <a:rPr lang="fr-FR" sz="1200" dirty="0" smtClean="0">
                <a:latin typeface="+mj-lt"/>
              </a:rPr>
              <a:t> (1.7 MW en moyenne) dans les délais et avec une bonne  satisfaction des parties prenantes</a:t>
            </a:r>
          </a:p>
          <a:p>
            <a:pPr marL="541338" indent="-200025" defTabSz="914377">
              <a:lnSpc>
                <a:spcPct val="101000"/>
              </a:lnSpc>
              <a:spcAft>
                <a:spcPts val="600"/>
              </a:spcAft>
              <a:buClr>
                <a:schemeClr val="tx2"/>
              </a:buClr>
              <a:buFont typeface="Wingdings" panose="05000000000000000000" pitchFamily="2" charset="2"/>
              <a:buChar char="ü"/>
            </a:pPr>
            <a:r>
              <a:rPr lang="fr-FR" sz="1200" dirty="0" smtClean="0">
                <a:latin typeface="+mj-lt"/>
              </a:rPr>
              <a:t>Le </a:t>
            </a:r>
            <a:r>
              <a:rPr lang="fr-FR" sz="1200" b="1" dirty="0" smtClean="0">
                <a:latin typeface="+mj-lt"/>
              </a:rPr>
              <a:t>maillage </a:t>
            </a:r>
            <a:r>
              <a:rPr lang="fr-FR" sz="1200" dirty="0" smtClean="0">
                <a:latin typeface="+mj-lt"/>
              </a:rPr>
              <a:t>apparaît maintenant </a:t>
            </a:r>
            <a:r>
              <a:rPr lang="fr-FR" sz="1200" b="1" dirty="0" smtClean="0">
                <a:latin typeface="+mj-lt"/>
              </a:rPr>
              <a:t>satisfaisant </a:t>
            </a:r>
            <a:r>
              <a:rPr lang="fr-FR" sz="1200" dirty="0" smtClean="0">
                <a:latin typeface="+mj-lt"/>
              </a:rPr>
              <a:t>et le week</a:t>
            </a:r>
            <a:r>
              <a:rPr lang="fr-FR" sz="1200" dirty="0">
                <a:latin typeface="+mj-lt"/>
              </a:rPr>
              <a:t>-</a:t>
            </a:r>
            <a:r>
              <a:rPr lang="fr-FR" sz="1200" dirty="0" smtClean="0">
                <a:latin typeface="+mj-lt"/>
              </a:rPr>
              <a:t>end de l’Ascension, qui s’est bien passé, laisse augurer d’un chassé croisé estival plutôt fluide</a:t>
            </a:r>
          </a:p>
          <a:p>
            <a:pPr marL="541338" indent="-200025" defTabSz="914377">
              <a:lnSpc>
                <a:spcPct val="101000"/>
              </a:lnSpc>
              <a:spcAft>
                <a:spcPts val="600"/>
              </a:spcAft>
              <a:buClr>
                <a:schemeClr val="tx2"/>
              </a:buClr>
              <a:buFont typeface="Wingdings" panose="05000000000000000000" pitchFamily="2" charset="2"/>
              <a:buChar char="ü"/>
            </a:pPr>
            <a:r>
              <a:rPr lang="fr-FR" sz="1200" dirty="0">
                <a:latin typeface="+mj-lt"/>
              </a:rPr>
              <a:t>L</a:t>
            </a:r>
            <a:r>
              <a:rPr lang="fr-FR" sz="1200" dirty="0" smtClean="0">
                <a:latin typeface="+mj-lt"/>
              </a:rPr>
              <a:t>es </a:t>
            </a:r>
            <a:r>
              <a:rPr lang="fr-FR" sz="1200" b="1" dirty="0" smtClean="0">
                <a:latin typeface="+mj-lt"/>
              </a:rPr>
              <a:t>besoins croissants en puissance </a:t>
            </a:r>
            <a:r>
              <a:rPr lang="fr-FR" sz="1200" dirty="0" smtClean="0">
                <a:latin typeface="+mj-lt"/>
              </a:rPr>
              <a:t>nécessiteront d’adapter le processus de raccordement de manière à </a:t>
            </a:r>
            <a:r>
              <a:rPr lang="fr-FR" sz="1200" b="1" dirty="0" smtClean="0">
                <a:latin typeface="+mj-lt"/>
              </a:rPr>
              <a:t>anticiper, planifier et financer</a:t>
            </a:r>
            <a:r>
              <a:rPr lang="fr-FR" sz="1200" dirty="0" smtClean="0">
                <a:latin typeface="+mj-lt"/>
              </a:rPr>
              <a:t> les investissements réseaux nécessaires</a:t>
            </a:r>
            <a:endParaRPr lang="fr-FR" sz="1200" dirty="0">
              <a:latin typeface="+mj-lt"/>
            </a:endParaRPr>
          </a:p>
          <a:p>
            <a:pPr marL="541338" indent="-200025" defTabSz="914377">
              <a:lnSpc>
                <a:spcPct val="101000"/>
              </a:lnSpc>
              <a:spcAft>
                <a:spcPts val="600"/>
              </a:spcAft>
              <a:buClr>
                <a:schemeClr val="tx2"/>
              </a:buClr>
              <a:buFont typeface="Wingdings" panose="05000000000000000000" pitchFamily="2" charset="2"/>
              <a:buChar char="ü"/>
            </a:pPr>
            <a:endParaRPr lang="fr-FR" sz="1200" dirty="0" smtClean="0">
              <a:latin typeface="+mj-lt"/>
            </a:endParaRPr>
          </a:p>
        </p:txBody>
      </p:sp>
      <p:sp>
        <p:nvSpPr>
          <p:cNvPr id="7" name="Slide Number Placeholder 3">
            <a:extLst>
              <a:ext uri="{FF2B5EF4-FFF2-40B4-BE49-F238E27FC236}">
                <a16:creationId xmlns:a16="http://schemas.microsoft.com/office/drawing/2014/main" id="{29869B0A-245E-6617-42EE-AD9F74932BA2}"/>
              </a:ext>
            </a:extLst>
          </p:cNvPr>
          <p:cNvSpPr txBox="1">
            <a:spLocks/>
          </p:cNvSpPr>
          <p:nvPr/>
        </p:nvSpPr>
        <p:spPr>
          <a:xfrm>
            <a:off x="11203781" y="6514718"/>
            <a:ext cx="465150" cy="154849"/>
          </a:xfrm>
          <a:prstGeom prst="rect">
            <a:avLst/>
          </a:prstGeom>
        </p:spPr>
        <p:txBody>
          <a:bodyPr vert="horz" lIns="0" tIns="0" rIns="0" bIns="0" rtlCol="0" anchor="ctr"/>
          <a:lstStyle>
            <a:defPPr>
              <a:defRPr lang="en-US"/>
            </a:defPPr>
            <a:lvl1pPr marL="0" algn="r" defTabSz="609585" rtl="0" eaLnBrk="1" latinLnBrk="0" hangingPunct="1">
              <a:defRPr sz="750" b="1" kern="1200">
                <a:solidFill>
                  <a:schemeClr val="tx2"/>
                </a:solidFill>
                <a:latin typeface="+mj-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6B54B0F7-55DD-40D6-B7F4-70B586885C0B}" type="slidenum">
              <a:rPr lang="fr-FR" sz="800" smtClean="0"/>
              <a:pPr/>
              <a:t>7</a:t>
            </a:fld>
            <a:endParaRPr lang="fr-FR" sz="800" dirty="0"/>
          </a:p>
        </p:txBody>
      </p:sp>
      <p:sp>
        <p:nvSpPr>
          <p:cNvPr id="8" name="Titre 3"/>
          <p:cNvSpPr txBox="1">
            <a:spLocks/>
          </p:cNvSpPr>
          <p:nvPr/>
        </p:nvSpPr>
        <p:spPr>
          <a:xfrm>
            <a:off x="1379975" y="6487754"/>
            <a:ext cx="5569465" cy="129266"/>
          </a:xfrm>
          <a:prstGeom prst="rect">
            <a:avLst/>
          </a:prstGeom>
        </p:spPr>
        <p:txBody>
          <a:bodyPr vert="horz" wrap="square" lIns="0" tIns="0" rIns="0" bIns="0" rtlCol="0" anchor="t">
            <a:spAutoFit/>
          </a:bodyPr>
          <a:lstStyle>
            <a:lvl1pPr algn="l" defTabSz="914377" rtl="0" eaLnBrk="1" latinLnBrk="0" hangingPunct="1">
              <a:lnSpc>
                <a:spcPct val="84000"/>
              </a:lnSpc>
              <a:spcBef>
                <a:spcPct val="0"/>
              </a:spcBef>
              <a:buNone/>
              <a:defRPr sz="3450" b="1" kern="1200">
                <a:solidFill>
                  <a:schemeClr val="tx2"/>
                </a:solidFill>
                <a:latin typeface="+mj-lt"/>
                <a:ea typeface="+mj-ea"/>
                <a:cs typeface="+mj-cs"/>
              </a:defRPr>
            </a:lvl1pPr>
          </a:lstStyle>
          <a:p>
            <a:r>
              <a:rPr lang="fr-FR" sz="1000" dirty="0" smtClean="0">
                <a:solidFill>
                  <a:schemeClr val="tx1"/>
                </a:solidFill>
              </a:rPr>
              <a:t>* S</a:t>
            </a:r>
            <a:r>
              <a:rPr lang="fr-FR" sz="1000" b="0" dirty="0" smtClean="0">
                <a:solidFill>
                  <a:schemeClr val="tx1"/>
                </a:solidFill>
              </a:rPr>
              <a:t>chémas </a:t>
            </a:r>
            <a:r>
              <a:rPr lang="fr-FR" sz="1000" dirty="0" smtClean="0">
                <a:solidFill>
                  <a:schemeClr val="tx1"/>
                </a:solidFill>
              </a:rPr>
              <a:t>D</a:t>
            </a:r>
            <a:r>
              <a:rPr lang="fr-FR" sz="1000" b="0" dirty="0" smtClean="0">
                <a:solidFill>
                  <a:schemeClr val="tx1"/>
                </a:solidFill>
              </a:rPr>
              <a:t>irecteurs d’</a:t>
            </a:r>
            <a:r>
              <a:rPr lang="fr-FR" sz="1000" dirty="0" smtClean="0">
                <a:solidFill>
                  <a:schemeClr val="tx1"/>
                </a:solidFill>
              </a:rPr>
              <a:t>I</a:t>
            </a:r>
            <a:r>
              <a:rPr lang="fr-FR" sz="1000" b="0" dirty="0" smtClean="0">
                <a:solidFill>
                  <a:schemeClr val="tx1"/>
                </a:solidFill>
              </a:rPr>
              <a:t>nfrastructures de </a:t>
            </a:r>
            <a:r>
              <a:rPr lang="fr-FR" sz="1000" dirty="0" smtClean="0">
                <a:solidFill>
                  <a:schemeClr val="tx1"/>
                </a:solidFill>
              </a:rPr>
              <a:t>R</a:t>
            </a:r>
            <a:r>
              <a:rPr lang="fr-FR" sz="1000" b="0" dirty="0" smtClean="0">
                <a:solidFill>
                  <a:schemeClr val="tx1"/>
                </a:solidFill>
              </a:rPr>
              <a:t>echarge des </a:t>
            </a:r>
            <a:r>
              <a:rPr lang="fr-FR" sz="1000" dirty="0" smtClean="0">
                <a:solidFill>
                  <a:schemeClr val="tx1"/>
                </a:solidFill>
              </a:rPr>
              <a:t>V</a:t>
            </a:r>
            <a:r>
              <a:rPr lang="fr-FR" sz="1000" b="0" dirty="0" smtClean="0">
                <a:solidFill>
                  <a:schemeClr val="tx1"/>
                </a:solidFill>
              </a:rPr>
              <a:t>éhicules </a:t>
            </a:r>
            <a:r>
              <a:rPr lang="fr-FR" sz="1000" dirty="0" smtClean="0">
                <a:solidFill>
                  <a:schemeClr val="tx1"/>
                </a:solidFill>
              </a:rPr>
              <a:t>E</a:t>
            </a:r>
            <a:r>
              <a:rPr lang="fr-FR" sz="1000" b="0" dirty="0" smtClean="0">
                <a:solidFill>
                  <a:schemeClr val="tx1"/>
                </a:solidFill>
              </a:rPr>
              <a:t>lectriques (SDIRVE)</a:t>
            </a:r>
            <a:endParaRPr lang="fr-FR" sz="1000" b="0" dirty="0">
              <a:solidFill>
                <a:schemeClr val="tx1"/>
              </a:solidFill>
            </a:endParaRPr>
          </a:p>
        </p:txBody>
      </p:sp>
      <p:pic>
        <p:nvPicPr>
          <p:cNvPr id="11" name="Image 10"/>
          <p:cNvPicPr/>
          <p:nvPr/>
        </p:nvPicPr>
        <p:blipFill rotWithShape="1">
          <a:blip r:embed="rId4" cstate="print">
            <a:extLst>
              <a:ext uri="{28A0092B-C50C-407E-A947-70E740481C1C}">
                <a14:useLocalDpi xmlns:a14="http://schemas.microsoft.com/office/drawing/2010/main"/>
              </a:ext>
            </a:extLst>
          </a:blip>
          <a:srcRect/>
          <a:stretch/>
        </p:blipFill>
        <p:spPr bwMode="auto">
          <a:xfrm>
            <a:off x="7520691" y="4331555"/>
            <a:ext cx="1150097" cy="351180"/>
          </a:xfrm>
          <a:prstGeom prst="rect">
            <a:avLst/>
          </a:prstGeom>
          <a:ln>
            <a:noFill/>
          </a:ln>
          <a:extLst>
            <a:ext uri="{53640926-AAD7-44D8-BBD7-CCE9431645EC}">
              <a14:shadowObscured xmlns:a14="http://schemas.microsoft.com/office/drawing/2010/main"/>
            </a:ext>
          </a:extLst>
        </p:spPr>
      </p:pic>
      <p:pic>
        <p:nvPicPr>
          <p:cNvPr id="12" name="Image 11"/>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573786" y="5380582"/>
            <a:ext cx="1098042" cy="322707"/>
          </a:xfrm>
          <a:prstGeom prst="rect">
            <a:avLst/>
          </a:prstGeom>
        </p:spPr>
      </p:pic>
    </p:spTree>
    <p:extLst>
      <p:ext uri="{BB962C8B-B14F-4D97-AF65-F5344CB8AC3E}">
        <p14:creationId xmlns:p14="http://schemas.microsoft.com/office/powerpoint/2010/main" val="52584691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Graphique 20"/>
          <p:cNvGraphicFramePr>
            <a:graphicFrameLocks/>
          </p:cNvGraphicFramePr>
          <p:nvPr>
            <p:extLst>
              <p:ext uri="{D42A27DB-BD31-4B8C-83A1-F6EECF244321}">
                <p14:modId xmlns:p14="http://schemas.microsoft.com/office/powerpoint/2010/main" val="1600446583"/>
              </p:ext>
            </p:extLst>
          </p:nvPr>
        </p:nvGraphicFramePr>
        <p:xfrm>
          <a:off x="4492762" y="1389248"/>
          <a:ext cx="7635980" cy="4930716"/>
        </p:xfrm>
        <a:graphic>
          <a:graphicData uri="http://schemas.openxmlformats.org/drawingml/2006/chart">
            <c:chart xmlns:c="http://schemas.openxmlformats.org/drawingml/2006/chart" xmlns:r="http://schemas.openxmlformats.org/officeDocument/2006/relationships" r:id="rId2"/>
          </a:graphicData>
        </a:graphic>
      </p:graphicFrame>
      <p:sp>
        <p:nvSpPr>
          <p:cNvPr id="7" name="ZoneTexte 6"/>
          <p:cNvSpPr txBox="1"/>
          <p:nvPr/>
        </p:nvSpPr>
        <p:spPr>
          <a:xfrm>
            <a:off x="10930847" y="1720684"/>
            <a:ext cx="674375" cy="255519"/>
          </a:xfrm>
          <a:prstGeom prst="rect">
            <a:avLst/>
          </a:prstGeom>
          <a:solidFill>
            <a:schemeClr val="bg1"/>
          </a:solidFill>
          <a:ln w="28575">
            <a:solidFill>
              <a:schemeClr val="accent3"/>
            </a:solidFill>
          </a:ln>
        </p:spPr>
        <p:txBody>
          <a:bodyPr wrap="square" lIns="0" rIns="0" rtlCol="0">
            <a:spAutoFit/>
          </a:bodyPr>
          <a:lstStyle/>
          <a:p>
            <a:pPr lvl="0" algn="ctr" defTabSz="914377">
              <a:lnSpc>
                <a:spcPct val="101000"/>
              </a:lnSpc>
              <a:spcAft>
                <a:spcPts val="600"/>
              </a:spcAft>
              <a:buClr>
                <a:srgbClr val="1423DC"/>
              </a:buClr>
            </a:pPr>
            <a:r>
              <a:rPr lang="fr-FR" sz="1050" b="1" dirty="0" smtClean="0">
                <a:solidFill>
                  <a:srgbClr val="EB6E3C"/>
                </a:solidFill>
                <a:latin typeface="Enedis"/>
              </a:rPr>
              <a:t>1 834 023</a:t>
            </a:r>
          </a:p>
        </p:txBody>
      </p:sp>
      <p:sp>
        <p:nvSpPr>
          <p:cNvPr id="8" name="Titre 3"/>
          <p:cNvSpPr>
            <a:spLocks noGrp="1"/>
          </p:cNvSpPr>
          <p:nvPr>
            <p:ph type="title"/>
          </p:nvPr>
        </p:nvSpPr>
        <p:spPr>
          <a:xfrm>
            <a:off x="323327" y="313474"/>
            <a:ext cx="11514579" cy="775597"/>
          </a:xfrm>
        </p:spPr>
        <p:txBody>
          <a:bodyPr/>
          <a:lstStyle/>
          <a:p>
            <a:r>
              <a:rPr lang="en-US" sz="2800" dirty="0" err="1" smtClean="0"/>
              <a:t>Tous</a:t>
            </a:r>
            <a:r>
              <a:rPr lang="en-US" sz="2800" dirty="0" smtClean="0"/>
              <a:t> les points de charge </a:t>
            </a:r>
            <a:r>
              <a:rPr lang="en-US" sz="2800" dirty="0" err="1" smtClean="0"/>
              <a:t>nécessaires</a:t>
            </a:r>
            <a:r>
              <a:rPr lang="en-US" sz="2800" dirty="0" smtClean="0"/>
              <a:t> aux </a:t>
            </a:r>
            <a:r>
              <a:rPr lang="en-US" sz="2800" dirty="0" err="1" smtClean="0"/>
              <a:t>véhicules</a:t>
            </a:r>
            <a:r>
              <a:rPr lang="en-US" sz="2800" dirty="0" smtClean="0"/>
              <a:t> </a:t>
            </a:r>
            <a:r>
              <a:rPr lang="en-US" sz="2800" dirty="0" err="1" smtClean="0"/>
              <a:t>électriques</a:t>
            </a:r>
            <a:r>
              <a:rPr lang="en-US" sz="2800" dirty="0" smtClean="0"/>
              <a:t> </a:t>
            </a:r>
            <a:r>
              <a:rPr lang="en-US" sz="2800" dirty="0" err="1" smtClean="0"/>
              <a:t>sont</a:t>
            </a:r>
            <a:r>
              <a:rPr lang="en-US" sz="2800" dirty="0" smtClean="0"/>
              <a:t> </a:t>
            </a:r>
            <a:r>
              <a:rPr lang="en-US" sz="2800" dirty="0" err="1" smtClean="0"/>
              <a:t>raccordés</a:t>
            </a:r>
            <a:r>
              <a:rPr lang="en-US" sz="2800" dirty="0" smtClean="0"/>
              <a:t>, </a:t>
            </a:r>
            <a:r>
              <a:rPr lang="en-US" sz="2800" dirty="0" err="1" smtClean="0"/>
              <a:t>directement</a:t>
            </a:r>
            <a:r>
              <a:rPr lang="en-US" sz="2800" dirty="0" smtClean="0"/>
              <a:t> </a:t>
            </a:r>
            <a:r>
              <a:rPr lang="en-US" sz="2800" dirty="0" err="1" smtClean="0"/>
              <a:t>ou</a:t>
            </a:r>
            <a:r>
              <a:rPr lang="en-US" sz="2800" dirty="0" smtClean="0"/>
              <a:t> </a:t>
            </a:r>
            <a:r>
              <a:rPr lang="en-US" sz="2800" dirty="0" err="1" smtClean="0"/>
              <a:t>indirectement</a:t>
            </a:r>
            <a:r>
              <a:rPr lang="en-US" sz="2800" dirty="0" smtClean="0"/>
              <a:t>, au </a:t>
            </a:r>
            <a:r>
              <a:rPr lang="en-US" sz="2800" dirty="0" err="1" smtClean="0"/>
              <a:t>réseau</a:t>
            </a:r>
            <a:r>
              <a:rPr lang="en-US" sz="2800" dirty="0" smtClean="0"/>
              <a:t> de distribution </a:t>
            </a:r>
            <a:endParaRPr lang="en-US" sz="2800" dirty="0"/>
          </a:p>
        </p:txBody>
      </p:sp>
      <p:sp>
        <p:nvSpPr>
          <p:cNvPr id="10" name="Rectangle 9"/>
          <p:cNvSpPr/>
          <p:nvPr/>
        </p:nvSpPr>
        <p:spPr>
          <a:xfrm>
            <a:off x="7462397" y="1880755"/>
            <a:ext cx="2452150" cy="230832"/>
          </a:xfrm>
          <a:prstGeom prst="rect">
            <a:avLst/>
          </a:prstGeom>
        </p:spPr>
        <p:txBody>
          <a:bodyPr wrap="square">
            <a:spAutoFit/>
          </a:bodyPr>
          <a:lstStyle/>
          <a:p>
            <a:pPr algn="ctr">
              <a:spcAft>
                <a:spcPts val="800"/>
              </a:spcAft>
            </a:pPr>
            <a:r>
              <a:rPr lang="fr-FR" sz="900" i="1" dirty="0" smtClean="0">
                <a:solidFill>
                  <a:schemeClr val="tx1">
                    <a:lumMod val="65000"/>
                    <a:lumOff val="35000"/>
                  </a:schemeClr>
                </a:solidFill>
                <a:latin typeface="+mj-lt"/>
              </a:rPr>
              <a:t>Enedis </a:t>
            </a:r>
            <a:r>
              <a:rPr lang="fr-FR" sz="900" i="1" dirty="0" err="1" smtClean="0">
                <a:solidFill>
                  <a:schemeClr val="tx1">
                    <a:lumMod val="65000"/>
                    <a:lumOff val="35000"/>
                  </a:schemeClr>
                </a:solidFill>
                <a:latin typeface="+mj-lt"/>
              </a:rPr>
              <a:t>estimates</a:t>
            </a:r>
            <a:r>
              <a:rPr lang="fr-FR" sz="900" i="1" dirty="0" smtClean="0">
                <a:solidFill>
                  <a:schemeClr val="tx1">
                    <a:lumMod val="65000"/>
                    <a:lumOff val="35000"/>
                  </a:schemeClr>
                </a:solidFill>
                <a:latin typeface="+mj-lt"/>
              </a:rPr>
              <a:t> – </a:t>
            </a:r>
            <a:r>
              <a:rPr lang="fr-FR" sz="900" i="1" dirty="0" err="1" smtClean="0">
                <a:solidFill>
                  <a:schemeClr val="tx1">
                    <a:lumMod val="65000"/>
                    <a:lumOff val="35000"/>
                  </a:schemeClr>
                </a:solidFill>
                <a:latin typeface="+mj-lt"/>
              </a:rPr>
              <a:t>OpenData</a:t>
            </a:r>
            <a:r>
              <a:rPr lang="fr-FR" sz="900" i="1" dirty="0" smtClean="0">
                <a:solidFill>
                  <a:schemeClr val="tx1">
                    <a:lumMod val="65000"/>
                    <a:lumOff val="35000"/>
                  </a:schemeClr>
                </a:solidFill>
                <a:latin typeface="+mj-lt"/>
              </a:rPr>
              <a:t> Enedis</a:t>
            </a:r>
            <a:endParaRPr lang="fr-FR" sz="900" i="1" dirty="0">
              <a:solidFill>
                <a:schemeClr val="tx1">
                  <a:lumMod val="65000"/>
                  <a:lumOff val="35000"/>
                </a:schemeClr>
              </a:solidFill>
              <a:latin typeface="+mj-lt"/>
            </a:endParaRPr>
          </a:p>
        </p:txBody>
      </p:sp>
      <p:sp>
        <p:nvSpPr>
          <p:cNvPr id="39" name="Slide Number Placeholder 3">
            <a:extLst>
              <a:ext uri="{FF2B5EF4-FFF2-40B4-BE49-F238E27FC236}">
                <a16:creationId xmlns:a16="http://schemas.microsoft.com/office/drawing/2014/main" id="{29869B0A-245E-6617-42EE-AD9F74932BA2}"/>
              </a:ext>
            </a:extLst>
          </p:cNvPr>
          <p:cNvSpPr txBox="1">
            <a:spLocks/>
          </p:cNvSpPr>
          <p:nvPr/>
        </p:nvSpPr>
        <p:spPr>
          <a:xfrm>
            <a:off x="11323660" y="6514468"/>
            <a:ext cx="465150" cy="154849"/>
          </a:xfrm>
          <a:prstGeom prst="rect">
            <a:avLst/>
          </a:prstGeom>
        </p:spPr>
        <p:txBody>
          <a:bodyPr vert="horz" lIns="0" tIns="0" rIns="0" bIns="0" rtlCol="0" anchor="ctr"/>
          <a:lstStyle>
            <a:defPPr>
              <a:defRPr lang="en-US"/>
            </a:defPPr>
            <a:lvl1pPr marL="0" algn="r" defTabSz="609585" rtl="0" eaLnBrk="1" latinLnBrk="0" hangingPunct="1">
              <a:defRPr sz="750" b="1" kern="1200">
                <a:solidFill>
                  <a:schemeClr val="tx2"/>
                </a:solidFill>
                <a:latin typeface="+mj-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6B54B0F7-55DD-40D6-B7F4-70B586885C0B}" type="slidenum">
              <a:rPr lang="fr-FR" sz="800" smtClean="0"/>
              <a:pPr/>
              <a:t>8</a:t>
            </a:fld>
            <a:endParaRPr lang="fr-FR" sz="800" dirty="0"/>
          </a:p>
        </p:txBody>
      </p:sp>
      <p:cxnSp>
        <p:nvCxnSpPr>
          <p:cNvPr id="3" name="Connecteur droit avec flèche 2"/>
          <p:cNvCxnSpPr>
            <a:stCxn id="7" idx="3"/>
          </p:cNvCxnSpPr>
          <p:nvPr/>
        </p:nvCxnSpPr>
        <p:spPr>
          <a:xfrm flipV="1">
            <a:off x="11605222" y="1848443"/>
            <a:ext cx="258769" cy="1"/>
          </a:xfrm>
          <a:prstGeom prst="straightConnector1">
            <a:avLst/>
          </a:prstGeom>
          <a:ln w="25400">
            <a:solidFill>
              <a:schemeClr val="accent3"/>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 name="Connecteur droit avec flèche 3"/>
          <p:cNvCxnSpPr/>
          <p:nvPr/>
        </p:nvCxnSpPr>
        <p:spPr>
          <a:xfrm flipV="1">
            <a:off x="4946847" y="5259955"/>
            <a:ext cx="2379712" cy="283240"/>
          </a:xfrm>
          <a:prstGeom prst="straightConnector1">
            <a:avLst/>
          </a:prstGeom>
          <a:ln w="28575">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eur droit avec flèche 16"/>
          <p:cNvCxnSpPr/>
          <p:nvPr/>
        </p:nvCxnSpPr>
        <p:spPr>
          <a:xfrm flipV="1">
            <a:off x="7359117" y="4918450"/>
            <a:ext cx="1506587" cy="335828"/>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eur droit avec flèche 17"/>
          <p:cNvCxnSpPr/>
          <p:nvPr/>
        </p:nvCxnSpPr>
        <p:spPr>
          <a:xfrm flipV="1">
            <a:off x="8984975" y="4481128"/>
            <a:ext cx="511154" cy="365616"/>
          </a:xfrm>
          <a:prstGeom prst="straightConnector1">
            <a:avLst/>
          </a:prstGeom>
          <a:ln w="28575">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eur droit avec flèche 21"/>
          <p:cNvCxnSpPr/>
          <p:nvPr/>
        </p:nvCxnSpPr>
        <p:spPr>
          <a:xfrm flipV="1">
            <a:off x="9632437" y="2743200"/>
            <a:ext cx="1609512" cy="1647057"/>
          </a:xfrm>
          <a:prstGeom prst="straightConnector1">
            <a:avLst/>
          </a:prstGeom>
          <a:ln w="28575">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eur droit avec flèche 23"/>
          <p:cNvCxnSpPr/>
          <p:nvPr/>
        </p:nvCxnSpPr>
        <p:spPr>
          <a:xfrm flipV="1">
            <a:off x="11268035" y="1804081"/>
            <a:ext cx="576400" cy="886001"/>
          </a:xfrm>
          <a:prstGeom prst="straightConnector1">
            <a:avLst/>
          </a:prstGeom>
          <a:ln w="28575">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5" name="Image 4"/>
          <p:cNvPicPr>
            <a:picLocks noChangeAspect="1"/>
          </p:cNvPicPr>
          <p:nvPr/>
        </p:nvPicPr>
        <p:blipFill>
          <a:blip r:embed="rId3"/>
          <a:stretch>
            <a:fillRect/>
          </a:stretch>
        </p:blipFill>
        <p:spPr>
          <a:xfrm>
            <a:off x="350764" y="1530584"/>
            <a:ext cx="7095354" cy="3577109"/>
          </a:xfrm>
          <a:prstGeom prst="rect">
            <a:avLst/>
          </a:prstGeom>
          <a:solidFill>
            <a:schemeClr val="bg1"/>
          </a:solidFill>
          <a:effectLst>
            <a:outerShdw blurRad="50800" dist="76200" dir="2700000" algn="tl" rotWithShape="0">
              <a:prstClr val="black">
                <a:alpha val="40000"/>
              </a:prstClr>
            </a:outerShdw>
          </a:effectLst>
        </p:spPr>
      </p:pic>
      <p:sp>
        <p:nvSpPr>
          <p:cNvPr id="9" name="ZoneTexte 8"/>
          <p:cNvSpPr txBox="1"/>
          <p:nvPr/>
        </p:nvSpPr>
        <p:spPr>
          <a:xfrm>
            <a:off x="7212211" y="1508665"/>
            <a:ext cx="3371628" cy="372090"/>
          </a:xfrm>
          <a:prstGeom prst="rect">
            <a:avLst/>
          </a:prstGeom>
          <a:solidFill>
            <a:schemeClr val="bg1"/>
          </a:solidFill>
        </p:spPr>
        <p:txBody>
          <a:bodyPr wrap="square" rtlCol="0">
            <a:spAutoFit/>
          </a:bodyPr>
          <a:lstStyle/>
          <a:p>
            <a:pPr lvl="0" defTabSz="914377">
              <a:lnSpc>
                <a:spcPct val="101000"/>
              </a:lnSpc>
              <a:spcAft>
                <a:spcPts val="600"/>
              </a:spcAft>
              <a:buClr>
                <a:srgbClr val="1423DC"/>
              </a:buClr>
            </a:pPr>
            <a:r>
              <a:rPr lang="fr-FR" sz="1800" b="1" dirty="0" smtClean="0">
                <a:solidFill>
                  <a:schemeClr val="accent3"/>
                </a:solidFill>
                <a:latin typeface="Enedis"/>
              </a:rPr>
              <a:t># points de charge en France</a:t>
            </a:r>
            <a:endParaRPr lang="fr-FR" sz="1100" i="1" dirty="0">
              <a:solidFill>
                <a:schemeClr val="accent3"/>
              </a:solidFill>
              <a:latin typeface="Enedis"/>
            </a:endParaRPr>
          </a:p>
        </p:txBody>
      </p:sp>
    </p:spTree>
    <p:extLst>
      <p:ext uri="{BB962C8B-B14F-4D97-AF65-F5344CB8AC3E}">
        <p14:creationId xmlns:p14="http://schemas.microsoft.com/office/powerpoint/2010/main" val="73434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27CD049E-869E-C367-54D2-F665A737740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5" name="Diapositive think-cell" r:id="rId4" imgW="346" imgH="346" progId="TCLayout.ActiveDocument.1">
                  <p:embed/>
                </p:oleObj>
              </mc:Choice>
              <mc:Fallback>
                <p:oleObj name="Diapositive think-cell" r:id="rId4" imgW="346" imgH="346" progId="TCLayout.ActiveDocument.1">
                  <p:embed/>
                  <p:pic>
                    <p:nvPicPr>
                      <p:cNvPr id="32" name="Object 31" hidden="1">
                        <a:extLst>
                          <a:ext uri="{FF2B5EF4-FFF2-40B4-BE49-F238E27FC236}">
                            <a16:creationId xmlns:a16="http://schemas.microsoft.com/office/drawing/2014/main" id="{27CD049E-869E-C367-54D2-F665A73774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Title 29">
            <a:extLst>
              <a:ext uri="{FF2B5EF4-FFF2-40B4-BE49-F238E27FC236}">
                <a16:creationId xmlns:a16="http://schemas.microsoft.com/office/drawing/2014/main" id="{CF842A95-BB67-F26A-6325-9B73CCBAFDD5}"/>
              </a:ext>
            </a:extLst>
          </p:cNvPr>
          <p:cNvSpPr>
            <a:spLocks noGrp="1"/>
          </p:cNvSpPr>
          <p:nvPr>
            <p:ph type="title"/>
          </p:nvPr>
        </p:nvSpPr>
        <p:spPr>
          <a:xfrm>
            <a:off x="493391" y="389967"/>
            <a:ext cx="11175540" cy="723916"/>
          </a:xfrm>
        </p:spPr>
        <p:txBody>
          <a:bodyPr vert="horz"/>
          <a:lstStyle/>
          <a:p>
            <a:r>
              <a:rPr lang="fr-FR" sz="2800" dirty="0" smtClean="0"/>
              <a:t>La stratégie </a:t>
            </a:r>
            <a:r>
              <a:rPr lang="fr-FR" sz="2800" dirty="0"/>
              <a:t>mobilité électrique </a:t>
            </a:r>
            <a:r>
              <a:rPr lang="fr-FR" sz="2800" dirty="0" smtClean="0"/>
              <a:t>d’Enedis s’inscrit pleinement dans sa raison d’être d’entreprise à mission</a:t>
            </a:r>
            <a:endParaRPr lang="en-US" sz="2800" dirty="0"/>
          </a:p>
        </p:txBody>
      </p:sp>
      <p:pic>
        <p:nvPicPr>
          <p:cNvPr id="3" name="Image 2"/>
          <p:cNvPicPr>
            <a:picLocks noChangeAspect="1"/>
          </p:cNvPicPr>
          <p:nvPr/>
        </p:nvPicPr>
        <p:blipFill>
          <a:blip r:embed="rId6"/>
          <a:stretch>
            <a:fillRect/>
          </a:stretch>
        </p:blipFill>
        <p:spPr>
          <a:xfrm>
            <a:off x="1594876" y="2254763"/>
            <a:ext cx="9157100" cy="4067180"/>
          </a:xfrm>
          <a:prstGeom prst="rect">
            <a:avLst/>
          </a:prstGeom>
        </p:spPr>
      </p:pic>
      <p:sp>
        <p:nvSpPr>
          <p:cNvPr id="18" name="Slide Number Placeholder 3">
            <a:extLst>
              <a:ext uri="{FF2B5EF4-FFF2-40B4-BE49-F238E27FC236}">
                <a16:creationId xmlns:a16="http://schemas.microsoft.com/office/drawing/2014/main" id="{29869B0A-245E-6617-42EE-AD9F74932BA2}"/>
              </a:ext>
            </a:extLst>
          </p:cNvPr>
          <p:cNvSpPr txBox="1">
            <a:spLocks/>
          </p:cNvSpPr>
          <p:nvPr/>
        </p:nvSpPr>
        <p:spPr>
          <a:xfrm>
            <a:off x="11203781" y="6514718"/>
            <a:ext cx="465150" cy="154849"/>
          </a:xfrm>
          <a:prstGeom prst="rect">
            <a:avLst/>
          </a:prstGeom>
        </p:spPr>
        <p:txBody>
          <a:bodyPr vert="horz" lIns="0" tIns="0" rIns="0" bIns="0" rtlCol="0" anchor="ctr"/>
          <a:lstStyle>
            <a:defPPr>
              <a:defRPr lang="en-US"/>
            </a:defPPr>
            <a:lvl1pPr marL="0" algn="r" defTabSz="609585" rtl="0" eaLnBrk="1" latinLnBrk="0" hangingPunct="1">
              <a:defRPr sz="750" b="1" kern="1200">
                <a:solidFill>
                  <a:schemeClr val="tx2"/>
                </a:solidFill>
                <a:latin typeface="+mj-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fld id="{6B54B0F7-55DD-40D6-B7F4-70B586885C0B}" type="slidenum">
              <a:rPr lang="fr-FR" sz="800" smtClean="0"/>
              <a:pPr/>
              <a:t>9</a:t>
            </a:fld>
            <a:endParaRPr lang="fr-FR" sz="800"/>
          </a:p>
        </p:txBody>
      </p:sp>
      <p:sp>
        <p:nvSpPr>
          <p:cNvPr id="2" name="ZoneTexte 1"/>
          <p:cNvSpPr txBox="1"/>
          <p:nvPr/>
        </p:nvSpPr>
        <p:spPr>
          <a:xfrm>
            <a:off x="1146285" y="1281302"/>
            <a:ext cx="9869750" cy="646331"/>
          </a:xfrm>
          <a:prstGeom prst="rect">
            <a:avLst/>
          </a:prstGeom>
          <a:solidFill>
            <a:schemeClr val="bg1"/>
          </a:solidFill>
          <a:effectLst>
            <a:outerShdw blurRad="50800" dist="76200" dir="2700000" algn="tl" rotWithShape="0">
              <a:prstClr val="black">
                <a:alpha val="40000"/>
              </a:prstClr>
            </a:outerShdw>
          </a:effectLst>
        </p:spPr>
        <p:txBody>
          <a:bodyPr wrap="square" rtlCol="0">
            <a:spAutoFit/>
          </a:bodyPr>
          <a:lstStyle/>
          <a:p>
            <a:r>
              <a:rPr lang="fr-FR" sz="1800" b="1" dirty="0">
                <a:solidFill>
                  <a:schemeClr val="accent3"/>
                </a:solidFill>
                <a:latin typeface="+mj-lt"/>
              </a:rPr>
              <a:t>Agir pour un service public de la distribution d’électricité innovant, performant et solidaire. Raccorder la société au défi collectif d’un monde durable.</a:t>
            </a:r>
          </a:p>
        </p:txBody>
      </p:sp>
    </p:spTree>
    <p:extLst>
      <p:ext uri="{BB962C8B-B14F-4D97-AF65-F5344CB8AC3E}">
        <p14:creationId xmlns:p14="http://schemas.microsoft.com/office/powerpoint/2010/main" val="178384184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Baz 960x540">
  <a:themeElements>
    <a:clrScheme name="00. Enedis">
      <a:dk1>
        <a:sysClr val="windowText" lastClr="000000"/>
      </a:dk1>
      <a:lt1>
        <a:sysClr val="window" lastClr="FFFFFF"/>
      </a:lt1>
      <a:dk2>
        <a:srgbClr val="1423DC"/>
      </a:dk2>
      <a:lt2>
        <a:srgbClr val="2382D2"/>
      </a:lt2>
      <a:accent1>
        <a:srgbClr val="96CD32"/>
      </a:accent1>
      <a:accent2>
        <a:srgbClr val="4BC3C3"/>
      </a:accent2>
      <a:accent3>
        <a:srgbClr val="EB6E3C"/>
      </a:accent3>
      <a:accent4>
        <a:srgbClr val="FFBE23"/>
      </a:accent4>
      <a:accent5>
        <a:srgbClr val="AF2891"/>
      </a:accent5>
      <a:accent6>
        <a:srgbClr val="8755C8"/>
      </a:accent6>
      <a:hlink>
        <a:srgbClr val="0563C1"/>
      </a:hlink>
      <a:folHlink>
        <a:srgbClr val="954F72"/>
      </a:folHlink>
    </a:clrScheme>
    <a:fontScheme name="00. Enedis">
      <a:majorFont>
        <a:latin typeface="Enedis"/>
        <a:ea typeface=""/>
        <a:cs typeface=""/>
      </a:majorFont>
      <a:minorFont>
        <a:latin typeface="Public Sans Light"/>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2.xml><?xml version="1.0" encoding="utf-8"?>
<a:theme xmlns:a="http://schemas.openxmlformats.org/drawingml/2006/main" name="1_Baz 960x540">
  <a:themeElements>
    <a:clrScheme name="00. Enedis">
      <a:dk1>
        <a:sysClr val="windowText" lastClr="000000"/>
      </a:dk1>
      <a:lt1>
        <a:sysClr val="window" lastClr="FFFFFF"/>
      </a:lt1>
      <a:dk2>
        <a:srgbClr val="1423DC"/>
      </a:dk2>
      <a:lt2>
        <a:srgbClr val="2382D2"/>
      </a:lt2>
      <a:accent1>
        <a:srgbClr val="96CD32"/>
      </a:accent1>
      <a:accent2>
        <a:srgbClr val="4BC3C3"/>
      </a:accent2>
      <a:accent3>
        <a:srgbClr val="EB6E3C"/>
      </a:accent3>
      <a:accent4>
        <a:srgbClr val="FFBE23"/>
      </a:accent4>
      <a:accent5>
        <a:srgbClr val="AF2891"/>
      </a:accent5>
      <a:accent6>
        <a:srgbClr val="8755C8"/>
      </a:accent6>
      <a:hlink>
        <a:srgbClr val="0563C1"/>
      </a:hlink>
      <a:folHlink>
        <a:srgbClr val="954F72"/>
      </a:folHlink>
    </a:clrScheme>
    <a:fontScheme name="00. Enedis">
      <a:majorFont>
        <a:latin typeface="Enedis"/>
        <a:ea typeface=""/>
        <a:cs typeface=""/>
      </a:majorFont>
      <a:minorFont>
        <a:latin typeface="Public Sans Light"/>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3.xml><?xml version="1.0" encoding="utf-8"?>
<a:theme xmlns:a="http://schemas.openxmlformats.org/drawingml/2006/main" name="2_Baz 960x540">
  <a:themeElements>
    <a:clrScheme name="00. Enedis">
      <a:dk1>
        <a:sysClr val="windowText" lastClr="000000"/>
      </a:dk1>
      <a:lt1>
        <a:sysClr val="window" lastClr="FFFFFF"/>
      </a:lt1>
      <a:dk2>
        <a:srgbClr val="1423DC"/>
      </a:dk2>
      <a:lt2>
        <a:srgbClr val="2382D2"/>
      </a:lt2>
      <a:accent1>
        <a:srgbClr val="96CD32"/>
      </a:accent1>
      <a:accent2>
        <a:srgbClr val="4BC3C3"/>
      </a:accent2>
      <a:accent3>
        <a:srgbClr val="EB6E3C"/>
      </a:accent3>
      <a:accent4>
        <a:srgbClr val="FFBE23"/>
      </a:accent4>
      <a:accent5>
        <a:srgbClr val="AF2891"/>
      </a:accent5>
      <a:accent6>
        <a:srgbClr val="8755C8"/>
      </a:accent6>
      <a:hlink>
        <a:srgbClr val="0563C1"/>
      </a:hlink>
      <a:folHlink>
        <a:srgbClr val="954F72"/>
      </a:folHlink>
    </a:clrScheme>
    <a:fontScheme name="Enedis">
      <a:majorFont>
        <a:latin typeface="Enedis"/>
        <a:ea typeface=""/>
        <a:cs typeface=""/>
      </a:majorFont>
      <a:minorFont>
        <a:latin typeface="Enedis Light"/>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4.xml><?xml version="1.0" encoding="utf-8"?>
<a:theme xmlns:a="http://schemas.openxmlformats.org/drawingml/2006/main" name="3_Baz 960x540">
  <a:themeElements>
    <a:clrScheme name="00. Enedis">
      <a:dk1>
        <a:sysClr val="windowText" lastClr="000000"/>
      </a:dk1>
      <a:lt1>
        <a:sysClr val="window" lastClr="FFFFFF"/>
      </a:lt1>
      <a:dk2>
        <a:srgbClr val="1423DC"/>
      </a:dk2>
      <a:lt2>
        <a:srgbClr val="2382D2"/>
      </a:lt2>
      <a:accent1>
        <a:srgbClr val="96CD32"/>
      </a:accent1>
      <a:accent2>
        <a:srgbClr val="4BC3C3"/>
      </a:accent2>
      <a:accent3>
        <a:srgbClr val="EB6E3C"/>
      </a:accent3>
      <a:accent4>
        <a:srgbClr val="FFBE23"/>
      </a:accent4>
      <a:accent5>
        <a:srgbClr val="AF2891"/>
      </a:accent5>
      <a:accent6>
        <a:srgbClr val="8755C8"/>
      </a:accent6>
      <a:hlink>
        <a:srgbClr val="0563C1"/>
      </a:hlink>
      <a:folHlink>
        <a:srgbClr val="954F72"/>
      </a:folHlink>
    </a:clrScheme>
    <a:fontScheme name="Enedis">
      <a:majorFont>
        <a:latin typeface="Enedis Medium"/>
        <a:ea typeface=""/>
        <a:cs typeface=""/>
      </a:majorFont>
      <a:minorFont>
        <a:latin typeface="Enedis Light"/>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z 960x540" id="{B4F492B3-5B58-459D-9B4B-45BEAEE65AF0}" vid="{D3827065-B350-4D59-A1D8-FA1517BF4638}"/>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99A5812EC654640AAF0FBDB42E081DB" ma:contentTypeVersion="18" ma:contentTypeDescription="Crée un document." ma:contentTypeScope="" ma:versionID="562c5f8faa3afe0037f80cedbbba92a2">
  <xsd:schema xmlns:xsd="http://www.w3.org/2001/XMLSchema" xmlns:xs="http://www.w3.org/2001/XMLSchema" xmlns:p="http://schemas.microsoft.com/office/2006/metadata/properties" xmlns:ns2="ca8b9c18-5e1d-46e5-9d1a-4e2a3224a5d3" xmlns:ns3="597f0e91-a424-40e7-b159-919cd36229ca" targetNamespace="http://schemas.microsoft.com/office/2006/metadata/properties" ma:root="true" ma:fieldsID="6d0b1f9947d2def9302a79bd3f5241cd" ns2:_="" ns3:_="">
    <xsd:import namespace="ca8b9c18-5e1d-46e5-9d1a-4e2a3224a5d3"/>
    <xsd:import namespace="597f0e91-a424-40e7-b159-919cd36229c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8b9c18-5e1d-46e5-9d1a-4e2a3224a5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05f3d6fe-baf4-44b9-a882-657db6edb6c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97f0e91-a424-40e7-b159-919cd36229ca" elementFormDefault="qualified">
    <xsd:import namespace="http://schemas.microsoft.com/office/2006/documentManagement/types"/>
    <xsd:import namespace="http://schemas.microsoft.com/office/infopath/2007/PartnerControls"/>
    <xsd:element name="SharedWithUsers" ma:index="19"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Partagé avec détails" ma:internalName="SharedWithDetails" ma:readOnly="true">
      <xsd:simpleType>
        <xsd:restriction base="dms:Note">
          <xsd:maxLength value="255"/>
        </xsd:restriction>
      </xsd:simpleType>
    </xsd:element>
    <xsd:element name="TaxCatchAll" ma:index="23" nillable="true" ma:displayName="Taxonomy Catch All Column" ma:hidden="true" ma:list="{dc45a579-8ad3-4386-ab0e-ea2618c9e016}" ma:internalName="TaxCatchAll" ma:showField="CatchAllData" ma:web="597f0e91-a424-40e7-b159-919cd36229c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4604393-369A-43ED-AF39-635738411B01}"/>
</file>

<file path=customXml/itemProps2.xml><?xml version="1.0" encoding="utf-8"?>
<ds:datastoreItem xmlns:ds="http://schemas.openxmlformats.org/officeDocument/2006/customXml" ds:itemID="{7C2A1F5F-39D5-47B5-9A4D-A5B7F01C4A04}"/>
</file>

<file path=docProps/app.xml><?xml version="1.0" encoding="utf-8"?>
<Properties xmlns="http://schemas.openxmlformats.org/officeDocument/2006/extended-properties" xmlns:vt="http://schemas.openxmlformats.org/officeDocument/2006/docPropsVTypes">
  <Template>Baz 960x540</Template>
  <TotalTime>92310</TotalTime>
  <Words>3646</Words>
  <Application>Microsoft Office PowerPoint</Application>
  <PresentationFormat>Grand écran</PresentationFormat>
  <Paragraphs>305</Paragraphs>
  <Slides>26</Slides>
  <Notes>12</Notes>
  <HiddenSlides>0</HiddenSlides>
  <MMClips>0</MMClips>
  <ScaleCrop>false</ScaleCrop>
  <HeadingPairs>
    <vt:vector size="8" baseType="variant">
      <vt:variant>
        <vt:lpstr>Polices utilisées</vt:lpstr>
      </vt:variant>
      <vt:variant>
        <vt:i4>13</vt:i4>
      </vt:variant>
      <vt:variant>
        <vt:lpstr>Thème</vt:lpstr>
      </vt:variant>
      <vt:variant>
        <vt:i4>4</vt:i4>
      </vt:variant>
      <vt:variant>
        <vt:lpstr>Serveurs OLE incorporés</vt:lpstr>
      </vt:variant>
      <vt:variant>
        <vt:i4>1</vt:i4>
      </vt:variant>
      <vt:variant>
        <vt:lpstr>Titres des diapositives</vt:lpstr>
      </vt:variant>
      <vt:variant>
        <vt:i4>26</vt:i4>
      </vt:variant>
    </vt:vector>
  </HeadingPairs>
  <TitlesOfParts>
    <vt:vector size="44" baseType="lpstr">
      <vt:lpstr>72 Light</vt:lpstr>
      <vt:lpstr>Arial</vt:lpstr>
      <vt:lpstr>Calibri</vt:lpstr>
      <vt:lpstr>Enedis</vt:lpstr>
      <vt:lpstr>Enedis Black</vt:lpstr>
      <vt:lpstr>Enedis Light</vt:lpstr>
      <vt:lpstr>Enedis Medium</vt:lpstr>
      <vt:lpstr>Eras Bold ITC</vt:lpstr>
      <vt:lpstr>Poppins ExtraBold</vt:lpstr>
      <vt:lpstr>Public Sans</vt:lpstr>
      <vt:lpstr>Public Sans Light</vt:lpstr>
      <vt:lpstr>Times New Roman</vt:lpstr>
      <vt:lpstr>Wingdings</vt:lpstr>
      <vt:lpstr>Baz 960x540</vt:lpstr>
      <vt:lpstr>1_Baz 960x540</vt:lpstr>
      <vt:lpstr>2_Baz 960x540</vt:lpstr>
      <vt:lpstr>3_Baz 960x540</vt:lpstr>
      <vt:lpstr>Diapositive think-cell</vt:lpstr>
      <vt:lpstr>Les enjeux de la Mobilité Electrique</vt:lpstr>
      <vt:lpstr>Les ventes de véhicules électriques s’accélèrent : en 2023 près d’une voiture neuve vendue sur 4 est électrique ou hybride rechargeable</vt:lpstr>
      <vt:lpstr>Les 24 derniers mois ont vu une convergence de la mobilité lourde routière vers l’électrification comme voie prépondérante de décarbonation</vt:lpstr>
      <vt:lpstr>Selon les prévisions d’Enedis, il y aura 18 millions de VE/VHR légers en France en 2035, soit environ 40% du parc roulant</vt:lpstr>
      <vt:lpstr>Le secteur de la mobilité électrique en France – recharge, batterie - a concentré plus de 2 milliards de levées de fonds en un an</vt:lpstr>
      <vt:lpstr>Le secteur de la mobilité électrique en France – recharge, batterie - a concentré plus de 2 4.5 milliards de levées de fonds en un deux ans</vt:lpstr>
      <vt:lpstr>L’objectif des 100.000 bornes accessibles au public a été atteint début mai (118.000 à fin 2023)</vt:lpstr>
      <vt:lpstr>Tous les points de charge nécessaires aux véhicules électriques sont raccordés, directement ou indirectement, au réseau de distribution </vt:lpstr>
      <vt:lpstr>La stratégie mobilité électrique d’Enedis s’inscrit pleinement dans sa raison d’être d’entreprise à mission</vt:lpstr>
      <vt:lpstr>Enedis a mis en place une organisation dédiée pour adresser les enjeux liés à la mobilité électrique</vt:lpstr>
      <vt:lpstr>Présentation PowerPoint</vt:lpstr>
      <vt:lpstr>La dynamique des « grands comptes » s’accélère</vt:lpstr>
      <vt:lpstr>Pilotage de la recharge : un enjeu majeur pour le système électrique</vt:lpstr>
      <vt:lpstr>Enedis accompagne les collectivités locales dans l’établissement des Schémas Directeurs IRVE</vt:lpstr>
      <vt:lpstr>Question du « financement » </vt:lpstr>
      <vt:lpstr>L’équipement de solutions de recharge de VE dans l’habitat collectif est un enjeu majeur, avec un parc à installer de 236 000 résidences</vt:lpstr>
      <vt:lpstr>La solution publique en résidentiel collectif : </vt:lpstr>
      <vt:lpstr>Cas de l’infrastructure de recharge rapide sur les autoroutes</vt:lpstr>
      <vt:lpstr>Pourquoi la réfaction majorée n’est pas une bonne idée </vt:lpstr>
      <vt:lpstr>Annexes</vt:lpstr>
      <vt:lpstr>Présentation PowerPoint</vt:lpstr>
      <vt:lpstr>Enedis s’est engagée à électrifier sa flotte à 100% d’ici 2030</vt:lpstr>
      <vt:lpstr>Présentation PowerPoint</vt:lpstr>
      <vt:lpstr>Enedis a conduit un GT réunissant 9 acteurs de la mobilité lourde pour déterminer les besoins de recharge – et impacts réseaux associés – liés au transport de marchandise longue distance</vt:lpstr>
      <vt:lpstr>Présentation PowerPoint</vt:lpstr>
      <vt:lpstr>Autoroutes : s’assurer que le réseau sera prêt au bon mo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Pierre de Firmas</dc:creator>
  <cp:lastModifiedBy>DE-FIRMAS-DE-PERIES Pierre</cp:lastModifiedBy>
  <cp:revision>551</cp:revision>
  <cp:lastPrinted>2023-07-19T07:18:44Z</cp:lastPrinted>
  <dcterms:created xsi:type="dcterms:W3CDTF">2021-11-30T04:52:36Z</dcterms:created>
  <dcterms:modified xsi:type="dcterms:W3CDTF">2024-04-24T20:27:36Z</dcterms:modified>
</cp:coreProperties>
</file>